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4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Override1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2.xml" ContentType="application/vnd.openxmlformats-officedocument.presentationml.notesSlide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3.xml" ContentType="application/vnd.openxmlformats-officedocument.presentationml.notesSlide+xml"/>
  <Override PartName="/ppt/theme/themeOverride3.xml" ContentType="application/vnd.openxmlformats-officedocument.themeOverr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notesSlides/notesSlide4.xml" ContentType="application/vnd.openxmlformats-officedocument.presentationml.notesSlide+xml"/>
  <Override PartName="/ppt/theme/themeOverride4.xml" ContentType="application/vnd.openxmlformats-officedocument.themeOverrid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5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5.xml" ContentType="application/vnd.openxmlformats-officedocument.themeOverr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7.xml" ContentType="application/vnd.openxmlformats-officedocument.presentationml.notesSlide+xml"/>
  <Override PartName="/ppt/theme/themeOverride6.xml" ContentType="application/vnd.openxmlformats-officedocument.themeOverride+xml"/>
  <Override PartName="/ppt/tags/tag155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3"/>
    <p:sldMasterId id="2147483748" r:id="rId4"/>
    <p:sldMasterId id="2147483763" r:id="rId5"/>
  </p:sldMasterIdLst>
  <p:notesMasterIdLst>
    <p:notesMasterId r:id="rId17"/>
  </p:notesMasterIdLst>
  <p:sldIdLst>
    <p:sldId id="302" r:id="rId6"/>
    <p:sldId id="303" r:id="rId7"/>
    <p:sldId id="305" r:id="rId8"/>
    <p:sldId id="258" r:id="rId9"/>
    <p:sldId id="268" r:id="rId10"/>
    <p:sldId id="297" r:id="rId11"/>
    <p:sldId id="295" r:id="rId12"/>
    <p:sldId id="296" r:id="rId13"/>
    <p:sldId id="309" r:id="rId14"/>
    <p:sldId id="294" r:id="rId15"/>
    <p:sldId id="283" r:id="rId16"/>
  </p:sldIdLst>
  <p:sldSz cx="10969625" cy="6170613"/>
  <p:notesSz cx="6858000" cy="9144000"/>
  <p:custDataLst>
    <p:tags r:id="rId18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1pPr>
    <a:lvl2pPr marL="41113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2pPr>
    <a:lvl3pPr marL="82227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3pPr>
    <a:lvl4pPr marL="1233411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4pPr>
    <a:lvl5pPr marL="164454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5pPr>
    <a:lvl6pPr marL="2055686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6pPr>
    <a:lvl7pPr marL="2466823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7pPr>
    <a:lvl8pPr marL="2877960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8pPr>
    <a:lvl9pPr marL="3289097" algn="l" defTabSz="822275" rtl="0" eaLnBrk="1" latinLnBrk="0" hangingPunct="1">
      <a:defRPr kern="1200">
        <a:solidFill>
          <a:schemeClr val="tx1"/>
        </a:solidFill>
        <a:latin typeface="Bosch Office San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AA4"/>
    <a:srgbClr val="FFFFFF"/>
    <a:srgbClr val="288C3F"/>
    <a:srgbClr val="009C85"/>
    <a:srgbClr val="F2F2F2"/>
    <a:srgbClr val="63B775"/>
    <a:srgbClr val="1399A0"/>
    <a:srgbClr val="999F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956" autoAdjust="0"/>
    <p:restoredTop sz="96395" autoAdjust="0"/>
  </p:normalViewPr>
  <p:slideViewPr>
    <p:cSldViewPr snapToGrid="0">
      <p:cViewPr varScale="1">
        <p:scale>
          <a:sx n="77" d="100"/>
          <a:sy n="77" d="100"/>
        </p:scale>
        <p:origin x="1080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ags" Target="tags/tag1.xml"/><Relationship Id="rId3" Type="http://schemas.openxmlformats.org/officeDocument/2006/relationships/slideMaster" Target="slideMasters/slideMaster1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7911F-CEAF-4F0B-98BD-EFB38C6572AA}" type="datetimeFigureOut">
              <a:rPr lang="de-DE" smtClean="0"/>
              <a:t>28.09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2D48B2-9EB0-4B37-9B35-FC11E2EA535A}" type="slidenum">
              <a:rPr lang="de-DE" smtClean="0"/>
              <a:t>‹nº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31539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9526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99806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9695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58055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20568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4085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942172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04528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3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3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3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3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3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3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3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3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3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 1" descr="bg1_d2_169.png">
            <a:extLst>
              <a:ext uri="{FF2B5EF4-FFF2-40B4-BE49-F238E27FC236}">
                <a16:creationId xmlns:a16="http://schemas.microsoft.com/office/drawing/2014/main" id="{896CC0FD-4256-4167-AE25-A738EE088951}"/>
              </a:ext>
            </a:extLst>
          </p:cNvPr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173BBCFB-9404-4FBA-9EEC-E8008B6044A2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Pres. Title</a:t>
            </a:r>
            <a:endParaRPr lang="de-DE" dirty="0"/>
          </a:p>
        </p:txBody>
      </p:sp>
      <p:pic>
        <p:nvPicPr>
          <p:cNvPr id="10" name="Grafik 3" descr="right_d2.png">
            <a:extLst>
              <a:ext uri="{FF2B5EF4-FFF2-40B4-BE49-F238E27FC236}">
                <a16:creationId xmlns:a16="http://schemas.microsoft.com/office/drawing/2014/main" id="{649683E7-5D3C-46E0-92A4-661F3C29C858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62193031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vertic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E29BFEC5-7639-4AE9-A818-5EB7EC3C9C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E99B80D-00FD-40C8-B929-FA71A2E035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853600" y="1295999"/>
            <a:ext cx="48600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0193DB20-8E77-4A05-AA77-554F32E8990F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AD1AA2B6-6C2F-4A14-9E4C-FB86A10EF6B2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7876012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3225" userDrawn="1">
          <p15:clr>
            <a:srgbClr val="FBAE40"/>
          </p15:clr>
        </p15:guide>
        <p15:guide id="9" pos="368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hapter_titleonly">
            <a:extLst>
              <a:ext uri="{FF2B5EF4-FFF2-40B4-BE49-F238E27FC236}">
                <a16:creationId xmlns:a16="http://schemas.microsoft.com/office/drawing/2014/main" id="{7CCAFAD8-87FF-4E8A-B13E-2709A28399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213B860-B040-4AA5-BCCF-91A137076F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7560000" y="1295999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2646ABA5-1E42-496E-B88F-BEBEC4B2C7B6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A9AAC15-C2E5-4D68-B499-7D3FC8760D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47" name="Content Placeholder 2">
            <a:extLst>
              <a:ext uri="{FF2B5EF4-FFF2-40B4-BE49-F238E27FC236}">
                <a16:creationId xmlns:a16="http://schemas.microsoft.com/office/drawing/2014/main" id="{3F3E027D-9EE5-4C12-9974-36EA025C350F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909600" y="1296000"/>
            <a:ext cx="31284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Rectangle7">
            <a:extLst>
              <a:ext uri="{FF2B5EF4-FFF2-40B4-BE49-F238E27FC236}">
                <a16:creationId xmlns:a16="http://schemas.microsoft.com/office/drawing/2014/main" id="{79759149-285E-4F0E-938E-7199B34084B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853C9362-E049-4C5A-93EB-CA7DB346BCAC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052008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2135" userDrawn="1">
          <p15:clr>
            <a:srgbClr val="FBAE40"/>
          </p15:clr>
        </p15:guide>
        <p15:guide id="9" pos="2462" userDrawn="1">
          <p15:clr>
            <a:srgbClr val="FBAE40"/>
          </p15:clr>
        </p15:guide>
        <p15:guide id="10" pos="4434" userDrawn="1">
          <p15:clr>
            <a:srgbClr val="FBAE40"/>
          </p15:clr>
        </p15:guide>
        <p15:guide id="11" pos="4761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85E4898A-B45B-416F-8A7F-E57751056E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A33F6F31-B924-4EAD-BDA8-332AAD2C41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08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549900" y="1295399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90449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4" hasCustomPrompt="1"/>
          </p:nvPr>
        </p:nvSpPr>
        <p:spPr>
          <a:xfrm>
            <a:off x="8195310" y="1295400"/>
            <a:ext cx="2515870" cy="416814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A3C6D0D9-04AD-43FA-8B6F-53255648BE83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A5FC486E-34C4-4DFC-9640-0742E0B83B94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3A9A741C-7644-4810-ABAF-465822FC0D7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7" name="Grafik 4" descr="logo1_d2.png">
            <a:extLst>
              <a:ext uri="{FF2B5EF4-FFF2-40B4-BE49-F238E27FC236}">
                <a16:creationId xmlns:a16="http://schemas.microsoft.com/office/drawing/2014/main" id="{2F5D5F7F-9AC3-4C8C-9378-5DCB41FEB94B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7631146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1749" userDrawn="1">
          <p15:clr>
            <a:srgbClr val="FBAE40"/>
          </p15:clr>
        </p15:guide>
        <p15:guide id="9" pos="1829" userDrawn="1">
          <p15:clr>
            <a:srgbClr val="FBAE40"/>
          </p15:clr>
        </p15:guide>
        <p15:guide id="10" pos="3416" userDrawn="1">
          <p15:clr>
            <a:srgbClr val="FBAE40"/>
          </p15:clr>
        </p15:guide>
        <p15:guide id="11" pos="3495" userDrawn="1">
          <p15:clr>
            <a:srgbClr val="FBAE40"/>
          </p15:clr>
        </p15:guide>
        <p15:guide id="12" pos="5082" userDrawn="1">
          <p15:clr>
            <a:srgbClr val="FBAE40"/>
          </p15:clr>
        </p15:guide>
        <p15:guide id="13" pos="5162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horizontal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pter_titleonly">
            <a:extLst>
              <a:ext uri="{FF2B5EF4-FFF2-40B4-BE49-F238E27FC236}">
                <a16:creationId xmlns:a16="http://schemas.microsoft.com/office/drawing/2014/main" id="{9398DDFA-1939-498B-8921-7DDB40481FE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B79D08E-37B8-49BA-9E18-ED577CD999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104508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29" name="Grafik 3" descr="bottom_d2_169.png">
            <a:extLst>
              <a:ext uri="{FF2B5EF4-FFF2-40B4-BE49-F238E27FC236}">
                <a16:creationId xmlns:a16="http://schemas.microsoft.com/office/drawing/2014/main" id="{E1C644A7-78AF-407E-A25C-6F76F012AC1D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0" name="Grafik 29" descr="logo2_d2.png">
            <a:extLst>
              <a:ext uri="{FF2B5EF4-FFF2-40B4-BE49-F238E27FC236}">
                <a16:creationId xmlns:a16="http://schemas.microsoft.com/office/drawing/2014/main" id="{BF432EB7-B56F-491D-9D42-9FA89D925A5A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2E7C0809-54C2-4B00-97B9-AEB55C54DF36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F944409F-1D53-436E-A382-254727DA7F5F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9563723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2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pter_titleonly">
            <a:extLst>
              <a:ext uri="{FF2B5EF4-FFF2-40B4-BE49-F238E27FC236}">
                <a16:creationId xmlns:a16="http://schemas.microsoft.com/office/drawing/2014/main" id="{90C8652B-1F43-4467-AC53-668A8D3D47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DBB36D-E1FF-4336-B805-B8B7F4B25A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5853600" y="1295999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5853600" y="3445201"/>
            <a:ext cx="48600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31" name="Grafik 3" descr="bottom_d2_169.png">
            <a:extLst>
              <a:ext uri="{FF2B5EF4-FFF2-40B4-BE49-F238E27FC236}">
                <a16:creationId xmlns:a16="http://schemas.microsoft.com/office/drawing/2014/main" id="{14946AFE-2563-4C40-963E-DFE36F6D317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2" name="Grafik 31" descr="logo2_d2.png">
            <a:extLst>
              <a:ext uri="{FF2B5EF4-FFF2-40B4-BE49-F238E27FC236}">
                <a16:creationId xmlns:a16="http://schemas.microsoft.com/office/drawing/2014/main" id="{8A247A46-B0BA-49FE-BDE2-4F90A734854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4" name="Rectangle7">
            <a:extLst>
              <a:ext uri="{FF2B5EF4-FFF2-40B4-BE49-F238E27FC236}">
                <a16:creationId xmlns:a16="http://schemas.microsoft.com/office/drawing/2014/main" id="{43F0E5D0-784C-433E-AAB0-40D43C1BCBA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6" name="Grafik 4" descr="logo1_d2.png">
            <a:extLst>
              <a:ext uri="{FF2B5EF4-FFF2-40B4-BE49-F238E27FC236}">
                <a16:creationId xmlns:a16="http://schemas.microsoft.com/office/drawing/2014/main" id="{17992435-2281-4D69-8E9C-A9BD8CD4504F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5193590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  <p15:guide id="10" pos="3225" userDrawn="1">
          <p15:clr>
            <a:srgbClr val="FBAE40"/>
          </p15:clr>
        </p15:guide>
        <p15:guide id="11" pos="368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3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hapter_titleonly">
            <a:extLst>
              <a:ext uri="{FF2B5EF4-FFF2-40B4-BE49-F238E27FC236}">
                <a16:creationId xmlns:a16="http://schemas.microsoft.com/office/drawing/2014/main" id="{FEDBFC76-9F59-4A18-8E8B-EDDF9CC20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226D581-60F4-440B-A410-F6582BC0D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39096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5" hasCustomPrompt="1"/>
          </p:nvPr>
        </p:nvSpPr>
        <p:spPr>
          <a:xfrm>
            <a:off x="7560000" y="1295999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39096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6" hasCustomPrompt="1"/>
          </p:nvPr>
        </p:nvSpPr>
        <p:spPr>
          <a:xfrm>
            <a:off x="7560000" y="3445201"/>
            <a:ext cx="3128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6" name="Rectangle7">
            <a:extLst>
              <a:ext uri="{FF2B5EF4-FFF2-40B4-BE49-F238E27FC236}">
                <a16:creationId xmlns:a16="http://schemas.microsoft.com/office/drawing/2014/main" id="{C680F8C7-4715-4E6C-829A-E87F16C03BB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8" name="Grafik 4" descr="logo1_d2.png">
            <a:extLst>
              <a:ext uri="{FF2B5EF4-FFF2-40B4-BE49-F238E27FC236}">
                <a16:creationId xmlns:a16="http://schemas.microsoft.com/office/drawing/2014/main" id="{058025F0-4E5A-4419-90FC-FD31DB24C306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825772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pos="2140" userDrawn="1">
          <p15:clr>
            <a:srgbClr val="FBAE40"/>
          </p15:clr>
        </p15:guide>
        <p15:guide id="9" pos="2457" userDrawn="1">
          <p15:clr>
            <a:srgbClr val="FBAE40"/>
          </p15:clr>
        </p15:guide>
        <p15:guide id="10" pos="4434" userDrawn="1">
          <p15:clr>
            <a:srgbClr val="FBAE40"/>
          </p15:clr>
        </p15:guide>
        <p15:guide id="11" pos="4761" userDrawn="1">
          <p15:clr>
            <a:srgbClr val="FBAE40"/>
          </p15:clr>
        </p15:guide>
        <p15:guide id="12" orient="horz" pos="2090" userDrawn="1">
          <p15:clr>
            <a:srgbClr val="FBAE40"/>
          </p15:clr>
        </p15:guide>
        <p15:guide id="13" orient="horz" pos="2169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4 x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Chapter_titleonly">
            <a:extLst>
              <a:ext uri="{FF2B5EF4-FFF2-40B4-BE49-F238E27FC236}">
                <a16:creationId xmlns:a16="http://schemas.microsoft.com/office/drawing/2014/main" id="{20D581F7-7281-48B4-B67B-7228F84F39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C7544615-D17B-4350-B517-7E469AC91A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259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3" hasCustomPrompt="1"/>
          </p:nvPr>
        </p:nvSpPr>
        <p:spPr>
          <a:xfrm>
            <a:off x="2905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7" hasCustomPrompt="1"/>
          </p:nvPr>
        </p:nvSpPr>
        <p:spPr>
          <a:xfrm>
            <a:off x="8197200" y="1295999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9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4" hasCustomPrompt="1"/>
          </p:nvPr>
        </p:nvSpPr>
        <p:spPr>
          <a:xfrm>
            <a:off x="2905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8" hasCustomPrompt="1"/>
          </p:nvPr>
        </p:nvSpPr>
        <p:spPr>
          <a:xfrm>
            <a:off x="8197200" y="3445201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33" name="Grafik 3" descr="bottom_d2_169.png">
            <a:extLst>
              <a:ext uri="{FF2B5EF4-FFF2-40B4-BE49-F238E27FC236}">
                <a16:creationId xmlns:a16="http://schemas.microsoft.com/office/drawing/2014/main" id="{D68326DC-5F3B-4205-8352-8D213F6B12F1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4" name="Grafik 33" descr="logo2_d2.png">
            <a:extLst>
              <a:ext uri="{FF2B5EF4-FFF2-40B4-BE49-F238E27FC236}">
                <a16:creationId xmlns:a16="http://schemas.microsoft.com/office/drawing/2014/main" id="{6306B871-7048-4385-84D6-368540647FAF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468F8D-277D-4F1A-84A1-62122010643F}"/>
              </a:ext>
            </a:extLst>
          </p:cNvPr>
          <p:cNvSpPr>
            <a:spLocks noGrp="1"/>
          </p:cNvSpPr>
          <p:nvPr>
            <p:ph sz="half" idx="5" hasCustomPrompt="1"/>
          </p:nvPr>
        </p:nvSpPr>
        <p:spPr>
          <a:xfrm>
            <a:off x="5551200" y="12960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B143799E-2832-49D7-9953-45BACACA7549}"/>
              </a:ext>
            </a:extLst>
          </p:cNvPr>
          <p:cNvSpPr>
            <a:spLocks noGrp="1"/>
          </p:cNvSpPr>
          <p:nvPr>
            <p:ph sz="half" idx="6" hasCustomPrompt="1"/>
          </p:nvPr>
        </p:nvSpPr>
        <p:spPr>
          <a:xfrm>
            <a:off x="5551200" y="3445200"/>
            <a:ext cx="2516400" cy="20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 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Rectangle7">
            <a:extLst>
              <a:ext uri="{FF2B5EF4-FFF2-40B4-BE49-F238E27FC236}">
                <a16:creationId xmlns:a16="http://schemas.microsoft.com/office/drawing/2014/main" id="{60F530EA-2EFB-4DC6-BA26-465D18FD265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22" name="Grafik 4" descr="logo1_d2.png">
            <a:extLst>
              <a:ext uri="{FF2B5EF4-FFF2-40B4-BE49-F238E27FC236}">
                <a16:creationId xmlns:a16="http://schemas.microsoft.com/office/drawing/2014/main" id="{F7F706B3-07D4-410C-B7A6-C9E5735A9928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3714214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  <p15:guide id="8" orient="horz" pos="2090" userDrawn="1">
          <p15:clr>
            <a:srgbClr val="FBAE40"/>
          </p15:clr>
        </p15:guide>
        <p15:guide id="9" orient="horz" pos="2169" userDrawn="1">
          <p15:clr>
            <a:srgbClr val="FBAE40"/>
          </p15:clr>
        </p15:guide>
        <p15:guide id="10" pos="1749" userDrawn="1">
          <p15:clr>
            <a:srgbClr val="FBAE40"/>
          </p15:clr>
        </p15:guide>
        <p15:guide id="11" pos="1830" userDrawn="1">
          <p15:clr>
            <a:srgbClr val="FBAE40"/>
          </p15:clr>
        </p15:guide>
        <p15:guide id="12" pos="3416" userDrawn="1">
          <p15:clr>
            <a:srgbClr val="FBAE40"/>
          </p15:clr>
        </p15:guide>
        <p15:guide id="13" pos="3497" userDrawn="1">
          <p15:clr>
            <a:srgbClr val="FBAE40"/>
          </p15:clr>
        </p15:guide>
        <p15:guide id="14" pos="5082" userDrawn="1">
          <p15:clr>
            <a:srgbClr val="FBAE40"/>
          </p15:clr>
        </p15:guide>
        <p15:guide id="15" pos="5163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9" name="Grafik 3" descr="bottom_d2_169.png">
            <a:extLst>
              <a:ext uri="{FF2B5EF4-FFF2-40B4-BE49-F238E27FC236}">
                <a16:creationId xmlns:a16="http://schemas.microsoft.com/office/drawing/2014/main" id="{EF316F00-ABDB-4F1C-8223-8689636D6D52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0" name="Grafik 9" descr="logo2_d2.png">
            <a:extLst>
              <a:ext uri="{FF2B5EF4-FFF2-40B4-BE49-F238E27FC236}">
                <a16:creationId xmlns:a16="http://schemas.microsoft.com/office/drawing/2014/main" id="{30CBBFCD-8992-45AF-92BD-7EBF3A86E1C1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8" name="Rectangle7">
            <a:extLst>
              <a:ext uri="{FF2B5EF4-FFF2-40B4-BE49-F238E27FC236}">
                <a16:creationId xmlns:a16="http://schemas.microsoft.com/office/drawing/2014/main" id="{C868D9BE-A299-4D0B-87AF-B491FAE5FD28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0B4DD8A5-C16C-443A-8C22-A52B612231A5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0745518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Full Page Graphic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35DC742-BC8F-47B5-88E2-93616D59A618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6" name="Grafik 3" descr="right_d2.png">
            <a:extLst>
              <a:ext uri="{FF2B5EF4-FFF2-40B4-BE49-F238E27FC236}">
                <a16:creationId xmlns:a16="http://schemas.microsoft.com/office/drawing/2014/main" id="{2E1D2BC1-44DB-403E-B4D8-3E1DC5D199E5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273178664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5" descr="bg3_d2_169.png"/>
          <p:cNvPicPr>
            <a:picLocks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60E046F-66D0-431E-9C49-8E6C18C3F3C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8000" kern="1200" cap="all" baseline="0">
                <a:solidFill>
                  <a:schemeClr val="tx1"/>
                </a:solidFill>
              </a:defRPr>
            </a:lvl1pPr>
          </a:lstStyle>
          <a:p>
            <a:r>
              <a:rPr lang="de-DE"/>
              <a:t>Add Closing Phrase</a:t>
            </a:r>
            <a:endParaRPr lang="de-DE" dirty="0"/>
          </a:p>
        </p:txBody>
      </p:sp>
      <p:pic>
        <p:nvPicPr>
          <p:cNvPr id="6" name="Grafik 4" descr="logo1_d2.png">
            <a:extLst>
              <a:ext uri="{FF2B5EF4-FFF2-40B4-BE49-F238E27FC236}">
                <a16:creationId xmlns:a16="http://schemas.microsoft.com/office/drawing/2014/main" id="{AD329951-67FC-4FE1-85D1-D4AEA8479C0D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7AD5F0A5-2B17-4D20-B0E6-B4F0FA97751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7379696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ackground 2" descr="bg2_d2_169.png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" y="2"/>
            <a:ext cx="10969509" cy="617092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Pres. Title</a:t>
            </a:r>
            <a:endParaRPr lang="de-DE" dirty="0"/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7868D6E5-0EC1-4883-8CF9-7E8712A5DE97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81453195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hidden="1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0"/>
            <a:ext cx="1270000" cy="127000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100" b="0" i="0" u="none" spc="0">
                <a:solidFill>
                  <a:schemeClr val="tx1"/>
                </a:solidFill>
                <a:latin typeface="Bosch Office Sans" pitchFamily="2" charset="0"/>
              </a:defRPr>
            </a:lvl1pPr>
            <a:lvl2pPr marL="411358" indent="0" algn="ctr">
              <a:buNone/>
              <a:defRPr sz="1799"/>
            </a:lvl2pPr>
            <a:lvl3pPr marL="822716" indent="0" algn="ctr">
              <a:buNone/>
              <a:defRPr sz="1619"/>
            </a:lvl3pPr>
            <a:lvl4pPr marL="1234075" indent="0" algn="ctr">
              <a:buNone/>
              <a:defRPr sz="1440"/>
            </a:lvl4pPr>
            <a:lvl5pPr marL="1645433" indent="0" algn="ctr">
              <a:buNone/>
              <a:defRPr sz="1440"/>
            </a:lvl5pPr>
            <a:lvl6pPr marL="2056792" indent="0" algn="ctr">
              <a:buNone/>
              <a:defRPr sz="1440"/>
            </a:lvl6pPr>
            <a:lvl7pPr marL="2468150" indent="0" algn="ctr">
              <a:buNone/>
              <a:defRPr sz="1440"/>
            </a:lvl7pPr>
            <a:lvl8pPr marL="2879509" indent="0" algn="ctr">
              <a:buNone/>
              <a:defRPr sz="1440"/>
            </a:lvl8pPr>
            <a:lvl9pPr marL="3290867" indent="0" algn="ctr">
              <a:buNone/>
              <a:defRPr sz="144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259080" y="259080"/>
            <a:ext cx="9872980" cy="5204460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 anchorCtr="0">
            <a:norm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i="0" u="none" cap="all" spc="0">
                <a:solidFill>
                  <a:srgbClr val="FFFFFF"/>
                </a:solidFill>
                <a:latin typeface="Bosch Office Sans" pitchFamily="2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70258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85847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230" y="1538290"/>
            <a:ext cx="9460586" cy="2566987"/>
          </a:xfrm>
        </p:spPr>
        <p:txBody>
          <a:bodyPr anchor="b"/>
          <a:lstStyle>
            <a:lvl1pPr>
              <a:defRPr sz="5398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9230" y="4129088"/>
            <a:ext cx="9460586" cy="1350962"/>
          </a:xfrm>
        </p:spPr>
        <p:txBody>
          <a:bodyPr/>
          <a:lstStyle>
            <a:lvl1pPr marL="0" indent="0">
              <a:buNone/>
              <a:defRPr sz="2159">
                <a:solidFill>
                  <a:schemeClr val="tx1">
                    <a:tint val="75000"/>
                  </a:schemeClr>
                </a:solidFill>
              </a:defRPr>
            </a:lvl1pPr>
            <a:lvl2pPr marL="411358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822716" indent="0">
              <a:buNone/>
              <a:defRPr sz="1619">
                <a:solidFill>
                  <a:schemeClr val="tx1">
                    <a:tint val="75000"/>
                  </a:schemeClr>
                </a:solidFill>
              </a:defRPr>
            </a:lvl3pPr>
            <a:lvl4pPr marL="1234075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4pPr>
            <a:lvl5pPr marL="1645433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5pPr>
            <a:lvl6pPr marL="2056792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6pPr>
            <a:lvl7pPr marL="246815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7pPr>
            <a:lvl8pPr marL="287950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8pPr>
            <a:lvl9pPr marL="3290867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8718711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5567" y="1296000"/>
            <a:ext cx="4861931" cy="4168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59445" y="1295999"/>
            <a:ext cx="4861931" cy="4168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265953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80" y="328613"/>
            <a:ext cx="9460586" cy="119221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580" y="1512888"/>
            <a:ext cx="4641401" cy="741362"/>
          </a:xfrm>
        </p:spPr>
        <p:txBody>
          <a:bodyPr anchor="b"/>
          <a:lstStyle>
            <a:lvl1pPr marL="0" indent="0">
              <a:buNone/>
              <a:defRPr sz="2159" b="1"/>
            </a:lvl1pPr>
            <a:lvl2pPr marL="411358" indent="0">
              <a:buNone/>
              <a:defRPr sz="1799" b="1"/>
            </a:lvl2pPr>
            <a:lvl3pPr marL="822716" indent="0">
              <a:buNone/>
              <a:defRPr sz="1619" b="1"/>
            </a:lvl3pPr>
            <a:lvl4pPr marL="1234075" indent="0">
              <a:buNone/>
              <a:defRPr sz="1440" b="1"/>
            </a:lvl4pPr>
            <a:lvl5pPr marL="1645433" indent="0">
              <a:buNone/>
              <a:defRPr sz="1440" b="1"/>
            </a:lvl5pPr>
            <a:lvl6pPr marL="2056792" indent="0">
              <a:buNone/>
              <a:defRPr sz="1440" b="1"/>
            </a:lvl6pPr>
            <a:lvl7pPr marL="2468150" indent="0">
              <a:buNone/>
              <a:defRPr sz="1440" b="1"/>
            </a:lvl7pPr>
            <a:lvl8pPr marL="2879509" indent="0">
              <a:buNone/>
              <a:defRPr sz="1440" b="1"/>
            </a:lvl8pPr>
            <a:lvl9pPr marL="3290867" indent="0">
              <a:buNone/>
              <a:defRPr sz="144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5580" y="2254251"/>
            <a:ext cx="4641401" cy="33147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553598" y="1512888"/>
            <a:ext cx="4662567" cy="741362"/>
          </a:xfrm>
        </p:spPr>
        <p:txBody>
          <a:bodyPr anchor="b"/>
          <a:lstStyle>
            <a:lvl1pPr marL="0" indent="0">
              <a:buNone/>
              <a:defRPr sz="2159" b="1"/>
            </a:lvl1pPr>
            <a:lvl2pPr marL="411358" indent="0">
              <a:buNone/>
              <a:defRPr sz="1799" b="1"/>
            </a:lvl2pPr>
            <a:lvl3pPr marL="822716" indent="0">
              <a:buNone/>
              <a:defRPr sz="1619" b="1"/>
            </a:lvl3pPr>
            <a:lvl4pPr marL="1234075" indent="0">
              <a:buNone/>
              <a:defRPr sz="1440" b="1"/>
            </a:lvl4pPr>
            <a:lvl5pPr marL="1645433" indent="0">
              <a:buNone/>
              <a:defRPr sz="1440" b="1"/>
            </a:lvl5pPr>
            <a:lvl6pPr marL="2056792" indent="0">
              <a:buNone/>
              <a:defRPr sz="1440" b="1"/>
            </a:lvl6pPr>
            <a:lvl7pPr marL="2468150" indent="0">
              <a:buNone/>
              <a:defRPr sz="1440" b="1"/>
            </a:lvl7pPr>
            <a:lvl8pPr marL="2879509" indent="0">
              <a:buNone/>
              <a:defRPr sz="1440" b="1"/>
            </a:lvl8pPr>
            <a:lvl9pPr marL="3290867" indent="0">
              <a:buNone/>
              <a:defRPr sz="144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553598" y="2254251"/>
            <a:ext cx="4662567" cy="33147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9852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71286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896931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9" y="411163"/>
            <a:ext cx="3538725" cy="1439862"/>
          </a:xfrm>
        </p:spPr>
        <p:txBody>
          <a:bodyPr anchor="b"/>
          <a:lstStyle>
            <a:lvl1pPr>
              <a:defRPr sz="2879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2566" y="889001"/>
            <a:ext cx="5553598" cy="4384675"/>
          </a:xfrm>
        </p:spPr>
        <p:txBody>
          <a:bodyPr/>
          <a:lstStyle>
            <a:lvl1pPr>
              <a:defRPr sz="2879"/>
            </a:lvl1pPr>
            <a:lvl2pPr>
              <a:defRPr sz="2519"/>
            </a:lvl2pPr>
            <a:lvl3pPr>
              <a:defRPr sz="215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579" y="1851025"/>
            <a:ext cx="3538725" cy="3429000"/>
          </a:xfrm>
        </p:spPr>
        <p:txBody>
          <a:bodyPr/>
          <a:lstStyle>
            <a:lvl1pPr marL="0" indent="0">
              <a:buNone/>
              <a:defRPr sz="1440"/>
            </a:lvl1pPr>
            <a:lvl2pPr marL="411358" indent="0">
              <a:buNone/>
              <a:defRPr sz="1260"/>
            </a:lvl2pPr>
            <a:lvl3pPr marL="822716" indent="0">
              <a:buNone/>
              <a:defRPr sz="1080"/>
            </a:lvl3pPr>
            <a:lvl4pPr marL="1234075" indent="0">
              <a:buNone/>
              <a:defRPr sz="900"/>
            </a:lvl4pPr>
            <a:lvl5pPr marL="1645433" indent="0">
              <a:buNone/>
              <a:defRPr sz="900"/>
            </a:lvl5pPr>
            <a:lvl6pPr marL="2056792" indent="0">
              <a:buNone/>
              <a:defRPr sz="900"/>
            </a:lvl6pPr>
            <a:lvl7pPr marL="2468150" indent="0">
              <a:buNone/>
              <a:defRPr sz="900"/>
            </a:lvl7pPr>
            <a:lvl8pPr marL="2879509" indent="0">
              <a:buNone/>
              <a:defRPr sz="900"/>
            </a:lvl8pPr>
            <a:lvl9pPr marL="3290867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9927233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9" y="411163"/>
            <a:ext cx="3538725" cy="1439862"/>
          </a:xfrm>
        </p:spPr>
        <p:txBody>
          <a:bodyPr anchor="b"/>
          <a:lstStyle>
            <a:lvl1pPr>
              <a:defRPr sz="2879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62566" y="889001"/>
            <a:ext cx="5553598" cy="4384675"/>
          </a:xfrm>
        </p:spPr>
        <p:txBody>
          <a:bodyPr/>
          <a:lstStyle>
            <a:lvl1pPr marL="0" indent="0">
              <a:buNone/>
              <a:defRPr sz="2879"/>
            </a:lvl1pPr>
            <a:lvl2pPr marL="411358" indent="0">
              <a:buNone/>
              <a:defRPr sz="2519"/>
            </a:lvl2pPr>
            <a:lvl3pPr marL="822716" indent="0">
              <a:buNone/>
              <a:defRPr sz="2159"/>
            </a:lvl3pPr>
            <a:lvl4pPr marL="1234075" indent="0">
              <a:buNone/>
              <a:defRPr sz="1799"/>
            </a:lvl4pPr>
            <a:lvl5pPr marL="1645433" indent="0">
              <a:buNone/>
              <a:defRPr sz="1799"/>
            </a:lvl5pPr>
            <a:lvl6pPr marL="2056792" indent="0">
              <a:buNone/>
              <a:defRPr sz="1799"/>
            </a:lvl6pPr>
            <a:lvl7pPr marL="2468150" indent="0">
              <a:buNone/>
              <a:defRPr sz="1799"/>
            </a:lvl7pPr>
            <a:lvl8pPr marL="2879509" indent="0">
              <a:buNone/>
              <a:defRPr sz="1799"/>
            </a:lvl8pPr>
            <a:lvl9pPr marL="3290867" indent="0">
              <a:buNone/>
              <a:defRPr sz="1799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579" y="1851025"/>
            <a:ext cx="3538725" cy="3429000"/>
          </a:xfrm>
        </p:spPr>
        <p:txBody>
          <a:bodyPr/>
          <a:lstStyle>
            <a:lvl1pPr marL="0" indent="0">
              <a:buNone/>
              <a:defRPr sz="1440"/>
            </a:lvl1pPr>
            <a:lvl2pPr marL="411358" indent="0">
              <a:buNone/>
              <a:defRPr sz="1260"/>
            </a:lvl2pPr>
            <a:lvl3pPr marL="822716" indent="0">
              <a:buNone/>
              <a:defRPr sz="1080"/>
            </a:lvl3pPr>
            <a:lvl4pPr marL="1234075" indent="0">
              <a:buNone/>
              <a:defRPr sz="900"/>
            </a:lvl4pPr>
            <a:lvl5pPr marL="1645433" indent="0">
              <a:buNone/>
              <a:defRPr sz="900"/>
            </a:lvl5pPr>
            <a:lvl6pPr marL="2056792" indent="0">
              <a:buNone/>
              <a:defRPr sz="900"/>
            </a:lvl6pPr>
            <a:lvl7pPr marL="2468150" indent="0">
              <a:buNone/>
              <a:defRPr sz="900"/>
            </a:lvl7pPr>
            <a:lvl8pPr marL="2879509" indent="0">
              <a:buNone/>
              <a:defRPr sz="900"/>
            </a:lvl8pPr>
            <a:lvl9pPr marL="3290867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911934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00689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ustom 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7FD8C3B7-D4C2-49FB-A234-B9EF65EF0E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>
            <a:normAutofit/>
          </a:bodyPr>
          <a:lstStyle>
            <a:lvl1pPr algn="l">
              <a:lnSpc>
                <a:spcPct val="90000"/>
              </a:lnSpc>
              <a:defRPr sz="7999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Pres. Title</a:t>
            </a:r>
            <a:endParaRPr lang="de-DE" dirty="0"/>
          </a:p>
        </p:txBody>
      </p:sp>
      <p:pic>
        <p:nvPicPr>
          <p:cNvPr id="7" name="Grafik 4" descr="logo1_d2.png">
            <a:extLst>
              <a:ext uri="{FF2B5EF4-FFF2-40B4-BE49-F238E27FC236}">
                <a16:creationId xmlns:a16="http://schemas.microsoft.com/office/drawing/2014/main" id="{EFF0EBDE-7B9D-4454-9B44-8763A24EC96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9" name="Grafik 3" descr="right_d2.png">
            <a:extLst>
              <a:ext uri="{FF2B5EF4-FFF2-40B4-BE49-F238E27FC236}">
                <a16:creationId xmlns:a16="http://schemas.microsoft.com/office/drawing/2014/main" id="{24DBB17F-A4BD-455D-A654-0625D135562B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762592895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52075" y="328614"/>
            <a:ext cx="2364089" cy="52292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3463" y="328614"/>
            <a:ext cx="6895434" cy="52292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90202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44299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46075" y="1295400"/>
            <a:ext cx="5060950" cy="4168775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5559425" y="1295400"/>
            <a:ext cx="5062538" cy="20081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5559425" y="3455988"/>
            <a:ext cx="5062538" cy="200818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73749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sz="quarter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346075" y="1295400"/>
            <a:ext cx="5060950" cy="20081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5559425" y="1295400"/>
            <a:ext cx="5062538" cy="2008188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346075" y="3455988"/>
            <a:ext cx="5060950" cy="200818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559425" y="3455988"/>
            <a:ext cx="5062538" cy="2008187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6461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hidden="1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0"/>
            <a:ext cx="1270000" cy="127000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100" b="0" i="0" u="none" spc="0">
                <a:solidFill>
                  <a:schemeClr val="tx1"/>
                </a:solidFill>
                <a:latin typeface="Bosch Office Sans" panose="020B0604020202020204" pitchFamily="34" charset="0"/>
              </a:defRPr>
            </a:lvl1pPr>
            <a:lvl2pPr marL="411358" indent="0" algn="ctr">
              <a:buNone/>
              <a:defRPr sz="1799"/>
            </a:lvl2pPr>
            <a:lvl3pPr marL="822716" indent="0" algn="ctr">
              <a:buNone/>
              <a:defRPr sz="1619"/>
            </a:lvl3pPr>
            <a:lvl4pPr marL="1234075" indent="0" algn="ctr">
              <a:buNone/>
              <a:defRPr sz="1440"/>
            </a:lvl4pPr>
            <a:lvl5pPr marL="1645433" indent="0" algn="ctr">
              <a:buNone/>
              <a:defRPr sz="1440"/>
            </a:lvl5pPr>
            <a:lvl6pPr marL="2056792" indent="0" algn="ctr">
              <a:buNone/>
              <a:defRPr sz="1440"/>
            </a:lvl6pPr>
            <a:lvl7pPr marL="2468150" indent="0" algn="ctr">
              <a:buNone/>
              <a:defRPr sz="1440"/>
            </a:lvl7pPr>
            <a:lvl8pPr marL="2879509" indent="0" algn="ctr">
              <a:buNone/>
              <a:defRPr sz="1440"/>
            </a:lvl8pPr>
            <a:lvl9pPr marL="3290867" indent="0" algn="ctr">
              <a:buNone/>
              <a:defRPr sz="144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259080" y="259080"/>
            <a:ext cx="9872980" cy="5204460"/>
          </a:xfr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 anchorCtr="0">
            <a:norm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8000" b="0" i="0" u="none" cap="all" spc="0">
                <a:solidFill>
                  <a:srgbClr val="FFFFFF"/>
                </a:solidFill>
                <a:latin typeface="Bosch Office Sans" panose="020B0604020202020204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867080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32679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230" y="1538290"/>
            <a:ext cx="9460586" cy="2566987"/>
          </a:xfrm>
        </p:spPr>
        <p:txBody>
          <a:bodyPr anchor="b"/>
          <a:lstStyle>
            <a:lvl1pPr>
              <a:defRPr sz="5398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49230" y="4129088"/>
            <a:ext cx="9460586" cy="1350962"/>
          </a:xfrm>
        </p:spPr>
        <p:txBody>
          <a:bodyPr/>
          <a:lstStyle>
            <a:lvl1pPr marL="0" indent="0">
              <a:buNone/>
              <a:defRPr sz="2159">
                <a:solidFill>
                  <a:schemeClr val="tx1">
                    <a:tint val="75000"/>
                  </a:schemeClr>
                </a:solidFill>
              </a:defRPr>
            </a:lvl1pPr>
            <a:lvl2pPr marL="411358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2pPr>
            <a:lvl3pPr marL="822716" indent="0">
              <a:buNone/>
              <a:defRPr sz="1619">
                <a:solidFill>
                  <a:schemeClr val="tx1">
                    <a:tint val="75000"/>
                  </a:schemeClr>
                </a:solidFill>
              </a:defRPr>
            </a:lvl3pPr>
            <a:lvl4pPr marL="1234075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4pPr>
            <a:lvl5pPr marL="1645433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5pPr>
            <a:lvl6pPr marL="2056792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6pPr>
            <a:lvl7pPr marL="246815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7pPr>
            <a:lvl8pPr marL="2879509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8pPr>
            <a:lvl9pPr marL="3290867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5455401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5567" y="1296000"/>
            <a:ext cx="4861931" cy="4168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59445" y="1295999"/>
            <a:ext cx="4861931" cy="4168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9283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80" y="328613"/>
            <a:ext cx="9460586" cy="119221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55580" y="1512888"/>
            <a:ext cx="4641401" cy="741362"/>
          </a:xfrm>
        </p:spPr>
        <p:txBody>
          <a:bodyPr anchor="b"/>
          <a:lstStyle>
            <a:lvl1pPr marL="0" indent="0">
              <a:buNone/>
              <a:defRPr sz="2159" b="1"/>
            </a:lvl1pPr>
            <a:lvl2pPr marL="411358" indent="0">
              <a:buNone/>
              <a:defRPr sz="1799" b="1"/>
            </a:lvl2pPr>
            <a:lvl3pPr marL="822716" indent="0">
              <a:buNone/>
              <a:defRPr sz="1619" b="1"/>
            </a:lvl3pPr>
            <a:lvl4pPr marL="1234075" indent="0">
              <a:buNone/>
              <a:defRPr sz="1440" b="1"/>
            </a:lvl4pPr>
            <a:lvl5pPr marL="1645433" indent="0">
              <a:buNone/>
              <a:defRPr sz="1440" b="1"/>
            </a:lvl5pPr>
            <a:lvl6pPr marL="2056792" indent="0">
              <a:buNone/>
              <a:defRPr sz="1440" b="1"/>
            </a:lvl6pPr>
            <a:lvl7pPr marL="2468150" indent="0">
              <a:buNone/>
              <a:defRPr sz="1440" b="1"/>
            </a:lvl7pPr>
            <a:lvl8pPr marL="2879509" indent="0">
              <a:buNone/>
              <a:defRPr sz="1440" b="1"/>
            </a:lvl8pPr>
            <a:lvl9pPr marL="3290867" indent="0">
              <a:buNone/>
              <a:defRPr sz="144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55580" y="2254251"/>
            <a:ext cx="4641401" cy="33147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553598" y="1512888"/>
            <a:ext cx="4662567" cy="741362"/>
          </a:xfrm>
        </p:spPr>
        <p:txBody>
          <a:bodyPr anchor="b"/>
          <a:lstStyle>
            <a:lvl1pPr marL="0" indent="0">
              <a:buNone/>
              <a:defRPr sz="2159" b="1"/>
            </a:lvl1pPr>
            <a:lvl2pPr marL="411358" indent="0">
              <a:buNone/>
              <a:defRPr sz="1799" b="1"/>
            </a:lvl2pPr>
            <a:lvl3pPr marL="822716" indent="0">
              <a:buNone/>
              <a:defRPr sz="1619" b="1"/>
            </a:lvl3pPr>
            <a:lvl4pPr marL="1234075" indent="0">
              <a:buNone/>
              <a:defRPr sz="1440" b="1"/>
            </a:lvl4pPr>
            <a:lvl5pPr marL="1645433" indent="0">
              <a:buNone/>
              <a:defRPr sz="1440" b="1"/>
            </a:lvl5pPr>
            <a:lvl6pPr marL="2056792" indent="0">
              <a:buNone/>
              <a:defRPr sz="1440" b="1"/>
            </a:lvl6pPr>
            <a:lvl7pPr marL="2468150" indent="0">
              <a:buNone/>
              <a:defRPr sz="1440" b="1"/>
            </a:lvl7pPr>
            <a:lvl8pPr marL="2879509" indent="0">
              <a:buNone/>
              <a:defRPr sz="1440" b="1"/>
            </a:lvl8pPr>
            <a:lvl9pPr marL="3290867" indent="0">
              <a:buNone/>
              <a:defRPr sz="144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553598" y="2254251"/>
            <a:ext cx="4662567" cy="33147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53213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971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Chapter 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pter_title">
            <a:extLst>
              <a:ext uri="{FF2B5EF4-FFF2-40B4-BE49-F238E27FC236}">
                <a16:creationId xmlns:a16="http://schemas.microsoft.com/office/drawing/2014/main" id="{EE80FFE3-B9B2-433E-9111-10990FD419A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200" y="259200"/>
            <a:ext cx="9874800" cy="5205600"/>
          </a:xfrm>
          <a:ln w="0">
            <a:noFill/>
          </a:ln>
          <a:effectLst/>
        </p:spPr>
        <p:txBody>
          <a:bodyPr anchor="t" anchorCtr="0"/>
          <a:lstStyle>
            <a:lvl1pPr algn="l">
              <a:lnSpc>
                <a:spcPct val="90000"/>
              </a:lnSpc>
              <a:defRPr sz="65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Add Chapter Title</a:t>
            </a:r>
            <a:endParaRPr lang="de-DE" dirty="0"/>
          </a:p>
        </p:txBody>
      </p:sp>
      <p:pic>
        <p:nvPicPr>
          <p:cNvPr id="5" name="Grafik 4" descr="logo1_d2.png">
            <a:extLst>
              <a:ext uri="{FF2B5EF4-FFF2-40B4-BE49-F238E27FC236}">
                <a16:creationId xmlns:a16="http://schemas.microsoft.com/office/drawing/2014/main" id="{FC6E8050-6AB1-433E-A876-5E84688D10B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7" name="Grafik 3" descr="right_d2.png">
            <a:extLst>
              <a:ext uri="{FF2B5EF4-FFF2-40B4-BE49-F238E27FC236}">
                <a16:creationId xmlns:a16="http://schemas.microsoft.com/office/drawing/2014/main" id="{50EF21B3-288B-44C8-B2D9-3FFE25CF4E6C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40940" y="2"/>
            <a:ext cx="129600" cy="617092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828809399"/>
      </p:ext>
    </p:extLst>
  </p:cSld>
  <p:clrMapOvr>
    <a:masterClrMapping/>
  </p:clrMapOvr>
  <p:hf sldNum="0" hdr="0" ftr="0" dt="0"/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42545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9" y="411163"/>
            <a:ext cx="3538725" cy="1439862"/>
          </a:xfrm>
        </p:spPr>
        <p:txBody>
          <a:bodyPr anchor="b"/>
          <a:lstStyle>
            <a:lvl1pPr>
              <a:defRPr sz="2879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2566" y="889001"/>
            <a:ext cx="5553598" cy="4384675"/>
          </a:xfrm>
        </p:spPr>
        <p:txBody>
          <a:bodyPr/>
          <a:lstStyle>
            <a:lvl1pPr>
              <a:defRPr sz="2879"/>
            </a:lvl1pPr>
            <a:lvl2pPr>
              <a:defRPr sz="2519"/>
            </a:lvl2pPr>
            <a:lvl3pPr>
              <a:defRPr sz="2159"/>
            </a:lvl3pPr>
            <a:lvl4pPr>
              <a:defRPr sz="1799"/>
            </a:lvl4pPr>
            <a:lvl5pPr>
              <a:defRPr sz="1799"/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579" y="1851025"/>
            <a:ext cx="3538725" cy="3429000"/>
          </a:xfrm>
        </p:spPr>
        <p:txBody>
          <a:bodyPr/>
          <a:lstStyle>
            <a:lvl1pPr marL="0" indent="0">
              <a:buNone/>
              <a:defRPr sz="1440"/>
            </a:lvl1pPr>
            <a:lvl2pPr marL="411358" indent="0">
              <a:buNone/>
              <a:defRPr sz="1260"/>
            </a:lvl2pPr>
            <a:lvl3pPr marL="822716" indent="0">
              <a:buNone/>
              <a:defRPr sz="1080"/>
            </a:lvl3pPr>
            <a:lvl4pPr marL="1234075" indent="0">
              <a:buNone/>
              <a:defRPr sz="900"/>
            </a:lvl4pPr>
            <a:lvl5pPr marL="1645433" indent="0">
              <a:buNone/>
              <a:defRPr sz="900"/>
            </a:lvl5pPr>
            <a:lvl6pPr marL="2056792" indent="0">
              <a:buNone/>
              <a:defRPr sz="900"/>
            </a:lvl6pPr>
            <a:lvl7pPr marL="2468150" indent="0">
              <a:buNone/>
              <a:defRPr sz="900"/>
            </a:lvl7pPr>
            <a:lvl8pPr marL="2879509" indent="0">
              <a:buNone/>
              <a:defRPr sz="900"/>
            </a:lvl8pPr>
            <a:lvl9pPr marL="3290867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621867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9" y="411163"/>
            <a:ext cx="3538725" cy="1439862"/>
          </a:xfrm>
        </p:spPr>
        <p:txBody>
          <a:bodyPr anchor="b"/>
          <a:lstStyle>
            <a:lvl1pPr>
              <a:defRPr sz="2879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62566" y="889001"/>
            <a:ext cx="5553598" cy="4384675"/>
          </a:xfrm>
        </p:spPr>
        <p:txBody>
          <a:bodyPr/>
          <a:lstStyle>
            <a:lvl1pPr marL="0" indent="0">
              <a:buNone/>
              <a:defRPr sz="2879"/>
            </a:lvl1pPr>
            <a:lvl2pPr marL="411358" indent="0">
              <a:buNone/>
              <a:defRPr sz="2519"/>
            </a:lvl2pPr>
            <a:lvl3pPr marL="822716" indent="0">
              <a:buNone/>
              <a:defRPr sz="2159"/>
            </a:lvl3pPr>
            <a:lvl4pPr marL="1234075" indent="0">
              <a:buNone/>
              <a:defRPr sz="1799"/>
            </a:lvl4pPr>
            <a:lvl5pPr marL="1645433" indent="0">
              <a:buNone/>
              <a:defRPr sz="1799"/>
            </a:lvl5pPr>
            <a:lvl6pPr marL="2056792" indent="0">
              <a:buNone/>
              <a:defRPr sz="1799"/>
            </a:lvl6pPr>
            <a:lvl7pPr marL="2468150" indent="0">
              <a:buNone/>
              <a:defRPr sz="1799"/>
            </a:lvl7pPr>
            <a:lvl8pPr marL="2879509" indent="0">
              <a:buNone/>
              <a:defRPr sz="1799"/>
            </a:lvl8pPr>
            <a:lvl9pPr marL="3290867" indent="0">
              <a:buNone/>
              <a:defRPr sz="1799"/>
            </a:lvl9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55579" y="1851025"/>
            <a:ext cx="3538725" cy="3429000"/>
          </a:xfrm>
        </p:spPr>
        <p:txBody>
          <a:bodyPr/>
          <a:lstStyle>
            <a:lvl1pPr marL="0" indent="0">
              <a:buNone/>
              <a:defRPr sz="1440"/>
            </a:lvl1pPr>
            <a:lvl2pPr marL="411358" indent="0">
              <a:buNone/>
              <a:defRPr sz="1260"/>
            </a:lvl2pPr>
            <a:lvl3pPr marL="822716" indent="0">
              <a:buNone/>
              <a:defRPr sz="1080"/>
            </a:lvl3pPr>
            <a:lvl4pPr marL="1234075" indent="0">
              <a:buNone/>
              <a:defRPr sz="900"/>
            </a:lvl4pPr>
            <a:lvl5pPr marL="1645433" indent="0">
              <a:buNone/>
              <a:defRPr sz="900"/>
            </a:lvl5pPr>
            <a:lvl6pPr marL="2056792" indent="0">
              <a:buNone/>
              <a:defRPr sz="900"/>
            </a:lvl6pPr>
            <a:lvl7pPr marL="2468150" indent="0">
              <a:buNone/>
              <a:defRPr sz="900"/>
            </a:lvl7pPr>
            <a:lvl8pPr marL="2879509" indent="0">
              <a:buNone/>
              <a:defRPr sz="900"/>
            </a:lvl8pPr>
            <a:lvl9pPr marL="3290867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210971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15289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52075" y="328614"/>
            <a:ext cx="2364089" cy="52292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3463" y="328614"/>
            <a:ext cx="6895434" cy="52292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89652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887135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1"/>
            </a:lvl1pPr>
          </a:lstStyle>
          <a:p>
            <a:r>
              <a:rPr lang="de-DE"/>
              <a:t>“Add Quotation”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7" name="Grafik 3" descr="bottom_d2_169.png"/>
          <p:cNvPicPr>
            <a:picLocks noSel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2" name="Rectangle7">
            <a:extLst>
              <a:ext uri="{FF2B5EF4-FFF2-40B4-BE49-F238E27FC236}">
                <a16:creationId xmlns:a16="http://schemas.microsoft.com/office/drawing/2014/main" id="{855EB1A0-FDAA-4D62-99AE-E08E3E26E93B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5" name="Grafik 4" descr="logo1_d2.png">
            <a:extLst>
              <a:ext uri="{FF2B5EF4-FFF2-40B4-BE49-F238E27FC236}">
                <a16:creationId xmlns:a16="http://schemas.microsoft.com/office/drawing/2014/main" id="{6E018BBC-5CA8-4135-B38C-8681A1586972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04177851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259199"/>
            <a:ext cx="9874800" cy="5205600"/>
          </a:xfrm>
        </p:spPr>
        <p:txBody>
          <a:bodyPr anchor="ctr" anchorCtr="0"/>
          <a:lstStyle>
            <a:lvl1pPr>
              <a:lnSpc>
                <a:spcPct val="90000"/>
              </a:lnSpc>
              <a:defRPr sz="4000" i="0"/>
            </a:lvl1pPr>
          </a:lstStyle>
          <a:p>
            <a:r>
              <a:rPr lang="de-DE"/>
              <a:t>Add Conclus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7" name="Grafik 3" descr="bottom_d2_169.png"/>
          <p:cNvPicPr>
            <a:picLocks noSelect="1"/>
          </p:cNvPicPr>
          <p:nvPr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11" name="Grafik 10" descr="logo2_d2.png">
            <a:extLst>
              <a:ext uri="{FF2B5EF4-FFF2-40B4-BE49-F238E27FC236}">
                <a16:creationId xmlns:a16="http://schemas.microsoft.com/office/drawing/2014/main" id="{77D5F5E1-4827-426B-99FE-8CE2E1270E2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72390B9F-3EB3-4FEE-B4B2-61FC80890073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4" name="Grafik 4" descr="logo1_d2.png">
            <a:extLst>
              <a:ext uri="{FF2B5EF4-FFF2-40B4-BE49-F238E27FC236}">
                <a16:creationId xmlns:a16="http://schemas.microsoft.com/office/drawing/2014/main" id="{30F7B7DF-6F0E-4921-B877-3E2AD7D8C29A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53235518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384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344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" hasCustomPrompt="1"/>
          </p:nvPr>
        </p:nvSpPr>
        <p:spPr>
          <a:xfrm>
            <a:off x="259200" y="1296000"/>
            <a:ext cx="10450800" cy="4168800"/>
          </a:xfrm>
        </p:spPr>
        <p:txBody>
          <a:bodyPr/>
          <a:lstStyle>
            <a:lvl1pPr marL="251982" indent="-251982">
              <a:lnSpc>
                <a:spcPct val="107000"/>
              </a:lnSpc>
              <a:buFont typeface="+mj-lt"/>
              <a:buAutoNum type="arabicPeriod"/>
              <a:defRPr/>
            </a:lvl1pPr>
            <a:lvl2pPr marL="507563" indent="-273580">
              <a:lnSpc>
                <a:spcPct val="103000"/>
              </a:lnSpc>
              <a:buFont typeface="+mj-lt"/>
              <a:buAutoNum type="arabicPeriod"/>
              <a:defRPr/>
            </a:lvl2pPr>
            <a:lvl3pPr marL="730746" indent="-205185">
              <a:lnSpc>
                <a:spcPct val="102000"/>
              </a:lnSpc>
              <a:buFont typeface="+mj-lt"/>
              <a:buAutoNum type="arabicPeriod"/>
              <a:defRPr/>
            </a:lvl3pPr>
            <a:lvl4pPr marL="932331" indent="-183586">
              <a:lnSpc>
                <a:spcPct val="107000"/>
              </a:lnSpc>
              <a:buFont typeface="+mj-lt"/>
              <a:buAutoNum type="arabicPeriod"/>
              <a:defRPr/>
            </a:lvl4pPr>
            <a:lvl5pPr marL="932331" indent="-183586">
              <a:lnSpc>
                <a:spcPct val="103000"/>
              </a:lnSpc>
              <a:buFont typeface="+mj-lt"/>
              <a:buAutoNum type="arabicPeriod"/>
              <a:defRPr/>
            </a:lvl5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Rectangle7" hidden="1"/>
          <p:cNvSpPr>
            <a:spLocks/>
          </p:cNvSpPr>
          <p:nvPr/>
        </p:nvSpPr>
        <p:spPr>
          <a:xfrm>
            <a:off x="9223200" y="259078"/>
            <a:ext cx="1692000" cy="777721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>
                <a:solidFill>
                  <a:srgbClr val="000000"/>
                </a:solidFill>
                <a:latin typeface="+mn-lt"/>
              </a:rPr>
              <a:t>%attachmentremark% </a:t>
            </a:r>
          </a:p>
        </p:txBody>
      </p:sp>
      <p:pic>
        <p:nvPicPr>
          <p:cNvPr id="25" name="Grafik 3" descr="bottom_d2_169.png">
            <a:extLst>
              <a:ext uri="{FF2B5EF4-FFF2-40B4-BE49-F238E27FC236}">
                <a16:creationId xmlns:a16="http://schemas.microsoft.com/office/drawing/2014/main" id="{5924583E-7B93-41AC-AC5B-430C0AD45AC7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3" name="Grafik 32" descr="logo2_d2.png">
            <a:extLst>
              <a:ext uri="{FF2B5EF4-FFF2-40B4-BE49-F238E27FC236}">
                <a16:creationId xmlns:a16="http://schemas.microsoft.com/office/drawing/2014/main" id="{48E231CC-E3B9-4D96-AA06-B1CFFA847D96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3EC746CB-10AC-40C9-8647-79D1DEB9F93D}"/>
              </a:ext>
            </a:extLst>
          </p:cNvPr>
          <p:cNvSpPr txBox="1"/>
          <p:nvPr userDrawn="1"/>
        </p:nvSpPr>
        <p:spPr>
          <a:xfrm>
            <a:off x="259200" y="259200"/>
            <a:ext cx="10450800" cy="777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89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genda</a:t>
            </a:r>
            <a:endParaRPr kumimoji="0" lang="de-DE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2" name="Rectangle7">
            <a:extLst>
              <a:ext uri="{FF2B5EF4-FFF2-40B4-BE49-F238E27FC236}">
                <a16:creationId xmlns:a16="http://schemas.microsoft.com/office/drawing/2014/main" id="{F0D59F04-5C89-4857-A44C-3D9D9D3D938E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3" name="Grafik 4" descr="logo1_d2.png">
            <a:extLst>
              <a:ext uri="{FF2B5EF4-FFF2-40B4-BE49-F238E27FC236}">
                <a16:creationId xmlns:a16="http://schemas.microsoft.com/office/drawing/2014/main" id="{39A24C14-69FA-48C5-9BFC-E264F89C2E76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9403102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822274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9200" y="648000"/>
            <a:ext cx="10450800" cy="388800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59200" y="259200"/>
            <a:ext cx="10450800" cy="388800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800" kern="0" baseline="0">
                <a:solidFill>
                  <a:schemeClr val="tx1"/>
                </a:solidFill>
              </a:defRPr>
            </a:lvl1pPr>
            <a:lvl2pPr marL="233983" indent="0">
              <a:buNone/>
              <a:defRPr sz="2800"/>
            </a:lvl2pPr>
            <a:lvl3pPr marL="525562" indent="0">
              <a:buNone/>
              <a:defRPr sz="2800"/>
            </a:lvl3pPr>
            <a:lvl4pPr marL="748745" indent="0">
              <a:buNone/>
              <a:defRPr sz="2800"/>
            </a:lvl4pPr>
            <a:lvl5pPr marL="748745" indent="0">
              <a:buNone/>
              <a:defRPr sz="2800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89"/>
            <a:ext cx="10970260" cy="12954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22613"/>
            <a:ext cx="135936" cy="648000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9224010" y="259080"/>
            <a:ext cx="1691640" cy="777240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7779" rIns="0" bIns="0" rtlCol="0" anchor="t">
            <a:normAutofit/>
          </a:bodyPr>
          <a:lstStyle/>
          <a:p>
            <a:pPr rtl="0">
              <a:lnSpc>
                <a:spcPts val="900"/>
              </a:lnSpc>
            </a:pPr>
            <a:r>
              <a:rPr lang="en-GB" sz="550" b="0" i="0" u="none" strike="noStrike" kern="0" baseline="0" smtClean="0">
                <a:solidFill>
                  <a:srgbClr val="000000"/>
                </a:solidFill>
                <a:latin typeface="Bosch Office Sans" pitchFamily="2" charset="0"/>
              </a:rPr>
              <a:t> </a:t>
            </a:r>
            <a:endParaRPr lang="en-GB" sz="550" b="0" i="0" u="none" strike="noStrike" kern="0" baseline="0">
              <a:solidFill>
                <a:srgbClr val="000000"/>
              </a:solidFill>
              <a:latin typeface="Bosch Office Sans" pitchFamily="2" charset="0"/>
            </a:endParaRP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600" y="5464811"/>
            <a:ext cx="1094400" cy="575309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58762" y="1296000"/>
            <a:ext cx="10450800" cy="41688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977382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2" userDrawn="1">
          <p15:clr>
            <a:srgbClr val="FBAE40"/>
          </p15:clr>
        </p15:guide>
        <p15:guide id="2" pos="6747" userDrawn="1">
          <p15:clr>
            <a:srgbClr val="FBAE40"/>
          </p15:clr>
        </p15:guide>
        <p15:guide id="3" orient="horz" pos="162" userDrawn="1">
          <p15:clr>
            <a:srgbClr val="FBAE40"/>
          </p15:clr>
        </p15:guide>
        <p15:guide id="4" orient="horz" pos="408" userDrawn="1">
          <p15:clr>
            <a:srgbClr val="FBAE40"/>
          </p15:clr>
        </p15:guide>
        <p15:guide id="5" orient="horz" pos="654" userDrawn="1">
          <p15:clr>
            <a:srgbClr val="FBAE40"/>
          </p15:clr>
        </p15:guide>
        <p15:guide id="6" orient="horz" pos="816" userDrawn="1">
          <p15:clr>
            <a:srgbClr val="FBAE40"/>
          </p15:clr>
        </p15:guide>
        <p15:guide id="7" orient="horz" pos="3443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tags" Target="../tags/tag56.xml"/><Relationship Id="rId3" Type="http://schemas.openxmlformats.org/officeDocument/2006/relationships/slideLayout" Target="../slideLayouts/slideLayout22.xml"/><Relationship Id="rId21" Type="http://schemas.openxmlformats.org/officeDocument/2006/relationships/oleObject" Target="../embeddings/oleObject2.bin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tags" Target="../tags/tag55.xml"/><Relationship Id="rId2" Type="http://schemas.openxmlformats.org/officeDocument/2006/relationships/slideLayout" Target="../slideLayouts/slideLayout21.xml"/><Relationship Id="rId16" Type="http://schemas.openxmlformats.org/officeDocument/2006/relationships/vmlDrawing" Target="../drawings/vmlDrawing2.vml"/><Relationship Id="rId20" Type="http://schemas.openxmlformats.org/officeDocument/2006/relationships/tags" Target="../tags/tag5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1.png"/><Relationship Id="rId5" Type="http://schemas.openxmlformats.org/officeDocument/2006/relationships/slideLayout" Target="../slideLayouts/slideLayout24.xml"/><Relationship Id="rId15" Type="http://schemas.openxmlformats.org/officeDocument/2006/relationships/theme" Target="../theme/theme2.xml"/><Relationship Id="rId23" Type="http://schemas.openxmlformats.org/officeDocument/2006/relationships/image" Target="../media/image10.emf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57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3.xml"/><Relationship Id="rId18" Type="http://schemas.openxmlformats.org/officeDocument/2006/relationships/tags" Target="../tags/tag64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10.emf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ags" Target="../tags/tag63.xml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6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61.xml"/><Relationship Id="rId10" Type="http://schemas.openxmlformats.org/officeDocument/2006/relationships/slideLayout" Target="../slideLayouts/slideLayout43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vmlDrawing" Target="../drawings/vmlDrawing3.vml"/><Relationship Id="rId22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063907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Slide do think-cell" r:id="rId24" imgW="421" imgH="420" progId="TCLayout.ActiveDocument.1">
                  <p:embed/>
                </p:oleObj>
              </mc:Choice>
              <mc:Fallback>
                <p:oleObj name="Slide do think-cell" r:id="rId2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2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00" y="648000"/>
            <a:ext cx="10450800" cy="388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9200" y="1296000"/>
            <a:ext cx="10450800" cy="416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66700" y="5628640"/>
            <a:ext cx="288290" cy="41021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>
                <a:solidFill>
                  <a:srgbClr val="999FA6"/>
                </a:solidFill>
                <a:latin typeface="+mn-lt"/>
              </a:defRPr>
            </a:lvl1pPr>
          </a:lstStyle>
          <a:p>
            <a:fld id="{4898AEC0-503E-4FA4-859C-D0F72D6E3F79}" type="slidenum">
              <a:rPr lang="de-DE" smtClean="0"/>
              <a:pPr/>
              <a:t>‹nº›</a:t>
            </a:fld>
            <a:endParaRPr lang="de-DE" dirty="0"/>
          </a:p>
        </p:txBody>
      </p:sp>
      <p:sp>
        <p:nvSpPr>
          <p:cNvPr id="5" name="Bosch_footer_1">
            <a:extLst>
              <a:ext uri="{FF2B5EF4-FFF2-40B4-BE49-F238E27FC236}">
                <a16:creationId xmlns:a16="http://schemas.microsoft.com/office/drawing/2014/main" id="{C4A0DCBC-1EFB-43C4-AF00-AB85781F48E7}"/>
              </a:ext>
            </a:extLst>
          </p:cNvPr>
          <p:cNvSpPr txBox="1"/>
          <p:nvPr userDrawn="1"/>
        </p:nvSpPr>
        <p:spPr>
          <a:xfrm>
            <a:off x="593090" y="5643880"/>
            <a:ext cx="9152890" cy="10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 pitchFamily="2" charset="0"/>
              </a:rPr>
              <a:t>Commercial Vehicles and Off-Road | 2019-06-12</a:t>
            </a: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</a:endParaRPr>
          </a:p>
        </p:txBody>
      </p:sp>
      <p:sp>
        <p:nvSpPr>
          <p:cNvPr id="8" name="Bosch_footer_2">
            <a:extLst>
              <a:ext uri="{FF2B5EF4-FFF2-40B4-BE49-F238E27FC236}">
                <a16:creationId xmlns:a16="http://schemas.microsoft.com/office/drawing/2014/main" id="{C3D77AD5-379C-4A86-AFCF-32945A0FEE26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en-US" sz="600" b="0" i="0" u="none" kern="0" baseline="0" dirty="0" smtClean="0">
                <a:solidFill>
                  <a:srgbClr val="B2B3B5"/>
                </a:solidFill>
                <a:latin typeface="Bosch Office Sans" pitchFamily="2" charset="0"/>
              </a:rPr>
              <a:t>© Robert Bosch </a:t>
            </a:r>
            <a:r>
              <a:rPr lang="en-US" sz="600" b="0" i="0" u="none" kern="0" baseline="0" dirty="0" err="1" smtClean="0">
                <a:solidFill>
                  <a:srgbClr val="B2B3B5"/>
                </a:solidFill>
                <a:latin typeface="Bosch Office Sans" pitchFamily="2" charset="0"/>
              </a:rPr>
              <a:t>Ltda</a:t>
            </a:r>
            <a:r>
              <a:rPr lang="en-US" sz="600" b="0" i="0" u="none" kern="0" baseline="0" dirty="0" smtClean="0">
                <a:solidFill>
                  <a:srgbClr val="B2B3B5"/>
                </a:solidFill>
                <a:latin typeface="Bosch Office Sans" pitchFamily="2" charset="0"/>
              </a:rPr>
              <a:t> 2019. Reserves all rights even in the event of industrial property rights. We reserve all rights of disposal such as copying and passing on to third parties</a:t>
            </a:r>
            <a:endParaRPr lang="de-DE" sz="600" b="0" i="0" u="none" kern="0" baseline="0" dirty="0">
              <a:solidFill>
                <a:srgbClr val="B2B3B5"/>
              </a:solidFill>
              <a:latin typeface="Bosch Office Sans" pitchFamily="2" charset="0"/>
            </a:endParaRPr>
          </a:p>
        </p:txBody>
      </p:sp>
      <p:sp>
        <p:nvSpPr>
          <p:cNvPr id="9" name="Bosch_footer_2" hidden="1">
            <a:extLst>
              <a:ext uri="{FF2B5EF4-FFF2-40B4-BE49-F238E27FC236}">
                <a16:creationId xmlns:a16="http://schemas.microsoft.com/office/drawing/2014/main" id="{E897C98A-4665-443F-B1CF-E9B71E9916EC}"/>
              </a:ext>
            </a:extLst>
          </p:cNvPr>
          <p:cNvSpPr txBox="1"/>
          <p:nvPr userDrawn="1"/>
        </p:nvSpPr>
        <p:spPr>
          <a:xfrm>
            <a:off x="593090" y="5748656"/>
            <a:ext cx="9152890" cy="215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20000"/>
              </a:lnSpc>
              <a:spcAft>
                <a:spcPts val="100"/>
              </a:spcAft>
            </a:pPr>
            <a:r>
              <a:rPr lang="de-DE" sz="600" kern="0" baseline="0">
                <a:solidFill>
                  <a:schemeClr val="tx1"/>
                </a:solidFill>
              </a:rPr>
              <a:t>%repositoryremark%</a:t>
            </a:r>
            <a:r>
              <a:rPr lang="de-DE" sz="600" kern="0" baseline="0">
                <a:solidFill>
                  <a:srgbClr val="B2B3B5"/>
                </a:solidFill>
              </a:rPr>
              <a:t>%copyright%</a:t>
            </a:r>
            <a:endParaRPr lang="de-DE" sz="600" kern="0" baseline="0" dirty="0">
              <a:solidFill>
                <a:srgbClr val="B2B3B5"/>
              </a:solidFill>
            </a:endParaRPr>
          </a:p>
        </p:txBody>
      </p:sp>
      <p:sp>
        <p:nvSpPr>
          <p:cNvPr id="10" name="Bosch_footer_1" hidden="1">
            <a:extLst>
              <a:ext uri="{FF2B5EF4-FFF2-40B4-BE49-F238E27FC236}">
                <a16:creationId xmlns:a16="http://schemas.microsoft.com/office/drawing/2014/main" id="{BB7EB8EC-2C22-471E-A5D4-B578263D307B}"/>
              </a:ext>
            </a:extLst>
          </p:cNvPr>
          <p:cNvSpPr txBox="1"/>
          <p:nvPr userDrawn="1"/>
        </p:nvSpPr>
        <p:spPr>
          <a:xfrm>
            <a:off x="594000" y="5644800"/>
            <a:ext cx="9154800" cy="108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de-DE" sz="600" b="1" kern="0" baseline="0" noProof="1">
                <a:solidFill>
                  <a:srgbClr val="D70012"/>
                </a:solidFill>
              </a:rPr>
              <a:t>%confidentiality%</a:t>
            </a:r>
            <a:r>
              <a:rPr lang="de-DE" sz="600" kern="0" baseline="0" noProof="1">
                <a:solidFill>
                  <a:schemeClr val="tx1"/>
                </a:solidFill>
              </a:rPr>
              <a:t>%businessunit%%departmentshort%%dateformat%</a:t>
            </a:r>
          </a:p>
        </p:txBody>
      </p:sp>
    </p:spTree>
    <p:extLst>
      <p:ext uri="{BB962C8B-B14F-4D97-AF65-F5344CB8AC3E}">
        <p14:creationId xmlns:p14="http://schemas.microsoft.com/office/powerpoint/2010/main" val="85155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41" r:id="rId2"/>
    <p:sldLayoutId id="2147483742" r:id="rId3"/>
    <p:sldLayoutId id="2147483713" r:id="rId4"/>
    <p:sldLayoutId id="2147483743" r:id="rId5"/>
    <p:sldLayoutId id="2147483721" r:id="rId6"/>
    <p:sldLayoutId id="2147483747" r:id="rId7"/>
    <p:sldLayoutId id="2147483723" r:id="rId8"/>
    <p:sldLayoutId id="2147483746" r:id="rId9"/>
    <p:sldLayoutId id="2147483744" r:id="rId10"/>
    <p:sldLayoutId id="2147483724" r:id="rId11"/>
    <p:sldLayoutId id="2147483726" r:id="rId12"/>
    <p:sldLayoutId id="2147483727" r:id="rId13"/>
    <p:sldLayoutId id="2147483728" r:id="rId14"/>
    <p:sldLayoutId id="2147483729" r:id="rId15"/>
    <p:sldLayoutId id="2147483745" r:id="rId16"/>
    <p:sldLayoutId id="2147483734" r:id="rId17"/>
    <p:sldLayoutId id="2147483731" r:id="rId18"/>
    <p:sldLayoutId id="2147483712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33" rtl="0" eaLnBrk="1" latinLnBrk="0" hangingPunct="1">
        <a:lnSpc>
          <a:spcPct val="89000"/>
        </a:lnSpc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1982" indent="-251982" algn="l" defTabSz="914333" rtl="0" eaLnBrk="1" latinLnBrk="0" hangingPunct="1">
        <a:lnSpc>
          <a:spcPct val="107000"/>
        </a:lnSpc>
        <a:spcBef>
          <a:spcPts val="500"/>
        </a:spcBef>
        <a:buFont typeface="Wingdings 3" panose="05040102010807070707" pitchFamily="18" charset="2"/>
        <a:buChar char="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07563" indent="-273580" algn="l" defTabSz="914333" rtl="0" eaLnBrk="1" latinLnBrk="0" hangingPunct="1">
        <a:lnSpc>
          <a:spcPct val="103000"/>
        </a:lnSpc>
        <a:spcBef>
          <a:spcPts val="500"/>
        </a:spcBef>
        <a:buFont typeface="Wingdings 3" panose="05040102010807070707" pitchFamily="18" charset="2"/>
        <a:buChar char="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30746" indent="-205185" algn="l" defTabSz="914333" rtl="0" eaLnBrk="1" latinLnBrk="0" hangingPunct="1">
        <a:lnSpc>
          <a:spcPct val="102000"/>
        </a:lnSpc>
        <a:spcBef>
          <a:spcPts val="500"/>
        </a:spcBef>
        <a:buFont typeface="Bosch Office Sans" pitchFamily="2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932331" indent="-183586" algn="l" defTabSz="914333" rtl="0" eaLnBrk="1" latinLnBrk="0" hangingPunct="1">
        <a:lnSpc>
          <a:spcPct val="103000"/>
        </a:lnSpc>
        <a:spcBef>
          <a:spcPts val="500"/>
        </a:spcBef>
        <a:buFont typeface="Bosch Office Sans" pitchFamily="2" charset="0"/>
        <a:buChar char="‒"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32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369820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Slide do think-cell" r:id="rId21" imgW="421" imgH="420" progId="TCLayout.ActiveDocument.1">
                  <p:embed/>
                </p:oleObj>
              </mc:Choice>
              <mc:Fallback>
                <p:oleObj name="Slide do think-cell" r:id="rId21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567" y="648000"/>
            <a:ext cx="8221606" cy="388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5568" y="1296000"/>
            <a:ext cx="10275808" cy="416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de-DE" dirty="0"/>
          </a:p>
        </p:txBody>
      </p:sp>
      <p:pic>
        <p:nvPicPr>
          <p:cNvPr id="5" name="Imagem 4"/>
          <p:cNvPicPr>
            <a:picLocks/>
          </p:cNvPicPr>
          <p:nvPr userDrawn="1">
            <p:custDataLst>
              <p:tags r:id="rId19"/>
            </p:custDataLst>
          </p:nvPr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586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" name="Imagem 3"/>
          <p:cNvPicPr>
            <a:picLocks/>
          </p:cNvPicPr>
          <p:nvPr userDrawn="1">
            <p:custDataLst>
              <p:tags r:id="rId20"/>
            </p:custDataLst>
          </p:nvPr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270468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</p:sldLayoutIdLst>
  <p:txStyles>
    <p:titleStyle>
      <a:lvl1pPr algn="l" defTabSz="822716" rtl="0" eaLnBrk="1" latinLnBrk="0" hangingPunct="1">
        <a:lnSpc>
          <a:spcPct val="90000"/>
        </a:lnSpc>
        <a:spcBef>
          <a:spcPct val="0"/>
        </a:spcBef>
        <a:buFontTx/>
        <a:buNone/>
        <a:defRPr sz="1800" b="0" i="0" u="none" kern="1200">
          <a:solidFill>
            <a:schemeClr val="tx1"/>
          </a:solidFill>
          <a:latin typeface="Bosch Office Sans" pitchFamily="2" charset="0"/>
          <a:ea typeface="+mj-ea"/>
          <a:cs typeface="+mj-cs"/>
        </a:defRPr>
      </a:lvl1pPr>
    </p:titleStyle>
    <p:bodyStyle>
      <a:lvl1pPr marL="251460" indent="-251460" algn="l" defTabSz="822716" rtl="0" eaLnBrk="1" latinLnBrk="0" hangingPunct="1">
        <a:lnSpc>
          <a:spcPct val="107000"/>
        </a:lnSpc>
        <a:spcBef>
          <a:spcPts val="500"/>
        </a:spcBef>
        <a:buClrTx/>
        <a:buSzPct val="100000"/>
        <a:buFont typeface="Wingdings 3" panose="05040102010807070707" pitchFamily="18" charset="2"/>
        <a:buChar char=""/>
        <a:defRPr sz="18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1pPr>
      <a:lvl2pPr marL="508000" indent="-27432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 typeface="Wingdings 3" panose="05040102010807070707" pitchFamily="18" charset="2"/>
        <a:buChar char=""/>
        <a:defRPr sz="16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2pPr>
      <a:lvl3pPr marL="730250" indent="-204470" algn="l" defTabSz="822716" rtl="0" eaLnBrk="1" latinLnBrk="0" hangingPunct="1">
        <a:lnSpc>
          <a:spcPct val="102000"/>
        </a:lnSpc>
        <a:spcBef>
          <a:spcPts val="500"/>
        </a:spcBef>
        <a:buClrTx/>
        <a:buSzPct val="100000"/>
        <a:buFontTx/>
        <a:buChar char="‒"/>
        <a:defRPr sz="14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3pPr>
      <a:lvl4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4pPr>
      <a:lvl5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5pPr>
      <a:lvl6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6pPr>
      <a:lvl7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7pPr>
      <a:lvl8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itchFamily="2" charset="0"/>
          <a:ea typeface="+mn-ea"/>
          <a:cs typeface="+mn-cs"/>
        </a:defRPr>
      </a:lvl8pPr>
      <a:lvl9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 baseline="0">
          <a:solidFill>
            <a:schemeClr val="tx1"/>
          </a:solidFill>
          <a:latin typeface="Bosch Office Sans" pitchFamily="2" charset="0"/>
          <a:ea typeface="+mn-ea"/>
          <a:cs typeface="+mn-cs"/>
        </a:defRPr>
      </a:lvl9pPr>
    </p:bodyStyle>
    <p:otherStyle>
      <a:defPPr>
        <a:defRPr lang="de-DE"/>
      </a:defPPr>
      <a:lvl1pPr marL="0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1pPr>
      <a:lvl2pPr marL="411358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2pPr>
      <a:lvl3pPr marL="822716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3pPr>
      <a:lvl4pPr marL="1234075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4pPr>
      <a:lvl5pPr marL="1645433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5pPr>
      <a:lvl6pPr marL="2056792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6pPr>
      <a:lvl7pPr marL="2468150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7pPr>
      <a:lvl8pPr marL="2879509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8pPr>
      <a:lvl9pPr marL="3290867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80963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Slide do think-cell" r:id="rId19" imgW="421" imgH="420" progId="TCLayout.ActiveDocument.1">
                  <p:embed/>
                </p:oleObj>
              </mc:Choice>
              <mc:Fallback>
                <p:oleObj name="Slide do think-cell" r:id="rId19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567" y="648000"/>
            <a:ext cx="8221606" cy="388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5568" y="1296000"/>
            <a:ext cx="10275808" cy="4168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de-DE" dirty="0"/>
          </a:p>
        </p:txBody>
      </p:sp>
      <p:pic>
        <p:nvPicPr>
          <p:cNvPr id="5" name="Grafik 4"/>
          <p:cNvPicPr>
            <a:picLocks/>
          </p:cNvPicPr>
          <p:nvPr userDrawn="1">
            <p:custDataLst>
              <p:tags r:id="rId17"/>
            </p:custDataLst>
          </p:nvPr>
        </p:nvPicPr>
        <p:blipFill>
          <a:blip r:embed="rId2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86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" name="Grafik 3"/>
          <p:cNvPicPr>
            <a:picLocks/>
          </p:cNvPicPr>
          <p:nvPr userDrawn="1">
            <p:custDataLst>
              <p:tags r:id="rId18"/>
            </p:custDataLst>
          </p:nvPr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1390"/>
            <a:ext cx="10970260" cy="12954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569852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  <p:sldLayoutId id="2147483766" r:id="rId3"/>
    <p:sldLayoutId id="2147483767" r:id="rId4"/>
    <p:sldLayoutId id="2147483768" r:id="rId5"/>
    <p:sldLayoutId id="2147483769" r:id="rId6"/>
    <p:sldLayoutId id="2147483770" r:id="rId7"/>
    <p:sldLayoutId id="2147483771" r:id="rId8"/>
    <p:sldLayoutId id="2147483772" r:id="rId9"/>
    <p:sldLayoutId id="2147483773" r:id="rId10"/>
    <p:sldLayoutId id="2147483774" r:id="rId11"/>
    <p:sldLayoutId id="2147483775" r:id="rId12"/>
  </p:sldLayoutIdLst>
  <p:txStyles>
    <p:titleStyle>
      <a:lvl1pPr algn="l" defTabSz="822716" rtl="0" eaLnBrk="1" latinLnBrk="0" hangingPunct="1">
        <a:lnSpc>
          <a:spcPct val="90000"/>
        </a:lnSpc>
        <a:spcBef>
          <a:spcPct val="0"/>
        </a:spcBef>
        <a:buFontTx/>
        <a:buNone/>
        <a:defRPr sz="1800" b="0" i="0" u="none" kern="1200">
          <a:solidFill>
            <a:schemeClr val="tx1"/>
          </a:solidFill>
          <a:latin typeface="Bosch Office Sans" panose="020B0604020202020204" pitchFamily="34" charset="0"/>
          <a:ea typeface="+mj-ea"/>
          <a:cs typeface="+mj-cs"/>
        </a:defRPr>
      </a:lvl1pPr>
    </p:titleStyle>
    <p:bodyStyle>
      <a:lvl1pPr marL="251460" indent="-251460" algn="l" defTabSz="822716" rtl="0" eaLnBrk="1" latinLnBrk="0" hangingPunct="1">
        <a:lnSpc>
          <a:spcPct val="107000"/>
        </a:lnSpc>
        <a:spcBef>
          <a:spcPts val="500"/>
        </a:spcBef>
        <a:buClrTx/>
        <a:buSzPct val="100000"/>
        <a:buFont typeface="Wingdings 3" panose="05040102010807070707" pitchFamily="18" charset="2"/>
        <a:buChar char=""/>
        <a:defRPr sz="1800" b="0" i="0" u="none" kern="1200">
          <a:solidFill>
            <a:schemeClr val="tx1"/>
          </a:solidFill>
          <a:latin typeface="Bosch Office Sans" panose="020B0604020202020204" pitchFamily="34" charset="0"/>
          <a:ea typeface="+mn-ea"/>
          <a:cs typeface="+mn-cs"/>
        </a:defRPr>
      </a:lvl1pPr>
      <a:lvl2pPr marL="508000" indent="-27432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 typeface="Wingdings 3" panose="05040102010807070707" pitchFamily="18" charset="2"/>
        <a:buChar char=""/>
        <a:defRPr sz="1600" b="0" i="0" u="none" kern="1200">
          <a:solidFill>
            <a:schemeClr val="tx1"/>
          </a:solidFill>
          <a:latin typeface="Bosch Office Sans" panose="020B0604020202020204" pitchFamily="34" charset="0"/>
          <a:ea typeface="+mn-ea"/>
          <a:cs typeface="+mn-cs"/>
        </a:defRPr>
      </a:lvl2pPr>
      <a:lvl3pPr marL="730250" indent="-204470" algn="l" defTabSz="822716" rtl="0" eaLnBrk="1" latinLnBrk="0" hangingPunct="1">
        <a:lnSpc>
          <a:spcPct val="102000"/>
        </a:lnSpc>
        <a:spcBef>
          <a:spcPts val="500"/>
        </a:spcBef>
        <a:buClrTx/>
        <a:buSzPct val="100000"/>
        <a:buFontTx/>
        <a:buChar char="‒"/>
        <a:defRPr sz="1400" b="0" i="0" u="none" kern="1200">
          <a:solidFill>
            <a:schemeClr val="tx1"/>
          </a:solidFill>
          <a:latin typeface="Bosch Office Sans" panose="020B0604020202020204" pitchFamily="34" charset="0"/>
          <a:ea typeface="+mn-ea"/>
          <a:cs typeface="+mn-cs"/>
        </a:defRPr>
      </a:lvl3pPr>
      <a:lvl4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anose="020B0604020202020204" pitchFamily="34" charset="0"/>
          <a:ea typeface="+mn-ea"/>
          <a:cs typeface="+mn-cs"/>
        </a:defRPr>
      </a:lvl4pPr>
      <a:lvl5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anose="020B0604020202020204" pitchFamily="34" charset="0"/>
          <a:ea typeface="+mn-ea"/>
          <a:cs typeface="+mn-cs"/>
        </a:defRPr>
      </a:lvl5pPr>
      <a:lvl6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anose="020B0604020202020204" pitchFamily="34" charset="0"/>
          <a:ea typeface="+mn-ea"/>
          <a:cs typeface="+mn-cs"/>
        </a:defRPr>
      </a:lvl6pPr>
      <a:lvl7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anose="020B0604020202020204" pitchFamily="34" charset="0"/>
          <a:ea typeface="+mn-ea"/>
          <a:cs typeface="+mn-cs"/>
        </a:defRPr>
      </a:lvl7pPr>
      <a:lvl8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>
          <a:solidFill>
            <a:schemeClr val="tx1"/>
          </a:solidFill>
          <a:latin typeface="Bosch Office Sans" panose="020B0604020202020204" pitchFamily="34" charset="0"/>
          <a:ea typeface="+mn-ea"/>
          <a:cs typeface="+mn-cs"/>
        </a:defRPr>
      </a:lvl8pPr>
      <a:lvl9pPr marL="932180" indent="-184150" algn="l" defTabSz="822716" rtl="0" eaLnBrk="1" latinLnBrk="0" hangingPunct="1">
        <a:lnSpc>
          <a:spcPct val="103000"/>
        </a:lnSpc>
        <a:spcBef>
          <a:spcPts val="500"/>
        </a:spcBef>
        <a:buClrTx/>
        <a:buSzPct val="100000"/>
        <a:buFontTx/>
        <a:buChar char="‒"/>
        <a:defRPr sz="1300" b="0" i="0" u="none" kern="1200" baseline="0">
          <a:solidFill>
            <a:schemeClr val="tx1"/>
          </a:solidFill>
          <a:latin typeface="Bosch Office Sans" panose="020B0604020202020204" pitchFamily="34" charset="0"/>
          <a:ea typeface="+mn-ea"/>
          <a:cs typeface="+mn-cs"/>
        </a:defRPr>
      </a:lvl9pPr>
    </p:bodyStyle>
    <p:otherStyle>
      <a:defPPr>
        <a:defRPr lang="de-DE"/>
      </a:defPPr>
      <a:lvl1pPr marL="0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1pPr>
      <a:lvl2pPr marL="411358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2pPr>
      <a:lvl3pPr marL="822716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3pPr>
      <a:lvl4pPr marL="1234075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4pPr>
      <a:lvl5pPr marL="1645433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5pPr>
      <a:lvl6pPr marL="2056792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6pPr>
      <a:lvl7pPr marL="2468150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7pPr>
      <a:lvl8pPr marL="2879509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8pPr>
      <a:lvl9pPr marL="3290867" algn="l" defTabSz="822716" rtl="0" eaLnBrk="1" latinLnBrk="0" hangingPunct="1">
        <a:defRPr sz="161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68.xml"/><Relationship Id="rId7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69.xml"/><Relationship Id="rId9" Type="http://schemas.openxmlformats.org/officeDocument/2006/relationships/image" Target="../media/image13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52.xml"/><Relationship Id="rId7" Type="http://schemas.openxmlformats.org/officeDocument/2006/relationships/notesSlide" Target="../notesSlides/notesSlide7.xml"/><Relationship Id="rId12" Type="http://schemas.openxmlformats.org/officeDocument/2006/relationships/image" Target="../media/image17.png"/><Relationship Id="rId2" Type="http://schemas.openxmlformats.org/officeDocument/2006/relationships/vmlDrawing" Target="../drawings/vmlDrawing13.vml"/><Relationship Id="rId1" Type="http://schemas.openxmlformats.org/officeDocument/2006/relationships/themeOverride" Target="../theme/themeOverride5.xml"/><Relationship Id="rId6" Type="http://schemas.openxmlformats.org/officeDocument/2006/relationships/slideLayout" Target="../slideLayouts/slideLayout4.xml"/><Relationship Id="rId11" Type="http://schemas.openxmlformats.org/officeDocument/2006/relationships/image" Target="../media/image13.jpeg"/><Relationship Id="rId5" Type="http://schemas.openxmlformats.org/officeDocument/2006/relationships/tags" Target="../tags/tag154.xml"/><Relationship Id="rId10" Type="http://schemas.openxmlformats.org/officeDocument/2006/relationships/image" Target="../media/image16.jpeg"/><Relationship Id="rId4" Type="http://schemas.openxmlformats.org/officeDocument/2006/relationships/tags" Target="../tags/tag153.xml"/><Relationship Id="rId9" Type="http://schemas.openxmlformats.org/officeDocument/2006/relationships/image" Target="../media/image15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3.jpg"/><Relationship Id="rId2" Type="http://schemas.openxmlformats.org/officeDocument/2006/relationships/tags" Target="../tags/tag155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3.jpeg"/><Relationship Id="rId5" Type="http://schemas.openxmlformats.org/officeDocument/2006/relationships/image" Target="../media/image52.png"/><Relationship Id="rId4" Type="http://schemas.openxmlformats.org/officeDocument/2006/relationships/notesSlide" Target="../notesSlides/notesSlide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71.xml"/><Relationship Id="rId7" Type="http://schemas.openxmlformats.org/officeDocument/2006/relationships/image" Target="../media/image1.emf"/><Relationship Id="rId2" Type="http://schemas.openxmlformats.org/officeDocument/2006/relationships/tags" Target="../tags/tag7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72.xml"/><Relationship Id="rId9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slideLayout" Target="../slideLayouts/slideLayout4.xml"/><Relationship Id="rId18" Type="http://schemas.openxmlformats.org/officeDocument/2006/relationships/image" Target="../media/image13.jpeg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image" Target="../media/image14.png"/><Relationship Id="rId2" Type="http://schemas.openxmlformats.org/officeDocument/2006/relationships/tags" Target="../tags/tag73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6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image" Target="../media/image1.emf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18.png"/><Relationship Id="rId3" Type="http://schemas.openxmlformats.org/officeDocument/2006/relationships/tags" Target="../tags/tag84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17.png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4.xml"/><Relationship Id="rId11" Type="http://schemas.openxmlformats.org/officeDocument/2006/relationships/image" Target="../media/image13.jpeg"/><Relationship Id="rId5" Type="http://schemas.openxmlformats.org/officeDocument/2006/relationships/tags" Target="../tags/tag86.xml"/><Relationship Id="rId10" Type="http://schemas.openxmlformats.org/officeDocument/2006/relationships/image" Target="../media/image16.jpeg"/><Relationship Id="rId4" Type="http://schemas.openxmlformats.org/officeDocument/2006/relationships/tags" Target="../tags/tag85.xml"/><Relationship Id="rId9" Type="http://schemas.openxmlformats.org/officeDocument/2006/relationships/image" Target="../media/image15.emf"/><Relationship Id="rId1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87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20.png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2.xml"/><Relationship Id="rId6" Type="http://schemas.openxmlformats.org/officeDocument/2006/relationships/slideLayout" Target="../slideLayouts/slideLayout4.xml"/><Relationship Id="rId11" Type="http://schemas.openxmlformats.org/officeDocument/2006/relationships/image" Target="../media/image13.jpeg"/><Relationship Id="rId5" Type="http://schemas.openxmlformats.org/officeDocument/2006/relationships/tags" Target="../tags/tag89.xml"/><Relationship Id="rId10" Type="http://schemas.openxmlformats.org/officeDocument/2006/relationships/image" Target="../media/image16.jpeg"/><Relationship Id="rId4" Type="http://schemas.openxmlformats.org/officeDocument/2006/relationships/tags" Target="../tags/tag88.xml"/><Relationship Id="rId9" Type="http://schemas.openxmlformats.org/officeDocument/2006/relationships/image" Target="../media/image19.emf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tags" Target="../tags/tag114.xml"/><Relationship Id="rId39" Type="http://schemas.openxmlformats.org/officeDocument/2006/relationships/tags" Target="../tags/tag127.xml"/><Relationship Id="rId21" Type="http://schemas.openxmlformats.org/officeDocument/2006/relationships/tags" Target="../tags/tag109.xml"/><Relationship Id="rId34" Type="http://schemas.openxmlformats.org/officeDocument/2006/relationships/tags" Target="../tags/tag122.xml"/><Relationship Id="rId42" Type="http://schemas.openxmlformats.org/officeDocument/2006/relationships/notesSlide" Target="../notesSlides/notesSlide3.xml"/><Relationship Id="rId47" Type="http://schemas.openxmlformats.org/officeDocument/2006/relationships/image" Target="../media/image21.png"/><Relationship Id="rId50" Type="http://schemas.openxmlformats.org/officeDocument/2006/relationships/image" Target="../media/image23.png"/><Relationship Id="rId55" Type="http://schemas.openxmlformats.org/officeDocument/2006/relationships/image" Target="../media/image28.png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5" Type="http://schemas.openxmlformats.org/officeDocument/2006/relationships/tags" Target="../tags/tag113.xml"/><Relationship Id="rId33" Type="http://schemas.openxmlformats.org/officeDocument/2006/relationships/tags" Target="../tags/tag121.xml"/><Relationship Id="rId38" Type="http://schemas.openxmlformats.org/officeDocument/2006/relationships/tags" Target="../tags/tag126.xml"/><Relationship Id="rId46" Type="http://schemas.openxmlformats.org/officeDocument/2006/relationships/image" Target="../media/image13.jpeg"/><Relationship Id="rId59" Type="http://schemas.openxmlformats.org/officeDocument/2006/relationships/image" Target="../media/image32.png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20" Type="http://schemas.openxmlformats.org/officeDocument/2006/relationships/tags" Target="../tags/tag108.xml"/><Relationship Id="rId29" Type="http://schemas.openxmlformats.org/officeDocument/2006/relationships/tags" Target="../tags/tag117.xml"/><Relationship Id="rId41" Type="http://schemas.openxmlformats.org/officeDocument/2006/relationships/slideLayout" Target="../slideLayouts/slideLayout4.xml"/><Relationship Id="rId54" Type="http://schemas.openxmlformats.org/officeDocument/2006/relationships/image" Target="../media/image27.jpeg"/><Relationship Id="rId1" Type="http://schemas.openxmlformats.org/officeDocument/2006/relationships/vmlDrawing" Target="../drawings/vmlDrawing9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24" Type="http://schemas.openxmlformats.org/officeDocument/2006/relationships/tags" Target="../tags/tag112.xml"/><Relationship Id="rId32" Type="http://schemas.openxmlformats.org/officeDocument/2006/relationships/tags" Target="../tags/tag120.xml"/><Relationship Id="rId37" Type="http://schemas.openxmlformats.org/officeDocument/2006/relationships/tags" Target="../tags/tag125.xml"/><Relationship Id="rId40" Type="http://schemas.openxmlformats.org/officeDocument/2006/relationships/tags" Target="../tags/tag128.xml"/><Relationship Id="rId45" Type="http://schemas.openxmlformats.org/officeDocument/2006/relationships/image" Target="../media/image16.jpeg"/><Relationship Id="rId53" Type="http://schemas.openxmlformats.org/officeDocument/2006/relationships/image" Target="../media/image26.jpeg"/><Relationship Id="rId58" Type="http://schemas.openxmlformats.org/officeDocument/2006/relationships/image" Target="../media/image31.png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28" Type="http://schemas.openxmlformats.org/officeDocument/2006/relationships/tags" Target="../tags/tag116.xml"/><Relationship Id="rId36" Type="http://schemas.openxmlformats.org/officeDocument/2006/relationships/tags" Target="../tags/tag124.xml"/><Relationship Id="rId49" Type="http://schemas.openxmlformats.org/officeDocument/2006/relationships/image" Target="../media/image22.png"/><Relationship Id="rId57" Type="http://schemas.openxmlformats.org/officeDocument/2006/relationships/image" Target="../media/image30.png"/><Relationship Id="rId10" Type="http://schemas.openxmlformats.org/officeDocument/2006/relationships/tags" Target="../tags/tag98.xml"/><Relationship Id="rId19" Type="http://schemas.openxmlformats.org/officeDocument/2006/relationships/tags" Target="../tags/tag107.xml"/><Relationship Id="rId31" Type="http://schemas.openxmlformats.org/officeDocument/2006/relationships/tags" Target="../tags/tag119.xml"/><Relationship Id="rId44" Type="http://schemas.openxmlformats.org/officeDocument/2006/relationships/image" Target="../media/image19.emf"/><Relationship Id="rId52" Type="http://schemas.openxmlformats.org/officeDocument/2006/relationships/image" Target="../media/image25.png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Relationship Id="rId22" Type="http://schemas.openxmlformats.org/officeDocument/2006/relationships/tags" Target="../tags/tag110.xml"/><Relationship Id="rId27" Type="http://schemas.openxmlformats.org/officeDocument/2006/relationships/tags" Target="../tags/tag115.xml"/><Relationship Id="rId30" Type="http://schemas.openxmlformats.org/officeDocument/2006/relationships/tags" Target="../tags/tag118.xml"/><Relationship Id="rId35" Type="http://schemas.openxmlformats.org/officeDocument/2006/relationships/tags" Target="../tags/tag123.xml"/><Relationship Id="rId43" Type="http://schemas.openxmlformats.org/officeDocument/2006/relationships/oleObject" Target="../embeddings/oleObject9.bin"/><Relationship Id="rId48" Type="http://schemas.microsoft.com/office/2007/relationships/hdphoto" Target="../media/hdphoto2.wdp"/><Relationship Id="rId56" Type="http://schemas.openxmlformats.org/officeDocument/2006/relationships/image" Target="../media/image29.png"/><Relationship Id="rId8" Type="http://schemas.openxmlformats.org/officeDocument/2006/relationships/tags" Target="../tags/tag96.xml"/><Relationship Id="rId51" Type="http://schemas.openxmlformats.org/officeDocument/2006/relationships/image" Target="../media/image24.png"/><Relationship Id="rId3" Type="http://schemas.openxmlformats.org/officeDocument/2006/relationships/tags" Target="../tags/tag9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tags" Target="../tags/tag139.xml"/><Relationship Id="rId18" Type="http://schemas.openxmlformats.org/officeDocument/2006/relationships/slideLayout" Target="../slideLayouts/slideLayout4.xml"/><Relationship Id="rId26" Type="http://schemas.openxmlformats.org/officeDocument/2006/relationships/image" Target="../media/image34.png"/><Relationship Id="rId3" Type="http://schemas.openxmlformats.org/officeDocument/2006/relationships/tags" Target="../tags/tag129.xml"/><Relationship Id="rId21" Type="http://schemas.openxmlformats.org/officeDocument/2006/relationships/image" Target="../media/image19.emf"/><Relationship Id="rId7" Type="http://schemas.openxmlformats.org/officeDocument/2006/relationships/tags" Target="../tags/tag133.xml"/><Relationship Id="rId12" Type="http://schemas.openxmlformats.org/officeDocument/2006/relationships/tags" Target="../tags/tag138.xml"/><Relationship Id="rId17" Type="http://schemas.openxmlformats.org/officeDocument/2006/relationships/tags" Target="../tags/tag143.xml"/><Relationship Id="rId25" Type="http://schemas.microsoft.com/office/2007/relationships/hdphoto" Target="../media/hdphoto3.wdp"/><Relationship Id="rId2" Type="http://schemas.openxmlformats.org/officeDocument/2006/relationships/vmlDrawing" Target="../drawings/vmlDrawing10.vml"/><Relationship Id="rId16" Type="http://schemas.openxmlformats.org/officeDocument/2006/relationships/tags" Target="../tags/tag142.xml"/><Relationship Id="rId20" Type="http://schemas.openxmlformats.org/officeDocument/2006/relationships/oleObject" Target="../embeddings/oleObject10.bin"/><Relationship Id="rId29" Type="http://schemas.microsoft.com/office/2007/relationships/hdphoto" Target="../media/hdphoto4.wdp"/><Relationship Id="rId1" Type="http://schemas.openxmlformats.org/officeDocument/2006/relationships/themeOverride" Target="../theme/themeOverride3.xml"/><Relationship Id="rId6" Type="http://schemas.openxmlformats.org/officeDocument/2006/relationships/tags" Target="../tags/tag132.xml"/><Relationship Id="rId11" Type="http://schemas.openxmlformats.org/officeDocument/2006/relationships/tags" Target="../tags/tag137.xml"/><Relationship Id="rId24" Type="http://schemas.openxmlformats.org/officeDocument/2006/relationships/image" Target="../media/image33.png"/><Relationship Id="rId5" Type="http://schemas.openxmlformats.org/officeDocument/2006/relationships/tags" Target="../tags/tag131.xml"/><Relationship Id="rId15" Type="http://schemas.openxmlformats.org/officeDocument/2006/relationships/tags" Target="../tags/tag141.xml"/><Relationship Id="rId23" Type="http://schemas.openxmlformats.org/officeDocument/2006/relationships/image" Target="../media/image13.jpeg"/><Relationship Id="rId28" Type="http://schemas.openxmlformats.org/officeDocument/2006/relationships/image" Target="../media/image36.png"/><Relationship Id="rId10" Type="http://schemas.openxmlformats.org/officeDocument/2006/relationships/tags" Target="../tags/tag136.xml"/><Relationship Id="rId19" Type="http://schemas.openxmlformats.org/officeDocument/2006/relationships/notesSlide" Target="../notesSlides/notesSlide4.xml"/><Relationship Id="rId31" Type="http://schemas.openxmlformats.org/officeDocument/2006/relationships/image" Target="../media/image38.png"/><Relationship Id="rId4" Type="http://schemas.openxmlformats.org/officeDocument/2006/relationships/tags" Target="../tags/tag130.xml"/><Relationship Id="rId9" Type="http://schemas.openxmlformats.org/officeDocument/2006/relationships/tags" Target="../tags/tag135.xml"/><Relationship Id="rId14" Type="http://schemas.openxmlformats.org/officeDocument/2006/relationships/tags" Target="../tags/tag140.xml"/><Relationship Id="rId22" Type="http://schemas.openxmlformats.org/officeDocument/2006/relationships/image" Target="../media/image16.jpeg"/><Relationship Id="rId27" Type="http://schemas.openxmlformats.org/officeDocument/2006/relationships/image" Target="../media/image35.png"/><Relationship Id="rId30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.xml"/><Relationship Id="rId13" Type="http://schemas.openxmlformats.org/officeDocument/2006/relationships/image" Target="../media/image13.jpeg"/><Relationship Id="rId18" Type="http://schemas.openxmlformats.org/officeDocument/2006/relationships/image" Target="../media/image42.png"/><Relationship Id="rId26" Type="http://schemas.openxmlformats.org/officeDocument/2006/relationships/image" Target="../media/image47.png"/><Relationship Id="rId3" Type="http://schemas.openxmlformats.org/officeDocument/2006/relationships/tags" Target="../tags/tag144.xml"/><Relationship Id="rId21" Type="http://schemas.microsoft.com/office/2007/relationships/hdphoto" Target="../media/hdphoto6.wdp"/><Relationship Id="rId7" Type="http://schemas.openxmlformats.org/officeDocument/2006/relationships/tags" Target="../tags/tag148.xml"/><Relationship Id="rId12" Type="http://schemas.openxmlformats.org/officeDocument/2006/relationships/image" Target="../media/image16.jpeg"/><Relationship Id="rId17" Type="http://schemas.openxmlformats.org/officeDocument/2006/relationships/image" Target="../media/image41.png"/><Relationship Id="rId25" Type="http://schemas.microsoft.com/office/2007/relationships/hdphoto" Target="../media/hdphoto8.wdp"/><Relationship Id="rId2" Type="http://schemas.openxmlformats.org/officeDocument/2006/relationships/vmlDrawing" Target="../drawings/vmlDrawing11.vm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29" Type="http://schemas.openxmlformats.org/officeDocument/2006/relationships/image" Target="../media/image50.png"/><Relationship Id="rId1" Type="http://schemas.openxmlformats.org/officeDocument/2006/relationships/themeOverride" Target="../theme/themeOverride4.xml"/><Relationship Id="rId6" Type="http://schemas.openxmlformats.org/officeDocument/2006/relationships/tags" Target="../tags/tag147.xml"/><Relationship Id="rId11" Type="http://schemas.openxmlformats.org/officeDocument/2006/relationships/image" Target="../media/image19.emf"/><Relationship Id="rId24" Type="http://schemas.openxmlformats.org/officeDocument/2006/relationships/image" Target="../media/image46.png"/><Relationship Id="rId32" Type="http://schemas.microsoft.com/office/2007/relationships/hdphoto" Target="../media/hdphoto2.wdp"/><Relationship Id="rId5" Type="http://schemas.openxmlformats.org/officeDocument/2006/relationships/tags" Target="../tags/tag146.xml"/><Relationship Id="rId15" Type="http://schemas.microsoft.com/office/2007/relationships/hdphoto" Target="../media/hdphoto5.wdp"/><Relationship Id="rId23" Type="http://schemas.microsoft.com/office/2007/relationships/hdphoto" Target="../media/hdphoto7.wdp"/><Relationship Id="rId28" Type="http://schemas.openxmlformats.org/officeDocument/2006/relationships/image" Target="../media/image49.png"/><Relationship Id="rId10" Type="http://schemas.openxmlformats.org/officeDocument/2006/relationships/oleObject" Target="../embeddings/oleObject11.bin"/><Relationship Id="rId19" Type="http://schemas.openxmlformats.org/officeDocument/2006/relationships/image" Target="../media/image43.png"/><Relationship Id="rId31" Type="http://schemas.openxmlformats.org/officeDocument/2006/relationships/image" Target="../media/image21.png"/><Relationship Id="rId4" Type="http://schemas.openxmlformats.org/officeDocument/2006/relationships/tags" Target="../tags/tag145.xml"/><Relationship Id="rId9" Type="http://schemas.openxmlformats.org/officeDocument/2006/relationships/notesSlide" Target="../notesSlides/notesSlide5.xml"/><Relationship Id="rId14" Type="http://schemas.openxmlformats.org/officeDocument/2006/relationships/image" Target="../media/image39.png"/><Relationship Id="rId22" Type="http://schemas.openxmlformats.org/officeDocument/2006/relationships/image" Target="../media/image45.png"/><Relationship Id="rId27" Type="http://schemas.openxmlformats.org/officeDocument/2006/relationships/image" Target="../media/image48.png"/><Relationship Id="rId30" Type="http://schemas.openxmlformats.org/officeDocument/2006/relationships/image" Target="../media/image5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tags" Target="../tags/tag150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49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6.xml"/><Relationship Id="rId11" Type="http://schemas.openxmlformats.org/officeDocument/2006/relationships/hyperlink" Target="http://www.nevonex.com/" TargetMode="External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13.jpeg"/><Relationship Id="rId4" Type="http://schemas.openxmlformats.org/officeDocument/2006/relationships/tags" Target="../tags/tag151.xml"/><Relationship Id="rId9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915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4" name="Slide do think-cell" r:id="rId6" imgW="421" imgH="420" progId="TCLayout.ActiveDocument.1">
                  <p:embed/>
                </p:oleObj>
              </mc:Choice>
              <mc:Fallback>
                <p:oleObj name="Slide do think-cell" r:id="rId6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tângulo 2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en-US" sz="480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1" y="0"/>
            <a:ext cx="10840721" cy="6206264"/>
          </a:xfrm>
          <a:prstGeom prst="rect">
            <a:avLst/>
          </a:prstGeom>
        </p:spPr>
      </p:pic>
      <p:sp>
        <p:nvSpPr>
          <p:cNvPr id="20" name="Título 1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osch Agro 4.0</a:t>
            </a:r>
            <a:br>
              <a:rPr lang="en-US" sz="6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6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6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6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vonex</a:t>
            </a:r>
            <a:br>
              <a:rPr lang="en-US" sz="6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6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6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6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6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2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4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4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en-US" sz="6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6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4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8.09.2020</a:t>
            </a:r>
            <a:endParaRPr lang="en-US" sz="4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5" name="Grafik 4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9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32189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65421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1" name="Slide do think-cell" r:id="rId8" imgW="396" imgH="396" progId="TCLayout.ActiveDocument.1">
                  <p:embed/>
                </p:oleObj>
              </mc:Choice>
              <mc:Fallback>
                <p:oleObj name="Slide do think-cell" r:id="rId8" imgW="396" imgH="396" progId="TCLayout.ActiveDocument.1">
                  <p:embed/>
                  <p:pic>
                    <p:nvPicPr>
                      <p:cNvPr id="7" name="Objeto 6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en-GB" sz="440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03"/>
          <a:stretch/>
        </p:blipFill>
        <p:spPr>
          <a:xfrm>
            <a:off x="7621" y="99"/>
            <a:ext cx="10837628" cy="6170414"/>
          </a:xfrm>
          <a:prstGeom prst="rect">
            <a:avLst/>
          </a:prstGeom>
          <a:solidFill>
            <a:srgbClr val="0070C0">
              <a:alpha val="65000"/>
            </a:srgbClr>
          </a:solidFill>
          <a:ln w="9525" cap="flat" cmpd="sng" algn="ctr">
            <a:noFill/>
            <a:prstDash val="solid"/>
          </a:ln>
          <a:effectLst/>
        </p:spPr>
      </p:pic>
      <p:pic>
        <p:nvPicPr>
          <p:cNvPr id="5" name="Grafik 4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9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" name="Grafik 7"/>
          <p:cNvPicPr>
            <a:picLocks noChangeAspect="1"/>
          </p:cNvPicPr>
          <p:nvPr/>
        </p:nvPicPr>
        <p:blipFill rotWithShape="1">
          <a:blip r:embed="rId12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0659"/>
          <a:stretch/>
        </p:blipFill>
        <p:spPr>
          <a:xfrm>
            <a:off x="3053180" y="-211"/>
            <a:ext cx="4874217" cy="1018082"/>
          </a:xfrm>
          <a:prstGeom prst="rect">
            <a:avLst/>
          </a:prstGeom>
        </p:spPr>
      </p:pic>
      <p:grpSp>
        <p:nvGrpSpPr>
          <p:cNvPr id="2" name="Agrupar 1"/>
          <p:cNvGrpSpPr/>
          <p:nvPr/>
        </p:nvGrpSpPr>
        <p:grpSpPr>
          <a:xfrm>
            <a:off x="1835161" y="4018013"/>
            <a:ext cx="7306811" cy="936214"/>
            <a:chOff x="1835161" y="4018013"/>
            <a:chExt cx="7306811" cy="936214"/>
          </a:xfrm>
        </p:grpSpPr>
        <p:sp>
          <p:nvSpPr>
            <p:cNvPr id="10" name="Rechteck 1"/>
            <p:cNvSpPr/>
            <p:nvPr/>
          </p:nvSpPr>
          <p:spPr>
            <a:xfrm>
              <a:off x="1835161" y="4018013"/>
              <a:ext cx="7306811" cy="936214"/>
            </a:xfrm>
            <a:prstGeom prst="rect">
              <a:avLst/>
            </a:prstGeom>
            <a:solidFill>
              <a:srgbClr val="0070C0">
                <a:alpha val="6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sp>
          <p:nvSpPr>
            <p:cNvPr id="12" name="Textfeld 4"/>
            <p:cNvSpPr txBox="1"/>
            <p:nvPr/>
          </p:nvSpPr>
          <p:spPr>
            <a:xfrm>
              <a:off x="2133171" y="4147826"/>
              <a:ext cx="6711679" cy="8064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R="0" algn="ctr" defTabSz="914400" eaLnBrk="1" fontAlgn="auto" latinLnBrk="0" hangingPunct="1">
                <a:lnSpc>
                  <a:spcPts val="23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2800" b="1" kern="0" dirty="0" smtClean="0">
                  <a:solidFill>
                    <a:schemeClr val="bg1"/>
                  </a:solidFill>
                  <a:latin typeface="Ink Free" panose="03080402000500000000" pitchFamily="66" charset="0"/>
                </a:rPr>
                <a:t>Aberto e Neutro</a:t>
              </a:r>
            </a:p>
            <a:p>
              <a:pPr marR="0" algn="ctr" defTabSz="914400" eaLnBrk="1" fontAlgn="auto" latinLnBrk="0" hangingPunct="1">
                <a:lnSpc>
                  <a:spcPts val="23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2000" kern="0" dirty="0" smtClean="0">
                  <a:solidFill>
                    <a:schemeClr val="bg1"/>
                  </a:solidFill>
                  <a:latin typeface="Ink Free" panose="03080402000500000000" pitchFamily="66" charset="0"/>
                </a:rPr>
                <a:t>Juntos para a sua Agricultura </a:t>
              </a:r>
              <a:r>
                <a:rPr lang="pt-BR" sz="2000" kern="0" dirty="0">
                  <a:solidFill>
                    <a:schemeClr val="bg1"/>
                  </a:solidFill>
                  <a:latin typeface="Ink Free" panose="03080402000500000000" pitchFamily="66" charset="0"/>
                </a:rPr>
                <a:t>D</a:t>
              </a:r>
              <a:r>
                <a:rPr lang="pt-BR" sz="2000" kern="0" dirty="0" smtClean="0">
                  <a:solidFill>
                    <a:schemeClr val="bg1"/>
                  </a:solidFill>
                  <a:latin typeface="Ink Free" panose="03080402000500000000" pitchFamily="66" charset="0"/>
                </a:rPr>
                <a:t>igital</a:t>
              </a:r>
            </a:p>
            <a:p>
              <a:pPr marR="0" algn="ctr" defTabSz="914400" eaLnBrk="1" fontAlgn="auto" latinLnBrk="0" hangingPunct="1">
                <a:lnSpc>
                  <a:spcPts val="23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pt-BR" sz="2400" kern="0" dirty="0">
                <a:solidFill>
                  <a:schemeClr val="bg1"/>
                </a:solidFill>
                <a:latin typeface="Ink Free" panose="03080402000500000000" pitchFamily="66" charset="0"/>
              </a:endParaRPr>
            </a:p>
          </p:txBody>
        </p:sp>
      </p:grpSp>
      <p:sp>
        <p:nvSpPr>
          <p:cNvPr id="4" name="Retângulo 3"/>
          <p:cNvSpPr/>
          <p:nvPr/>
        </p:nvSpPr>
        <p:spPr>
          <a:xfrm>
            <a:off x="4058202" y="5268685"/>
            <a:ext cx="2891245" cy="348343"/>
          </a:xfrm>
          <a:prstGeom prst="rect">
            <a:avLst/>
          </a:prstGeom>
          <a:solidFill>
            <a:srgbClr val="0070C0">
              <a:alpha val="6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kern="0" dirty="0">
                <a:solidFill>
                  <a:schemeClr val="bg1"/>
                </a:solidFill>
                <a:latin typeface="Bosch Office Sans"/>
              </a:rPr>
              <a:t>www.nevonex.com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10038489" y="5410061"/>
            <a:ext cx="770005" cy="2778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ct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wered</a:t>
            </a:r>
            <a:r>
              <a:rPr kumimoji="0" lang="en-US" sz="9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by</a:t>
            </a:r>
            <a:endParaRPr kumimoji="0" 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9096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0" y="0"/>
            <a:ext cx="10840719" cy="6170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221553" y="2108508"/>
            <a:ext cx="4365704" cy="1066492"/>
          </a:xfrm>
        </p:spPr>
        <p:txBody>
          <a:bodyPr>
            <a:noAutofit/>
          </a:bodyPr>
          <a:lstStyle/>
          <a:p>
            <a:r>
              <a:rPr lang="en-GB" sz="6000" cap="small" dirty="0" smtClean="0"/>
              <a:t>Thank You!</a:t>
            </a:r>
            <a:endParaRPr lang="en-GB" sz="6000" cap="small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25"/>
          <a:stretch/>
        </p:blipFill>
        <p:spPr>
          <a:xfrm>
            <a:off x="7954615" y="0"/>
            <a:ext cx="2886103" cy="6170613"/>
          </a:xfrm>
          <a:prstGeom prst="rect">
            <a:avLst/>
          </a:prstGeom>
        </p:spPr>
      </p:pic>
      <p:pic>
        <p:nvPicPr>
          <p:cNvPr id="5" name="Grafik 4"/>
          <p:cNvPicPr>
            <a:picLocks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9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99"/>
            <a:ext cx="10969805" cy="6170514"/>
          </a:xfrm>
          <a:prstGeom prst="rect">
            <a:avLst/>
          </a:prstGeom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1406059" y="1308408"/>
            <a:ext cx="4365704" cy="106649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GB" sz="6000" b="1" cap="small" dirty="0" smtClean="0"/>
              <a:t>Thank</a:t>
            </a:r>
            <a:r>
              <a:rPr lang="en-GB" sz="6000" cap="small" dirty="0" smtClean="0"/>
              <a:t> </a:t>
            </a:r>
            <a:r>
              <a:rPr lang="en-GB" sz="6000" b="1" cap="small" dirty="0" smtClean="0"/>
              <a:t>You</a:t>
            </a:r>
            <a:r>
              <a:rPr lang="en-GB" sz="6000" cap="small" dirty="0" smtClean="0"/>
              <a:t>!</a:t>
            </a:r>
            <a:endParaRPr lang="en-GB" sz="6000" cap="small" dirty="0"/>
          </a:p>
        </p:txBody>
      </p:sp>
      <p:sp>
        <p:nvSpPr>
          <p:cNvPr id="9" name="Título 1"/>
          <p:cNvSpPr txBox="1">
            <a:spLocks/>
          </p:cNvSpPr>
          <p:nvPr/>
        </p:nvSpPr>
        <p:spPr>
          <a:xfrm>
            <a:off x="1070329" y="3891516"/>
            <a:ext cx="4302447" cy="1638282"/>
          </a:xfrm>
          <a:prstGeom prst="rect">
            <a:avLst/>
          </a:prstGeom>
          <a:solidFill>
            <a:schemeClr val="bg1">
              <a:alpha val="20000"/>
            </a:schemeClr>
          </a:solidFill>
          <a:ln w="0">
            <a:noFill/>
          </a:ln>
          <a:effectLst/>
        </p:spPr>
        <p:txBody>
          <a:bodyPr vert="horz" lIns="144000" tIns="72000" rIns="0" bIns="0" rtlCol="0" anchor="t" anchorCtr="0">
            <a:no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2800" cap="none" dirty="0" smtClean="0"/>
              <a:t>Eduardo Martins</a:t>
            </a:r>
          </a:p>
          <a:p>
            <a:pPr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1800" b="1" cap="none" dirty="0" err="1" smtClean="0"/>
              <a:t>Engenheiro</a:t>
            </a:r>
            <a:r>
              <a:rPr lang="en-GB" sz="1800" b="1" cap="none" dirty="0" smtClean="0"/>
              <a:t> de </a:t>
            </a:r>
            <a:r>
              <a:rPr lang="en-GB" sz="1800" b="1" cap="none" dirty="0" err="1" smtClean="0"/>
              <a:t>Vendas</a:t>
            </a:r>
            <a:r>
              <a:rPr lang="en-GB" sz="1800" b="1" cap="none" dirty="0" smtClean="0"/>
              <a:t> </a:t>
            </a:r>
          </a:p>
          <a:p>
            <a:pPr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1800" cap="none" dirty="0" smtClean="0"/>
              <a:t>Eduardo.Martins@br.bosch.com</a:t>
            </a:r>
          </a:p>
          <a:p>
            <a:pPr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en-GB" sz="1800" cap="small" dirty="0"/>
              <a:t>+55 41 </a:t>
            </a:r>
            <a:r>
              <a:rPr lang="en-GB" sz="1800" cap="small" dirty="0" smtClean="0"/>
              <a:t>3341-2804 | +55 41 99853-7676</a:t>
            </a:r>
            <a:endParaRPr lang="en-GB" sz="1800" cap="small" dirty="0"/>
          </a:p>
        </p:txBody>
      </p:sp>
    </p:spTree>
    <p:extLst>
      <p:ext uri="{BB962C8B-B14F-4D97-AF65-F5344CB8AC3E}">
        <p14:creationId xmlns:p14="http://schemas.microsoft.com/office/powerpoint/2010/main" val="299719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569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Slide do think-cell" r:id="rId6" imgW="421" imgH="420" progId="TCLayout.ActiveDocument.1">
                  <p:embed/>
                </p:oleObj>
              </mc:Choice>
              <mc:Fallback>
                <p:oleObj name="Slide do think-cell" r:id="rId6" imgW="421" imgH="42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tângulo 2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pt-BR" sz="360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grpSp>
        <p:nvGrpSpPr>
          <p:cNvPr id="25" name="Agrupar 24"/>
          <p:cNvGrpSpPr/>
          <p:nvPr/>
        </p:nvGrpSpPr>
        <p:grpSpPr>
          <a:xfrm>
            <a:off x="-1" y="0"/>
            <a:ext cx="10840721" cy="6206264"/>
            <a:chOff x="-1" y="0"/>
            <a:chExt cx="10840721" cy="6206264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-1" y="0"/>
              <a:ext cx="10840721" cy="6206264"/>
            </a:xfrm>
            <a:prstGeom prst="rect">
              <a:avLst/>
            </a:prstGeom>
          </p:spPr>
        </p:pic>
        <p:sp>
          <p:nvSpPr>
            <p:cNvPr id="13" name="Retângulo 12"/>
            <p:cNvSpPr/>
            <p:nvPr/>
          </p:nvSpPr>
          <p:spPr>
            <a:xfrm>
              <a:off x="0" y="0"/>
              <a:ext cx="10840720" cy="6206264"/>
            </a:xfrm>
            <a:prstGeom prst="rect">
              <a:avLst/>
            </a:prstGeom>
            <a:solidFill>
              <a:schemeClr val="bg1">
                <a:alpha val="8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sp>
        <p:nvSpPr>
          <p:cNvPr id="282" name="Rectangle 51"/>
          <p:cNvSpPr/>
          <p:nvPr/>
        </p:nvSpPr>
        <p:spPr>
          <a:xfrm>
            <a:off x="8622073" y="1294363"/>
            <a:ext cx="2088063" cy="1564212"/>
          </a:xfrm>
          <a:prstGeom prst="rect">
            <a:avLst/>
          </a:prstGeom>
          <a:solidFill>
            <a:schemeClr val="bg1">
              <a:alpha val="66000"/>
            </a:schemeClr>
          </a:solidFill>
          <a:ln w="3175" cap="flat" cmpd="sng" algn="ctr">
            <a:solidFill>
              <a:srgbClr val="D7D7DA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indent="0" defTabSz="91440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9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sch Office Sans"/>
            </a:endParaRPr>
          </a:p>
        </p:txBody>
      </p:sp>
      <p:pic>
        <p:nvPicPr>
          <p:cNvPr id="15" name="Grafik 4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9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4" name="Rectangle 51"/>
          <p:cNvSpPr/>
          <p:nvPr/>
        </p:nvSpPr>
        <p:spPr>
          <a:xfrm>
            <a:off x="6310683" y="3006021"/>
            <a:ext cx="4398264" cy="1403213"/>
          </a:xfrm>
          <a:prstGeom prst="rect">
            <a:avLst/>
          </a:prstGeom>
          <a:solidFill>
            <a:schemeClr val="bg1">
              <a:alpha val="66000"/>
            </a:schemeClr>
          </a:solidFill>
          <a:ln w="3175" cap="flat" cmpd="sng" algn="ctr">
            <a:solidFill>
              <a:srgbClr val="D7D7DA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indent="0" defTabSz="91440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9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sch Office Sans"/>
            </a:endParaRPr>
          </a:p>
        </p:txBody>
      </p:sp>
      <p:sp>
        <p:nvSpPr>
          <p:cNvPr id="17" name="Rectangle 37"/>
          <p:cNvSpPr/>
          <p:nvPr/>
        </p:nvSpPr>
        <p:spPr>
          <a:xfrm>
            <a:off x="6329042" y="1294362"/>
            <a:ext cx="2148560" cy="1583987"/>
          </a:xfrm>
          <a:prstGeom prst="rect">
            <a:avLst/>
          </a:prstGeom>
          <a:solidFill>
            <a:srgbClr val="0E78C5"/>
          </a:solidFill>
          <a:ln w="9525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indent="0" algn="ctr" defTabSz="91440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9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sch Office Sans"/>
            </a:endParaRPr>
          </a:p>
        </p:txBody>
      </p:sp>
      <p:grpSp>
        <p:nvGrpSpPr>
          <p:cNvPr id="27" name="Group 69"/>
          <p:cNvGrpSpPr/>
          <p:nvPr/>
        </p:nvGrpSpPr>
        <p:grpSpPr>
          <a:xfrm>
            <a:off x="6430004" y="1630733"/>
            <a:ext cx="442174" cy="266245"/>
            <a:chOff x="6158601" y="1660856"/>
            <a:chExt cx="451062" cy="271596"/>
          </a:xfrm>
        </p:grpSpPr>
        <p:sp>
          <p:nvSpPr>
            <p:cNvPr id="28" name="Freeform 5"/>
            <p:cNvSpPr>
              <a:spLocks/>
            </p:cNvSpPr>
            <p:nvPr/>
          </p:nvSpPr>
          <p:spPr bwMode="auto">
            <a:xfrm>
              <a:off x="6305765" y="1660856"/>
              <a:ext cx="163914" cy="163915"/>
            </a:xfrm>
            <a:custGeom>
              <a:avLst/>
              <a:gdLst>
                <a:gd name="T0" fmla="*/ 0 w 253"/>
                <a:gd name="T1" fmla="*/ 126 h 253"/>
                <a:gd name="T2" fmla="*/ 126 w 253"/>
                <a:gd name="T3" fmla="*/ 0 h 253"/>
                <a:gd name="T4" fmla="*/ 126 w 253"/>
                <a:gd name="T5" fmla="*/ 0 h 253"/>
                <a:gd name="T6" fmla="*/ 126 w 253"/>
                <a:gd name="T7" fmla="*/ 17 h 253"/>
                <a:gd name="T8" fmla="*/ 126 w 253"/>
                <a:gd name="T9" fmla="*/ 34 h 253"/>
                <a:gd name="T10" fmla="*/ 34 w 253"/>
                <a:gd name="T11" fmla="*/ 126 h 253"/>
                <a:gd name="T12" fmla="*/ 34 w 253"/>
                <a:gd name="T13" fmla="*/ 126 h 253"/>
                <a:gd name="T14" fmla="*/ 126 w 253"/>
                <a:gd name="T15" fmla="*/ 218 h 253"/>
                <a:gd name="T16" fmla="*/ 126 w 253"/>
                <a:gd name="T17" fmla="*/ 218 h 253"/>
                <a:gd name="T18" fmla="*/ 218 w 253"/>
                <a:gd name="T19" fmla="*/ 126 h 253"/>
                <a:gd name="T20" fmla="*/ 218 w 253"/>
                <a:gd name="T21" fmla="*/ 126 h 253"/>
                <a:gd name="T22" fmla="*/ 126 w 253"/>
                <a:gd name="T23" fmla="*/ 34 h 253"/>
                <a:gd name="T24" fmla="*/ 126 w 253"/>
                <a:gd name="T25" fmla="*/ 34 h 253"/>
                <a:gd name="T26" fmla="*/ 126 w 253"/>
                <a:gd name="T27" fmla="*/ 17 h 253"/>
                <a:gd name="T28" fmla="*/ 126 w 253"/>
                <a:gd name="T29" fmla="*/ 0 h 253"/>
                <a:gd name="T30" fmla="*/ 253 w 253"/>
                <a:gd name="T31" fmla="*/ 126 h 253"/>
                <a:gd name="T32" fmla="*/ 253 w 253"/>
                <a:gd name="T33" fmla="*/ 126 h 253"/>
                <a:gd name="T34" fmla="*/ 126 w 253"/>
                <a:gd name="T35" fmla="*/ 253 h 253"/>
                <a:gd name="T36" fmla="*/ 126 w 253"/>
                <a:gd name="T37" fmla="*/ 253 h 253"/>
                <a:gd name="T38" fmla="*/ 0 w 253"/>
                <a:gd name="T39" fmla="*/ 126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53" h="253">
                  <a:moveTo>
                    <a:pt x="0" y="126"/>
                  </a:moveTo>
                  <a:cubicBezTo>
                    <a:pt x="0" y="56"/>
                    <a:pt x="56" y="0"/>
                    <a:pt x="12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17"/>
                    <a:pt x="126" y="17"/>
                    <a:pt x="126" y="17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75" y="34"/>
                    <a:pt x="34" y="75"/>
                    <a:pt x="34" y="126"/>
                  </a:cubicBezTo>
                  <a:cubicBezTo>
                    <a:pt x="34" y="126"/>
                    <a:pt x="34" y="126"/>
                    <a:pt x="34" y="126"/>
                  </a:cubicBezTo>
                  <a:cubicBezTo>
                    <a:pt x="34" y="177"/>
                    <a:pt x="75" y="218"/>
                    <a:pt x="126" y="218"/>
                  </a:cubicBezTo>
                  <a:cubicBezTo>
                    <a:pt x="126" y="218"/>
                    <a:pt x="126" y="218"/>
                    <a:pt x="126" y="218"/>
                  </a:cubicBezTo>
                  <a:cubicBezTo>
                    <a:pt x="177" y="218"/>
                    <a:pt x="218" y="177"/>
                    <a:pt x="218" y="126"/>
                  </a:cubicBezTo>
                  <a:cubicBezTo>
                    <a:pt x="218" y="126"/>
                    <a:pt x="218" y="126"/>
                    <a:pt x="218" y="126"/>
                  </a:cubicBezTo>
                  <a:cubicBezTo>
                    <a:pt x="218" y="75"/>
                    <a:pt x="177" y="34"/>
                    <a:pt x="126" y="34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17"/>
                    <a:pt x="126" y="17"/>
                    <a:pt x="126" y="17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96" y="0"/>
                    <a:pt x="253" y="56"/>
                    <a:pt x="253" y="126"/>
                  </a:cubicBezTo>
                  <a:cubicBezTo>
                    <a:pt x="253" y="126"/>
                    <a:pt x="253" y="126"/>
                    <a:pt x="253" y="126"/>
                  </a:cubicBezTo>
                  <a:cubicBezTo>
                    <a:pt x="253" y="196"/>
                    <a:pt x="196" y="253"/>
                    <a:pt x="126" y="253"/>
                  </a:cubicBezTo>
                  <a:cubicBezTo>
                    <a:pt x="126" y="253"/>
                    <a:pt x="126" y="253"/>
                    <a:pt x="126" y="253"/>
                  </a:cubicBezTo>
                  <a:cubicBezTo>
                    <a:pt x="56" y="253"/>
                    <a:pt x="0" y="196"/>
                    <a:pt x="0" y="126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9" name="Freeform 6"/>
            <p:cNvSpPr>
              <a:spLocks/>
            </p:cNvSpPr>
            <p:nvPr/>
          </p:nvSpPr>
          <p:spPr bwMode="auto">
            <a:xfrm>
              <a:off x="6263889" y="1809217"/>
              <a:ext cx="246469" cy="123235"/>
            </a:xfrm>
            <a:custGeom>
              <a:avLst/>
              <a:gdLst>
                <a:gd name="T0" fmla="*/ 344 w 378"/>
                <a:gd name="T1" fmla="*/ 189 h 189"/>
                <a:gd name="T2" fmla="*/ 189 w 378"/>
                <a:gd name="T3" fmla="*/ 34 h 189"/>
                <a:gd name="T4" fmla="*/ 189 w 378"/>
                <a:gd name="T5" fmla="*/ 34 h 189"/>
                <a:gd name="T6" fmla="*/ 35 w 378"/>
                <a:gd name="T7" fmla="*/ 189 h 189"/>
                <a:gd name="T8" fmla="*/ 35 w 378"/>
                <a:gd name="T9" fmla="*/ 189 h 189"/>
                <a:gd name="T10" fmla="*/ 0 w 378"/>
                <a:gd name="T11" fmla="*/ 189 h 189"/>
                <a:gd name="T12" fmla="*/ 56 w 378"/>
                <a:gd name="T13" fmla="*/ 49 h 189"/>
                <a:gd name="T14" fmla="*/ 56 w 378"/>
                <a:gd name="T15" fmla="*/ 49 h 189"/>
                <a:gd name="T16" fmla="*/ 189 w 378"/>
                <a:gd name="T17" fmla="*/ 0 h 189"/>
                <a:gd name="T18" fmla="*/ 189 w 378"/>
                <a:gd name="T19" fmla="*/ 0 h 189"/>
                <a:gd name="T20" fmla="*/ 323 w 378"/>
                <a:gd name="T21" fmla="*/ 49 h 189"/>
                <a:gd name="T22" fmla="*/ 323 w 378"/>
                <a:gd name="T23" fmla="*/ 49 h 189"/>
                <a:gd name="T24" fmla="*/ 378 w 378"/>
                <a:gd name="T25" fmla="*/ 189 h 189"/>
                <a:gd name="T26" fmla="*/ 378 w 378"/>
                <a:gd name="T27" fmla="*/ 189 h 189"/>
                <a:gd name="T28" fmla="*/ 344 w 378"/>
                <a:gd name="T29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78" h="189">
                  <a:moveTo>
                    <a:pt x="344" y="189"/>
                  </a:moveTo>
                  <a:cubicBezTo>
                    <a:pt x="343" y="88"/>
                    <a:pt x="277" y="35"/>
                    <a:pt x="189" y="34"/>
                  </a:cubicBezTo>
                  <a:cubicBezTo>
                    <a:pt x="189" y="34"/>
                    <a:pt x="189" y="34"/>
                    <a:pt x="189" y="34"/>
                  </a:cubicBezTo>
                  <a:cubicBezTo>
                    <a:pt x="101" y="35"/>
                    <a:pt x="36" y="88"/>
                    <a:pt x="35" y="189"/>
                  </a:cubicBezTo>
                  <a:cubicBezTo>
                    <a:pt x="35" y="189"/>
                    <a:pt x="35" y="189"/>
                    <a:pt x="35" y="189"/>
                  </a:cubicBezTo>
                  <a:cubicBezTo>
                    <a:pt x="0" y="189"/>
                    <a:pt x="0" y="189"/>
                    <a:pt x="0" y="189"/>
                  </a:cubicBezTo>
                  <a:cubicBezTo>
                    <a:pt x="0" y="130"/>
                    <a:pt x="21" y="82"/>
                    <a:pt x="56" y="49"/>
                  </a:cubicBezTo>
                  <a:cubicBezTo>
                    <a:pt x="56" y="49"/>
                    <a:pt x="56" y="49"/>
                    <a:pt x="56" y="49"/>
                  </a:cubicBezTo>
                  <a:cubicBezTo>
                    <a:pt x="90" y="17"/>
                    <a:pt x="138" y="0"/>
                    <a:pt x="189" y="0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241" y="0"/>
                    <a:pt x="288" y="17"/>
                    <a:pt x="323" y="49"/>
                  </a:cubicBezTo>
                  <a:cubicBezTo>
                    <a:pt x="323" y="49"/>
                    <a:pt x="323" y="49"/>
                    <a:pt x="323" y="49"/>
                  </a:cubicBezTo>
                  <a:cubicBezTo>
                    <a:pt x="357" y="82"/>
                    <a:pt x="378" y="130"/>
                    <a:pt x="378" y="189"/>
                  </a:cubicBezTo>
                  <a:cubicBezTo>
                    <a:pt x="378" y="189"/>
                    <a:pt x="378" y="189"/>
                    <a:pt x="378" y="189"/>
                  </a:cubicBezTo>
                  <a:cubicBezTo>
                    <a:pt x="344" y="189"/>
                    <a:pt x="344" y="189"/>
                    <a:pt x="344" y="18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0" name="Freeform 7"/>
            <p:cNvSpPr>
              <a:spLocks/>
            </p:cNvSpPr>
            <p:nvPr/>
          </p:nvSpPr>
          <p:spPr bwMode="auto">
            <a:xfrm>
              <a:off x="6491214" y="1683588"/>
              <a:ext cx="96913" cy="96913"/>
            </a:xfrm>
            <a:custGeom>
              <a:avLst/>
              <a:gdLst>
                <a:gd name="T0" fmla="*/ 0 w 149"/>
                <a:gd name="T1" fmla="*/ 75 h 149"/>
                <a:gd name="T2" fmla="*/ 74 w 149"/>
                <a:gd name="T3" fmla="*/ 0 h 149"/>
                <a:gd name="T4" fmla="*/ 74 w 149"/>
                <a:gd name="T5" fmla="*/ 0 h 149"/>
                <a:gd name="T6" fmla="*/ 74 w 149"/>
                <a:gd name="T7" fmla="*/ 18 h 149"/>
                <a:gd name="T8" fmla="*/ 74 w 149"/>
                <a:gd name="T9" fmla="*/ 35 h 149"/>
                <a:gd name="T10" fmla="*/ 35 w 149"/>
                <a:gd name="T11" fmla="*/ 75 h 149"/>
                <a:gd name="T12" fmla="*/ 35 w 149"/>
                <a:gd name="T13" fmla="*/ 75 h 149"/>
                <a:gd name="T14" fmla="*/ 74 w 149"/>
                <a:gd name="T15" fmla="*/ 114 h 149"/>
                <a:gd name="T16" fmla="*/ 74 w 149"/>
                <a:gd name="T17" fmla="*/ 114 h 149"/>
                <a:gd name="T18" fmla="*/ 114 w 149"/>
                <a:gd name="T19" fmla="*/ 75 h 149"/>
                <a:gd name="T20" fmla="*/ 114 w 149"/>
                <a:gd name="T21" fmla="*/ 75 h 149"/>
                <a:gd name="T22" fmla="*/ 74 w 149"/>
                <a:gd name="T23" fmla="*/ 35 h 149"/>
                <a:gd name="T24" fmla="*/ 74 w 149"/>
                <a:gd name="T25" fmla="*/ 35 h 149"/>
                <a:gd name="T26" fmla="*/ 74 w 149"/>
                <a:gd name="T27" fmla="*/ 18 h 149"/>
                <a:gd name="T28" fmla="*/ 74 w 149"/>
                <a:gd name="T29" fmla="*/ 0 h 149"/>
                <a:gd name="T30" fmla="*/ 149 w 149"/>
                <a:gd name="T31" fmla="*/ 75 h 149"/>
                <a:gd name="T32" fmla="*/ 149 w 149"/>
                <a:gd name="T33" fmla="*/ 75 h 149"/>
                <a:gd name="T34" fmla="*/ 74 w 149"/>
                <a:gd name="T35" fmla="*/ 149 h 149"/>
                <a:gd name="T36" fmla="*/ 74 w 149"/>
                <a:gd name="T37" fmla="*/ 149 h 149"/>
                <a:gd name="T38" fmla="*/ 0 w 149"/>
                <a:gd name="T39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9" h="149">
                  <a:moveTo>
                    <a:pt x="0" y="75"/>
                  </a:moveTo>
                  <a:cubicBezTo>
                    <a:pt x="0" y="34"/>
                    <a:pt x="33" y="0"/>
                    <a:pt x="7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52" y="35"/>
                    <a:pt x="35" y="53"/>
                    <a:pt x="35" y="75"/>
                  </a:cubicBezTo>
                  <a:cubicBezTo>
                    <a:pt x="35" y="75"/>
                    <a:pt x="35" y="75"/>
                    <a:pt x="35" y="75"/>
                  </a:cubicBezTo>
                  <a:cubicBezTo>
                    <a:pt x="35" y="96"/>
                    <a:pt x="52" y="114"/>
                    <a:pt x="74" y="114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96" y="114"/>
                    <a:pt x="114" y="96"/>
                    <a:pt x="114" y="75"/>
                  </a:cubicBezTo>
                  <a:cubicBezTo>
                    <a:pt x="114" y="75"/>
                    <a:pt x="114" y="75"/>
                    <a:pt x="114" y="75"/>
                  </a:cubicBezTo>
                  <a:cubicBezTo>
                    <a:pt x="114" y="53"/>
                    <a:pt x="96" y="35"/>
                    <a:pt x="74" y="35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15" y="0"/>
                    <a:pt x="148" y="34"/>
                    <a:pt x="149" y="75"/>
                  </a:cubicBezTo>
                  <a:cubicBezTo>
                    <a:pt x="149" y="75"/>
                    <a:pt x="149" y="75"/>
                    <a:pt x="149" y="75"/>
                  </a:cubicBezTo>
                  <a:cubicBezTo>
                    <a:pt x="148" y="116"/>
                    <a:pt x="115" y="149"/>
                    <a:pt x="74" y="149"/>
                  </a:cubicBezTo>
                  <a:cubicBezTo>
                    <a:pt x="74" y="149"/>
                    <a:pt x="74" y="149"/>
                    <a:pt x="74" y="149"/>
                  </a:cubicBezTo>
                  <a:cubicBezTo>
                    <a:pt x="33" y="149"/>
                    <a:pt x="0" y="116"/>
                    <a:pt x="0" y="75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1" name="Freeform 8"/>
            <p:cNvSpPr>
              <a:spLocks/>
            </p:cNvSpPr>
            <p:nvPr/>
          </p:nvSpPr>
          <p:spPr bwMode="auto">
            <a:xfrm>
              <a:off x="6474464" y="1761358"/>
              <a:ext cx="135199" cy="69394"/>
            </a:xfrm>
            <a:custGeom>
              <a:avLst/>
              <a:gdLst>
                <a:gd name="T0" fmla="*/ 172 w 207"/>
                <a:gd name="T1" fmla="*/ 107 h 107"/>
                <a:gd name="T2" fmla="*/ 100 w 207"/>
                <a:gd name="T3" fmla="*/ 35 h 107"/>
                <a:gd name="T4" fmla="*/ 100 w 207"/>
                <a:gd name="T5" fmla="*/ 35 h 107"/>
                <a:gd name="T6" fmla="*/ 32 w 207"/>
                <a:gd name="T7" fmla="*/ 80 h 107"/>
                <a:gd name="T8" fmla="*/ 32 w 207"/>
                <a:gd name="T9" fmla="*/ 80 h 107"/>
                <a:gd name="T10" fmla="*/ 0 w 207"/>
                <a:gd name="T11" fmla="*/ 69 h 107"/>
                <a:gd name="T12" fmla="*/ 100 w 207"/>
                <a:gd name="T13" fmla="*/ 0 h 107"/>
                <a:gd name="T14" fmla="*/ 100 w 207"/>
                <a:gd name="T15" fmla="*/ 0 h 107"/>
                <a:gd name="T16" fmla="*/ 176 w 207"/>
                <a:gd name="T17" fmla="*/ 29 h 107"/>
                <a:gd name="T18" fmla="*/ 176 w 207"/>
                <a:gd name="T19" fmla="*/ 29 h 107"/>
                <a:gd name="T20" fmla="*/ 207 w 207"/>
                <a:gd name="T21" fmla="*/ 107 h 107"/>
                <a:gd name="T22" fmla="*/ 207 w 207"/>
                <a:gd name="T23" fmla="*/ 107 h 107"/>
                <a:gd name="T24" fmla="*/ 172 w 207"/>
                <a:gd name="T25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7" h="107">
                  <a:moveTo>
                    <a:pt x="172" y="107"/>
                  </a:moveTo>
                  <a:cubicBezTo>
                    <a:pt x="171" y="59"/>
                    <a:pt x="142" y="36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67" y="36"/>
                    <a:pt x="42" y="51"/>
                    <a:pt x="32" y="80"/>
                  </a:cubicBezTo>
                  <a:cubicBezTo>
                    <a:pt x="32" y="80"/>
                    <a:pt x="32" y="80"/>
                    <a:pt x="32" y="80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14" y="25"/>
                    <a:pt x="55" y="0"/>
                    <a:pt x="100" y="0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29" y="0"/>
                    <a:pt x="156" y="10"/>
                    <a:pt x="176" y="29"/>
                  </a:cubicBezTo>
                  <a:cubicBezTo>
                    <a:pt x="176" y="29"/>
                    <a:pt x="176" y="29"/>
                    <a:pt x="176" y="29"/>
                  </a:cubicBezTo>
                  <a:cubicBezTo>
                    <a:pt x="195" y="47"/>
                    <a:pt x="207" y="75"/>
                    <a:pt x="207" y="107"/>
                  </a:cubicBezTo>
                  <a:cubicBezTo>
                    <a:pt x="207" y="107"/>
                    <a:pt x="207" y="107"/>
                    <a:pt x="207" y="107"/>
                  </a:cubicBezTo>
                  <a:cubicBezTo>
                    <a:pt x="172" y="107"/>
                    <a:pt x="172" y="107"/>
                    <a:pt x="172" y="10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6180137" y="1683588"/>
              <a:ext cx="95716" cy="96913"/>
            </a:xfrm>
            <a:custGeom>
              <a:avLst/>
              <a:gdLst>
                <a:gd name="T0" fmla="*/ 0 w 148"/>
                <a:gd name="T1" fmla="*/ 75 h 149"/>
                <a:gd name="T2" fmla="*/ 74 w 148"/>
                <a:gd name="T3" fmla="*/ 0 h 149"/>
                <a:gd name="T4" fmla="*/ 74 w 148"/>
                <a:gd name="T5" fmla="*/ 0 h 149"/>
                <a:gd name="T6" fmla="*/ 74 w 148"/>
                <a:gd name="T7" fmla="*/ 18 h 149"/>
                <a:gd name="T8" fmla="*/ 74 w 148"/>
                <a:gd name="T9" fmla="*/ 35 h 149"/>
                <a:gd name="T10" fmla="*/ 34 w 148"/>
                <a:gd name="T11" fmla="*/ 75 h 149"/>
                <a:gd name="T12" fmla="*/ 34 w 148"/>
                <a:gd name="T13" fmla="*/ 75 h 149"/>
                <a:gd name="T14" fmla="*/ 74 w 148"/>
                <a:gd name="T15" fmla="*/ 114 h 149"/>
                <a:gd name="T16" fmla="*/ 74 w 148"/>
                <a:gd name="T17" fmla="*/ 114 h 149"/>
                <a:gd name="T18" fmla="*/ 113 w 148"/>
                <a:gd name="T19" fmla="*/ 75 h 149"/>
                <a:gd name="T20" fmla="*/ 113 w 148"/>
                <a:gd name="T21" fmla="*/ 75 h 149"/>
                <a:gd name="T22" fmla="*/ 74 w 148"/>
                <a:gd name="T23" fmla="*/ 35 h 149"/>
                <a:gd name="T24" fmla="*/ 74 w 148"/>
                <a:gd name="T25" fmla="*/ 35 h 149"/>
                <a:gd name="T26" fmla="*/ 74 w 148"/>
                <a:gd name="T27" fmla="*/ 18 h 149"/>
                <a:gd name="T28" fmla="*/ 74 w 148"/>
                <a:gd name="T29" fmla="*/ 0 h 149"/>
                <a:gd name="T30" fmla="*/ 148 w 148"/>
                <a:gd name="T31" fmla="*/ 75 h 149"/>
                <a:gd name="T32" fmla="*/ 148 w 148"/>
                <a:gd name="T33" fmla="*/ 75 h 149"/>
                <a:gd name="T34" fmla="*/ 74 w 148"/>
                <a:gd name="T35" fmla="*/ 149 h 149"/>
                <a:gd name="T36" fmla="*/ 74 w 148"/>
                <a:gd name="T37" fmla="*/ 149 h 149"/>
                <a:gd name="T38" fmla="*/ 0 w 148"/>
                <a:gd name="T39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8" h="149">
                  <a:moveTo>
                    <a:pt x="0" y="75"/>
                  </a:moveTo>
                  <a:cubicBezTo>
                    <a:pt x="0" y="34"/>
                    <a:pt x="33" y="0"/>
                    <a:pt x="74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52" y="35"/>
                    <a:pt x="34" y="53"/>
                    <a:pt x="34" y="75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96"/>
                    <a:pt x="52" y="114"/>
                    <a:pt x="74" y="114"/>
                  </a:cubicBezTo>
                  <a:cubicBezTo>
                    <a:pt x="74" y="114"/>
                    <a:pt x="74" y="114"/>
                    <a:pt x="74" y="114"/>
                  </a:cubicBezTo>
                  <a:cubicBezTo>
                    <a:pt x="96" y="114"/>
                    <a:pt x="113" y="96"/>
                    <a:pt x="113" y="75"/>
                  </a:cubicBezTo>
                  <a:cubicBezTo>
                    <a:pt x="113" y="75"/>
                    <a:pt x="113" y="75"/>
                    <a:pt x="113" y="75"/>
                  </a:cubicBezTo>
                  <a:cubicBezTo>
                    <a:pt x="113" y="53"/>
                    <a:pt x="96" y="35"/>
                    <a:pt x="74" y="35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18"/>
                    <a:pt x="74" y="18"/>
                    <a:pt x="74" y="18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115" y="0"/>
                    <a:pt x="148" y="34"/>
                    <a:pt x="148" y="75"/>
                  </a:cubicBezTo>
                  <a:cubicBezTo>
                    <a:pt x="148" y="75"/>
                    <a:pt x="148" y="75"/>
                    <a:pt x="148" y="75"/>
                  </a:cubicBezTo>
                  <a:cubicBezTo>
                    <a:pt x="148" y="116"/>
                    <a:pt x="115" y="149"/>
                    <a:pt x="74" y="149"/>
                  </a:cubicBezTo>
                  <a:cubicBezTo>
                    <a:pt x="74" y="149"/>
                    <a:pt x="74" y="149"/>
                    <a:pt x="74" y="149"/>
                  </a:cubicBezTo>
                  <a:cubicBezTo>
                    <a:pt x="33" y="149"/>
                    <a:pt x="0" y="116"/>
                    <a:pt x="0" y="75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3" name="Freeform 10"/>
            <p:cNvSpPr>
              <a:spLocks/>
            </p:cNvSpPr>
            <p:nvPr/>
          </p:nvSpPr>
          <p:spPr bwMode="auto">
            <a:xfrm>
              <a:off x="6158601" y="1761358"/>
              <a:ext cx="135199" cy="69394"/>
            </a:xfrm>
            <a:custGeom>
              <a:avLst/>
              <a:gdLst>
                <a:gd name="T0" fmla="*/ 0 w 208"/>
                <a:gd name="T1" fmla="*/ 107 h 107"/>
                <a:gd name="T2" fmla="*/ 32 w 208"/>
                <a:gd name="T3" fmla="*/ 29 h 107"/>
                <a:gd name="T4" fmla="*/ 32 w 208"/>
                <a:gd name="T5" fmla="*/ 29 h 107"/>
                <a:gd name="T6" fmla="*/ 107 w 208"/>
                <a:gd name="T7" fmla="*/ 1 h 107"/>
                <a:gd name="T8" fmla="*/ 107 w 208"/>
                <a:gd name="T9" fmla="*/ 1 h 107"/>
                <a:gd name="T10" fmla="*/ 208 w 208"/>
                <a:gd name="T11" fmla="*/ 71 h 107"/>
                <a:gd name="T12" fmla="*/ 208 w 208"/>
                <a:gd name="T13" fmla="*/ 71 h 107"/>
                <a:gd name="T14" fmla="*/ 175 w 208"/>
                <a:gd name="T15" fmla="*/ 82 h 107"/>
                <a:gd name="T16" fmla="*/ 107 w 208"/>
                <a:gd name="T17" fmla="*/ 35 h 107"/>
                <a:gd name="T18" fmla="*/ 107 w 208"/>
                <a:gd name="T19" fmla="*/ 35 h 107"/>
                <a:gd name="T20" fmla="*/ 35 w 208"/>
                <a:gd name="T21" fmla="*/ 107 h 107"/>
                <a:gd name="T22" fmla="*/ 35 w 208"/>
                <a:gd name="T23" fmla="*/ 107 h 107"/>
                <a:gd name="T24" fmla="*/ 0 w 208"/>
                <a:gd name="T25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8" h="107">
                  <a:moveTo>
                    <a:pt x="0" y="107"/>
                  </a:moveTo>
                  <a:cubicBezTo>
                    <a:pt x="0" y="75"/>
                    <a:pt x="12" y="47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51" y="10"/>
                    <a:pt x="78" y="0"/>
                    <a:pt x="107" y="1"/>
                  </a:cubicBezTo>
                  <a:cubicBezTo>
                    <a:pt x="107" y="1"/>
                    <a:pt x="107" y="1"/>
                    <a:pt x="107" y="1"/>
                  </a:cubicBezTo>
                  <a:cubicBezTo>
                    <a:pt x="152" y="0"/>
                    <a:pt x="194" y="26"/>
                    <a:pt x="208" y="71"/>
                  </a:cubicBezTo>
                  <a:cubicBezTo>
                    <a:pt x="208" y="71"/>
                    <a:pt x="208" y="71"/>
                    <a:pt x="208" y="71"/>
                  </a:cubicBezTo>
                  <a:cubicBezTo>
                    <a:pt x="175" y="82"/>
                    <a:pt x="175" y="82"/>
                    <a:pt x="175" y="82"/>
                  </a:cubicBezTo>
                  <a:cubicBezTo>
                    <a:pt x="166" y="52"/>
                    <a:pt x="141" y="36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65" y="36"/>
                    <a:pt x="36" y="59"/>
                    <a:pt x="35" y="107"/>
                  </a:cubicBezTo>
                  <a:cubicBezTo>
                    <a:pt x="35" y="107"/>
                    <a:pt x="35" y="107"/>
                    <a:pt x="35" y="107"/>
                  </a:cubicBezTo>
                  <a:cubicBezTo>
                    <a:pt x="0" y="107"/>
                    <a:pt x="0" y="107"/>
                    <a:pt x="0" y="107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sp>
        <p:nvSpPr>
          <p:cNvPr id="34" name="TextBox 22"/>
          <p:cNvSpPr txBox="1"/>
          <p:nvPr/>
        </p:nvSpPr>
        <p:spPr>
          <a:xfrm>
            <a:off x="612840" y="4528744"/>
            <a:ext cx="9876547" cy="25648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000"/>
              </a:lnSpc>
              <a:spcBef>
                <a:spcPts val="200"/>
              </a:spcBef>
            </a:pPr>
            <a:r>
              <a:rPr lang="pt-BR" sz="1600" cap="small" dirty="0" smtClean="0">
                <a:solidFill>
                  <a:srgbClr val="000000"/>
                </a:solidFill>
                <a:cs typeface="Bosch Office Sans"/>
              </a:rPr>
              <a:t>Incluindo parceiros de vendas e serviços, a rede Bosch cobre praticamente todos os países do mundo</a:t>
            </a:r>
            <a:endParaRPr lang="pt-BR" sz="1600" cap="small" dirty="0">
              <a:solidFill>
                <a:srgbClr val="000000"/>
              </a:solidFill>
              <a:cs typeface="Bosch Office Sans"/>
            </a:endParaRPr>
          </a:p>
        </p:txBody>
      </p:sp>
      <p:grpSp>
        <p:nvGrpSpPr>
          <p:cNvPr id="35" name="Group 70"/>
          <p:cNvGrpSpPr/>
          <p:nvPr/>
        </p:nvGrpSpPr>
        <p:grpSpPr>
          <a:xfrm>
            <a:off x="8687325" y="1512476"/>
            <a:ext cx="403415" cy="405145"/>
            <a:chOff x="9626600" y="2941638"/>
            <a:chExt cx="369888" cy="371475"/>
          </a:xfrm>
        </p:grpSpPr>
        <p:sp>
          <p:nvSpPr>
            <p:cNvPr id="36" name="Freeform 3000"/>
            <p:cNvSpPr>
              <a:spLocks noEditPoints="1"/>
            </p:cNvSpPr>
            <p:nvPr/>
          </p:nvSpPr>
          <p:spPr bwMode="auto">
            <a:xfrm>
              <a:off x="9626600" y="2941638"/>
              <a:ext cx="369888" cy="371475"/>
            </a:xfrm>
            <a:custGeom>
              <a:avLst/>
              <a:gdLst>
                <a:gd name="T0" fmla="*/ 264 w 305"/>
                <a:gd name="T1" fmla="*/ 49 h 305"/>
                <a:gd name="T2" fmla="*/ 56 w 305"/>
                <a:gd name="T3" fmla="*/ 35 h 305"/>
                <a:gd name="T4" fmla="*/ 110 w 305"/>
                <a:gd name="T5" fmla="*/ 18 h 305"/>
                <a:gd name="T6" fmla="*/ 77 w 305"/>
                <a:gd name="T7" fmla="*/ 67 h 305"/>
                <a:gd name="T8" fmla="*/ 62 w 305"/>
                <a:gd name="T9" fmla="*/ 73 h 305"/>
                <a:gd name="T10" fmla="*/ 63 w 305"/>
                <a:gd name="T11" fmla="*/ 128 h 305"/>
                <a:gd name="T12" fmla="*/ 74 w 305"/>
                <a:gd name="T13" fmla="*/ 128 h 305"/>
                <a:gd name="T14" fmla="*/ 147 w 305"/>
                <a:gd name="T15" fmla="*/ 90 h 305"/>
                <a:gd name="T16" fmla="*/ 92 w 305"/>
                <a:gd name="T17" fmla="*/ 147 h 305"/>
                <a:gd name="T18" fmla="*/ 92 w 305"/>
                <a:gd name="T19" fmla="*/ 158 h 305"/>
                <a:gd name="T20" fmla="*/ 147 w 305"/>
                <a:gd name="T21" fmla="*/ 196 h 305"/>
                <a:gd name="T22" fmla="*/ 158 w 305"/>
                <a:gd name="T23" fmla="*/ 196 h 305"/>
                <a:gd name="T24" fmla="*/ 232 w 305"/>
                <a:gd name="T25" fmla="*/ 158 h 305"/>
                <a:gd name="T26" fmla="*/ 177 w 305"/>
                <a:gd name="T27" fmla="*/ 217 h 305"/>
                <a:gd name="T28" fmla="*/ 177 w 305"/>
                <a:gd name="T29" fmla="*/ 228 h 305"/>
                <a:gd name="T30" fmla="*/ 158 w 305"/>
                <a:gd name="T31" fmla="*/ 294 h 305"/>
                <a:gd name="T32" fmla="*/ 152 w 305"/>
                <a:gd name="T33" fmla="*/ 246 h 305"/>
                <a:gd name="T34" fmla="*/ 147 w 305"/>
                <a:gd name="T35" fmla="*/ 294 h 305"/>
                <a:gd name="T36" fmla="*/ 128 w 305"/>
                <a:gd name="T37" fmla="*/ 228 h 305"/>
                <a:gd name="T38" fmla="*/ 127 w 305"/>
                <a:gd name="T39" fmla="*/ 217 h 305"/>
                <a:gd name="T40" fmla="*/ 74 w 305"/>
                <a:gd name="T41" fmla="*/ 177 h 305"/>
                <a:gd name="T42" fmla="*/ 63 w 305"/>
                <a:gd name="T43" fmla="*/ 178 h 305"/>
                <a:gd name="T44" fmla="*/ 46 w 305"/>
                <a:gd name="T45" fmla="*/ 241 h 305"/>
                <a:gd name="T46" fmla="*/ 11 w 305"/>
                <a:gd name="T47" fmla="*/ 158 h 305"/>
                <a:gd name="T48" fmla="*/ 42 w 305"/>
                <a:gd name="T49" fmla="*/ 153 h 305"/>
                <a:gd name="T50" fmla="*/ 11 w 305"/>
                <a:gd name="T51" fmla="*/ 147 h 305"/>
                <a:gd name="T52" fmla="*/ 23 w 305"/>
                <a:gd name="T53" fmla="*/ 72 h 305"/>
                <a:gd name="T54" fmla="*/ 34 w 305"/>
                <a:gd name="T55" fmla="*/ 249 h 305"/>
                <a:gd name="T56" fmla="*/ 152 w 305"/>
                <a:gd name="T57" fmla="*/ 305 h 305"/>
                <a:gd name="T58" fmla="*/ 239 w 305"/>
                <a:gd name="T59" fmla="*/ 264 h 305"/>
                <a:gd name="T60" fmla="*/ 217 w 305"/>
                <a:gd name="T61" fmla="*/ 260 h 305"/>
                <a:gd name="T62" fmla="*/ 236 w 305"/>
                <a:gd name="T63" fmla="*/ 242 h 305"/>
                <a:gd name="T64" fmla="*/ 231 w 305"/>
                <a:gd name="T65" fmla="*/ 228 h 305"/>
                <a:gd name="T66" fmla="*/ 294 w 305"/>
                <a:gd name="T67" fmla="*/ 158 h 305"/>
                <a:gd name="T68" fmla="*/ 281 w 305"/>
                <a:gd name="T69" fmla="*/ 235 h 305"/>
                <a:gd name="T70" fmla="*/ 271 w 305"/>
                <a:gd name="T71" fmla="*/ 57 h 305"/>
                <a:gd name="T72" fmla="*/ 88 w 305"/>
                <a:gd name="T73" fmla="*/ 70 h 305"/>
                <a:gd name="T74" fmla="*/ 147 w 305"/>
                <a:gd name="T75" fmla="*/ 79 h 305"/>
                <a:gd name="T76" fmla="*/ 77 w 305"/>
                <a:gd name="T77" fmla="*/ 239 h 305"/>
                <a:gd name="T78" fmla="*/ 110 w 305"/>
                <a:gd name="T79" fmla="*/ 288 h 305"/>
                <a:gd name="T80" fmla="*/ 243 w 305"/>
                <a:gd name="T81" fmla="*/ 147 h 305"/>
                <a:gd name="T82" fmla="*/ 226 w 305"/>
                <a:gd name="T83" fmla="*/ 99 h 305"/>
                <a:gd name="T84" fmla="*/ 158 w 305"/>
                <a:gd name="T85" fmla="*/ 147 h 305"/>
                <a:gd name="T86" fmla="*/ 201 w 305"/>
                <a:gd name="T87" fmla="*/ 86 h 305"/>
                <a:gd name="T88" fmla="*/ 158 w 305"/>
                <a:gd name="T89" fmla="*/ 79 h 305"/>
                <a:gd name="T90" fmla="*/ 209 w 305"/>
                <a:gd name="T91" fmla="*/ 53 h 305"/>
                <a:gd name="T92" fmla="*/ 217 w 305"/>
                <a:gd name="T93" fmla="*/ 46 h 305"/>
                <a:gd name="T94" fmla="*/ 254 w 305"/>
                <a:gd name="T95" fmla="*/ 55 h 305"/>
                <a:gd name="T96" fmla="*/ 248 w 305"/>
                <a:gd name="T97" fmla="*/ 70 h 305"/>
                <a:gd name="T98" fmla="*/ 262 w 305"/>
                <a:gd name="T99" fmla="*/ 63 h 305"/>
                <a:gd name="T100" fmla="*/ 243 w 305"/>
                <a:gd name="T101" fmla="*/ 147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5" h="305">
                  <a:moveTo>
                    <a:pt x="271" y="57"/>
                  </a:moveTo>
                  <a:cubicBezTo>
                    <a:pt x="268" y="54"/>
                    <a:pt x="266" y="51"/>
                    <a:pt x="264" y="49"/>
                  </a:cubicBezTo>
                  <a:cubicBezTo>
                    <a:pt x="236" y="19"/>
                    <a:pt x="196" y="0"/>
                    <a:pt x="152" y="0"/>
                  </a:cubicBezTo>
                  <a:cubicBezTo>
                    <a:pt x="116" y="0"/>
                    <a:pt x="82" y="13"/>
                    <a:pt x="56" y="35"/>
                  </a:cubicBezTo>
                  <a:cubicBezTo>
                    <a:pt x="59" y="37"/>
                    <a:pt x="62" y="39"/>
                    <a:pt x="64" y="42"/>
                  </a:cubicBezTo>
                  <a:cubicBezTo>
                    <a:pt x="77" y="32"/>
                    <a:pt x="93" y="23"/>
                    <a:pt x="110" y="18"/>
                  </a:cubicBezTo>
                  <a:cubicBezTo>
                    <a:pt x="101" y="25"/>
                    <a:pt x="94" y="35"/>
                    <a:pt x="87" y="46"/>
                  </a:cubicBezTo>
                  <a:cubicBezTo>
                    <a:pt x="83" y="53"/>
                    <a:pt x="80" y="60"/>
                    <a:pt x="77" y="67"/>
                  </a:cubicBezTo>
                  <a:cubicBezTo>
                    <a:pt x="74" y="66"/>
                    <a:pt x="71" y="65"/>
                    <a:pt x="67" y="63"/>
                  </a:cubicBezTo>
                  <a:cubicBezTo>
                    <a:pt x="66" y="67"/>
                    <a:pt x="65" y="70"/>
                    <a:pt x="62" y="73"/>
                  </a:cubicBezTo>
                  <a:cubicBezTo>
                    <a:pt x="66" y="74"/>
                    <a:pt x="70" y="76"/>
                    <a:pt x="73" y="77"/>
                  </a:cubicBezTo>
                  <a:cubicBezTo>
                    <a:pt x="68" y="93"/>
                    <a:pt x="64" y="110"/>
                    <a:pt x="63" y="128"/>
                  </a:cubicBezTo>
                  <a:cubicBezTo>
                    <a:pt x="64" y="128"/>
                    <a:pt x="66" y="127"/>
                    <a:pt x="67" y="127"/>
                  </a:cubicBezTo>
                  <a:cubicBezTo>
                    <a:pt x="69" y="127"/>
                    <a:pt x="72" y="128"/>
                    <a:pt x="74" y="128"/>
                  </a:cubicBezTo>
                  <a:cubicBezTo>
                    <a:pt x="75" y="111"/>
                    <a:pt x="79" y="95"/>
                    <a:pt x="84" y="81"/>
                  </a:cubicBezTo>
                  <a:cubicBezTo>
                    <a:pt x="103" y="86"/>
                    <a:pt x="125" y="90"/>
                    <a:pt x="147" y="90"/>
                  </a:cubicBezTo>
                  <a:cubicBezTo>
                    <a:pt x="147" y="147"/>
                    <a:pt x="147" y="147"/>
                    <a:pt x="147" y="147"/>
                  </a:cubicBezTo>
                  <a:cubicBezTo>
                    <a:pt x="92" y="147"/>
                    <a:pt x="92" y="147"/>
                    <a:pt x="92" y="147"/>
                  </a:cubicBezTo>
                  <a:cubicBezTo>
                    <a:pt x="92" y="149"/>
                    <a:pt x="92" y="151"/>
                    <a:pt x="92" y="153"/>
                  </a:cubicBezTo>
                  <a:cubicBezTo>
                    <a:pt x="92" y="155"/>
                    <a:pt x="92" y="157"/>
                    <a:pt x="92" y="158"/>
                  </a:cubicBezTo>
                  <a:cubicBezTo>
                    <a:pt x="147" y="158"/>
                    <a:pt x="147" y="158"/>
                    <a:pt x="147" y="158"/>
                  </a:cubicBezTo>
                  <a:cubicBezTo>
                    <a:pt x="147" y="196"/>
                    <a:pt x="147" y="196"/>
                    <a:pt x="147" y="196"/>
                  </a:cubicBezTo>
                  <a:cubicBezTo>
                    <a:pt x="149" y="196"/>
                    <a:pt x="150" y="196"/>
                    <a:pt x="152" y="196"/>
                  </a:cubicBezTo>
                  <a:cubicBezTo>
                    <a:pt x="154" y="196"/>
                    <a:pt x="156" y="196"/>
                    <a:pt x="158" y="196"/>
                  </a:cubicBezTo>
                  <a:cubicBezTo>
                    <a:pt x="158" y="158"/>
                    <a:pt x="158" y="158"/>
                    <a:pt x="158" y="158"/>
                  </a:cubicBezTo>
                  <a:cubicBezTo>
                    <a:pt x="232" y="158"/>
                    <a:pt x="232" y="158"/>
                    <a:pt x="232" y="158"/>
                  </a:cubicBezTo>
                  <a:cubicBezTo>
                    <a:pt x="231" y="183"/>
                    <a:pt x="227" y="205"/>
                    <a:pt x="221" y="225"/>
                  </a:cubicBezTo>
                  <a:cubicBezTo>
                    <a:pt x="207" y="221"/>
                    <a:pt x="192" y="218"/>
                    <a:pt x="177" y="217"/>
                  </a:cubicBezTo>
                  <a:cubicBezTo>
                    <a:pt x="177" y="218"/>
                    <a:pt x="178" y="220"/>
                    <a:pt x="178" y="221"/>
                  </a:cubicBezTo>
                  <a:cubicBezTo>
                    <a:pt x="178" y="223"/>
                    <a:pt x="177" y="226"/>
                    <a:pt x="177" y="228"/>
                  </a:cubicBezTo>
                  <a:cubicBezTo>
                    <a:pt x="191" y="229"/>
                    <a:pt x="204" y="232"/>
                    <a:pt x="217" y="235"/>
                  </a:cubicBezTo>
                  <a:cubicBezTo>
                    <a:pt x="203" y="269"/>
                    <a:pt x="182" y="291"/>
                    <a:pt x="158" y="294"/>
                  </a:cubicBezTo>
                  <a:cubicBezTo>
                    <a:pt x="158" y="246"/>
                    <a:pt x="158" y="246"/>
                    <a:pt x="158" y="246"/>
                  </a:cubicBezTo>
                  <a:cubicBezTo>
                    <a:pt x="156" y="246"/>
                    <a:pt x="154" y="246"/>
                    <a:pt x="152" y="246"/>
                  </a:cubicBezTo>
                  <a:cubicBezTo>
                    <a:pt x="150" y="246"/>
                    <a:pt x="149" y="246"/>
                    <a:pt x="147" y="246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22" y="291"/>
                    <a:pt x="101" y="269"/>
                    <a:pt x="88" y="235"/>
                  </a:cubicBezTo>
                  <a:cubicBezTo>
                    <a:pt x="100" y="232"/>
                    <a:pt x="114" y="229"/>
                    <a:pt x="128" y="228"/>
                  </a:cubicBezTo>
                  <a:cubicBezTo>
                    <a:pt x="127" y="226"/>
                    <a:pt x="127" y="223"/>
                    <a:pt x="127" y="221"/>
                  </a:cubicBezTo>
                  <a:cubicBezTo>
                    <a:pt x="127" y="220"/>
                    <a:pt x="127" y="218"/>
                    <a:pt x="127" y="217"/>
                  </a:cubicBezTo>
                  <a:cubicBezTo>
                    <a:pt x="112" y="218"/>
                    <a:pt x="97" y="221"/>
                    <a:pt x="84" y="225"/>
                  </a:cubicBezTo>
                  <a:cubicBezTo>
                    <a:pt x="79" y="211"/>
                    <a:pt x="75" y="194"/>
                    <a:pt x="74" y="177"/>
                  </a:cubicBezTo>
                  <a:cubicBezTo>
                    <a:pt x="72" y="178"/>
                    <a:pt x="69" y="178"/>
                    <a:pt x="67" y="178"/>
                  </a:cubicBezTo>
                  <a:cubicBezTo>
                    <a:pt x="66" y="178"/>
                    <a:pt x="64" y="178"/>
                    <a:pt x="63" y="178"/>
                  </a:cubicBezTo>
                  <a:cubicBezTo>
                    <a:pt x="64" y="196"/>
                    <a:pt x="68" y="213"/>
                    <a:pt x="73" y="228"/>
                  </a:cubicBezTo>
                  <a:cubicBezTo>
                    <a:pt x="63" y="232"/>
                    <a:pt x="54" y="236"/>
                    <a:pt x="46" y="241"/>
                  </a:cubicBezTo>
                  <a:cubicBezTo>
                    <a:pt x="45" y="242"/>
                    <a:pt x="44" y="242"/>
                    <a:pt x="43" y="243"/>
                  </a:cubicBezTo>
                  <a:cubicBezTo>
                    <a:pt x="24" y="220"/>
                    <a:pt x="12" y="190"/>
                    <a:pt x="11" y="158"/>
                  </a:cubicBezTo>
                  <a:cubicBezTo>
                    <a:pt x="42" y="158"/>
                    <a:pt x="42" y="158"/>
                    <a:pt x="42" y="158"/>
                  </a:cubicBezTo>
                  <a:cubicBezTo>
                    <a:pt x="42" y="157"/>
                    <a:pt x="42" y="155"/>
                    <a:pt x="42" y="153"/>
                  </a:cubicBezTo>
                  <a:cubicBezTo>
                    <a:pt x="42" y="151"/>
                    <a:pt x="42" y="149"/>
                    <a:pt x="42" y="147"/>
                  </a:cubicBezTo>
                  <a:cubicBezTo>
                    <a:pt x="11" y="147"/>
                    <a:pt x="11" y="147"/>
                    <a:pt x="11" y="147"/>
                  </a:cubicBezTo>
                  <a:cubicBezTo>
                    <a:pt x="12" y="122"/>
                    <a:pt x="19" y="99"/>
                    <a:pt x="32" y="79"/>
                  </a:cubicBezTo>
                  <a:cubicBezTo>
                    <a:pt x="28" y="77"/>
                    <a:pt x="25" y="75"/>
                    <a:pt x="23" y="72"/>
                  </a:cubicBezTo>
                  <a:cubicBezTo>
                    <a:pt x="8" y="95"/>
                    <a:pt x="0" y="123"/>
                    <a:pt x="0" y="153"/>
                  </a:cubicBezTo>
                  <a:cubicBezTo>
                    <a:pt x="0" y="189"/>
                    <a:pt x="12" y="223"/>
                    <a:pt x="34" y="249"/>
                  </a:cubicBezTo>
                  <a:cubicBezTo>
                    <a:pt x="36" y="252"/>
                    <a:pt x="38" y="254"/>
                    <a:pt x="41" y="257"/>
                  </a:cubicBezTo>
                  <a:cubicBezTo>
                    <a:pt x="69" y="287"/>
                    <a:pt x="108" y="305"/>
                    <a:pt x="152" y="305"/>
                  </a:cubicBezTo>
                  <a:cubicBezTo>
                    <a:pt x="188" y="305"/>
                    <a:pt x="221" y="293"/>
                    <a:pt x="248" y="272"/>
                  </a:cubicBezTo>
                  <a:cubicBezTo>
                    <a:pt x="244" y="270"/>
                    <a:pt x="241" y="267"/>
                    <a:pt x="239" y="264"/>
                  </a:cubicBezTo>
                  <a:cubicBezTo>
                    <a:pt x="226" y="275"/>
                    <a:pt x="211" y="283"/>
                    <a:pt x="195" y="288"/>
                  </a:cubicBezTo>
                  <a:cubicBezTo>
                    <a:pt x="203" y="281"/>
                    <a:pt x="211" y="271"/>
                    <a:pt x="217" y="260"/>
                  </a:cubicBezTo>
                  <a:cubicBezTo>
                    <a:pt x="221" y="253"/>
                    <a:pt x="224" y="246"/>
                    <a:pt x="227" y="239"/>
                  </a:cubicBezTo>
                  <a:cubicBezTo>
                    <a:pt x="230" y="240"/>
                    <a:pt x="233" y="241"/>
                    <a:pt x="236" y="242"/>
                  </a:cubicBezTo>
                  <a:cubicBezTo>
                    <a:pt x="237" y="238"/>
                    <a:pt x="239" y="235"/>
                    <a:pt x="241" y="232"/>
                  </a:cubicBezTo>
                  <a:cubicBezTo>
                    <a:pt x="238" y="231"/>
                    <a:pt x="235" y="230"/>
                    <a:pt x="231" y="228"/>
                  </a:cubicBezTo>
                  <a:cubicBezTo>
                    <a:pt x="238" y="207"/>
                    <a:pt x="242" y="183"/>
                    <a:pt x="243" y="158"/>
                  </a:cubicBezTo>
                  <a:cubicBezTo>
                    <a:pt x="294" y="158"/>
                    <a:pt x="294" y="158"/>
                    <a:pt x="294" y="158"/>
                  </a:cubicBezTo>
                  <a:cubicBezTo>
                    <a:pt x="293" y="184"/>
                    <a:pt x="285" y="207"/>
                    <a:pt x="272" y="228"/>
                  </a:cubicBezTo>
                  <a:cubicBezTo>
                    <a:pt x="276" y="229"/>
                    <a:pt x="278" y="232"/>
                    <a:pt x="281" y="235"/>
                  </a:cubicBezTo>
                  <a:cubicBezTo>
                    <a:pt x="296" y="211"/>
                    <a:pt x="305" y="183"/>
                    <a:pt x="305" y="153"/>
                  </a:cubicBezTo>
                  <a:cubicBezTo>
                    <a:pt x="305" y="117"/>
                    <a:pt x="292" y="83"/>
                    <a:pt x="271" y="57"/>
                  </a:cubicBezTo>
                  <a:close/>
                  <a:moveTo>
                    <a:pt x="147" y="79"/>
                  </a:moveTo>
                  <a:cubicBezTo>
                    <a:pt x="125" y="79"/>
                    <a:pt x="105" y="76"/>
                    <a:pt x="88" y="70"/>
                  </a:cubicBezTo>
                  <a:cubicBezTo>
                    <a:pt x="101" y="37"/>
                    <a:pt x="122" y="15"/>
                    <a:pt x="147" y="12"/>
                  </a:cubicBezTo>
                  <a:lnTo>
                    <a:pt x="147" y="79"/>
                  </a:lnTo>
                  <a:close/>
                  <a:moveTo>
                    <a:pt x="50" y="251"/>
                  </a:moveTo>
                  <a:cubicBezTo>
                    <a:pt x="58" y="246"/>
                    <a:pt x="67" y="242"/>
                    <a:pt x="77" y="239"/>
                  </a:cubicBezTo>
                  <a:cubicBezTo>
                    <a:pt x="80" y="246"/>
                    <a:pt x="83" y="253"/>
                    <a:pt x="87" y="260"/>
                  </a:cubicBezTo>
                  <a:cubicBezTo>
                    <a:pt x="94" y="271"/>
                    <a:pt x="101" y="281"/>
                    <a:pt x="110" y="288"/>
                  </a:cubicBezTo>
                  <a:cubicBezTo>
                    <a:pt x="87" y="281"/>
                    <a:pt x="67" y="268"/>
                    <a:pt x="50" y="251"/>
                  </a:cubicBezTo>
                  <a:close/>
                  <a:moveTo>
                    <a:pt x="243" y="147"/>
                  </a:moveTo>
                  <a:cubicBezTo>
                    <a:pt x="243" y="129"/>
                    <a:pt x="240" y="112"/>
                    <a:pt x="237" y="96"/>
                  </a:cubicBezTo>
                  <a:cubicBezTo>
                    <a:pt x="233" y="98"/>
                    <a:pt x="230" y="99"/>
                    <a:pt x="226" y="99"/>
                  </a:cubicBezTo>
                  <a:cubicBezTo>
                    <a:pt x="229" y="114"/>
                    <a:pt x="232" y="130"/>
                    <a:pt x="232" y="147"/>
                  </a:cubicBezTo>
                  <a:cubicBezTo>
                    <a:pt x="158" y="147"/>
                    <a:pt x="158" y="147"/>
                    <a:pt x="158" y="147"/>
                  </a:cubicBezTo>
                  <a:cubicBezTo>
                    <a:pt x="158" y="90"/>
                    <a:pt x="158" y="90"/>
                    <a:pt x="158" y="90"/>
                  </a:cubicBezTo>
                  <a:cubicBezTo>
                    <a:pt x="172" y="90"/>
                    <a:pt x="187" y="88"/>
                    <a:pt x="201" y="86"/>
                  </a:cubicBezTo>
                  <a:cubicBezTo>
                    <a:pt x="199" y="82"/>
                    <a:pt x="198" y="79"/>
                    <a:pt x="198" y="75"/>
                  </a:cubicBezTo>
                  <a:cubicBezTo>
                    <a:pt x="185" y="77"/>
                    <a:pt x="172" y="79"/>
                    <a:pt x="158" y="79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78" y="14"/>
                    <a:pt x="196" y="30"/>
                    <a:pt x="209" y="53"/>
                  </a:cubicBezTo>
                  <a:cubicBezTo>
                    <a:pt x="212" y="51"/>
                    <a:pt x="215" y="50"/>
                    <a:pt x="219" y="49"/>
                  </a:cubicBezTo>
                  <a:cubicBezTo>
                    <a:pt x="218" y="48"/>
                    <a:pt x="218" y="47"/>
                    <a:pt x="217" y="46"/>
                  </a:cubicBezTo>
                  <a:cubicBezTo>
                    <a:pt x="211" y="35"/>
                    <a:pt x="203" y="25"/>
                    <a:pt x="195" y="18"/>
                  </a:cubicBezTo>
                  <a:cubicBezTo>
                    <a:pt x="218" y="25"/>
                    <a:pt x="238" y="38"/>
                    <a:pt x="254" y="55"/>
                  </a:cubicBezTo>
                  <a:cubicBezTo>
                    <a:pt x="251" y="57"/>
                    <a:pt x="248" y="58"/>
                    <a:pt x="244" y="60"/>
                  </a:cubicBezTo>
                  <a:cubicBezTo>
                    <a:pt x="246" y="63"/>
                    <a:pt x="248" y="66"/>
                    <a:pt x="248" y="70"/>
                  </a:cubicBezTo>
                  <a:cubicBezTo>
                    <a:pt x="252" y="68"/>
                    <a:pt x="256" y="67"/>
                    <a:pt x="259" y="65"/>
                  </a:cubicBezTo>
                  <a:cubicBezTo>
                    <a:pt x="260" y="64"/>
                    <a:pt x="261" y="63"/>
                    <a:pt x="262" y="63"/>
                  </a:cubicBezTo>
                  <a:cubicBezTo>
                    <a:pt x="281" y="86"/>
                    <a:pt x="292" y="115"/>
                    <a:pt x="294" y="147"/>
                  </a:cubicBezTo>
                  <a:lnTo>
                    <a:pt x="243" y="147"/>
                  </a:ln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7" name="Freeform 3100"/>
            <p:cNvSpPr>
              <a:spLocks noEditPoints="1"/>
            </p:cNvSpPr>
            <p:nvPr/>
          </p:nvSpPr>
          <p:spPr bwMode="auto">
            <a:xfrm>
              <a:off x="9683750" y="3103563"/>
              <a:ext cx="49213" cy="49213"/>
            </a:xfrm>
            <a:custGeom>
              <a:avLst/>
              <a:gdLst>
                <a:gd name="T0" fmla="*/ 20 w 40"/>
                <a:gd name="T1" fmla="*/ 40 h 40"/>
                <a:gd name="T2" fmla="*/ 40 w 40"/>
                <a:gd name="T3" fmla="*/ 20 h 40"/>
                <a:gd name="T4" fmla="*/ 20 w 40"/>
                <a:gd name="T5" fmla="*/ 0 h 40"/>
                <a:gd name="T6" fmla="*/ 0 w 40"/>
                <a:gd name="T7" fmla="*/ 20 h 40"/>
                <a:gd name="T8" fmla="*/ 20 w 40"/>
                <a:gd name="T9" fmla="*/ 40 h 40"/>
                <a:gd name="T10" fmla="*/ 20 w 40"/>
                <a:gd name="T11" fmla="*/ 11 h 40"/>
                <a:gd name="T12" fmla="*/ 29 w 40"/>
                <a:gd name="T13" fmla="*/ 20 h 40"/>
                <a:gd name="T14" fmla="*/ 20 w 40"/>
                <a:gd name="T15" fmla="*/ 29 h 40"/>
                <a:gd name="T16" fmla="*/ 11 w 40"/>
                <a:gd name="T17" fmla="*/ 20 h 40"/>
                <a:gd name="T18" fmla="*/ 20 w 40"/>
                <a:gd name="T19" fmla="*/ 1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31" y="40"/>
                    <a:pt x="40" y="31"/>
                    <a:pt x="40" y="20"/>
                  </a:cubicBezTo>
                  <a:cubicBezTo>
                    <a:pt x="40" y="9"/>
                    <a:pt x="31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lose/>
                  <a:moveTo>
                    <a:pt x="20" y="11"/>
                  </a:moveTo>
                  <a:cubicBezTo>
                    <a:pt x="25" y="11"/>
                    <a:pt x="29" y="15"/>
                    <a:pt x="29" y="20"/>
                  </a:cubicBezTo>
                  <a:cubicBezTo>
                    <a:pt x="29" y="25"/>
                    <a:pt x="25" y="29"/>
                    <a:pt x="20" y="29"/>
                  </a:cubicBezTo>
                  <a:cubicBezTo>
                    <a:pt x="15" y="29"/>
                    <a:pt x="11" y="25"/>
                    <a:pt x="11" y="20"/>
                  </a:cubicBezTo>
                  <a:cubicBezTo>
                    <a:pt x="11" y="15"/>
                    <a:pt x="15" y="11"/>
                    <a:pt x="20" y="11"/>
                  </a:cubicBez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8" name="Freeform 3200"/>
            <p:cNvSpPr>
              <a:spLocks noEditPoints="1"/>
            </p:cNvSpPr>
            <p:nvPr/>
          </p:nvSpPr>
          <p:spPr bwMode="auto">
            <a:xfrm>
              <a:off x="9786938" y="3186113"/>
              <a:ext cx="49213" cy="49213"/>
            </a:xfrm>
            <a:custGeom>
              <a:avLst/>
              <a:gdLst>
                <a:gd name="T0" fmla="*/ 40 w 40"/>
                <a:gd name="T1" fmla="*/ 20 h 40"/>
                <a:gd name="T2" fmla="*/ 20 w 40"/>
                <a:gd name="T3" fmla="*/ 0 h 40"/>
                <a:gd name="T4" fmla="*/ 0 w 40"/>
                <a:gd name="T5" fmla="*/ 20 h 40"/>
                <a:gd name="T6" fmla="*/ 20 w 40"/>
                <a:gd name="T7" fmla="*/ 40 h 40"/>
                <a:gd name="T8" fmla="*/ 40 w 40"/>
                <a:gd name="T9" fmla="*/ 20 h 40"/>
                <a:gd name="T10" fmla="*/ 11 w 40"/>
                <a:gd name="T11" fmla="*/ 20 h 40"/>
                <a:gd name="T12" fmla="*/ 20 w 40"/>
                <a:gd name="T13" fmla="*/ 11 h 40"/>
                <a:gd name="T14" fmla="*/ 29 w 40"/>
                <a:gd name="T15" fmla="*/ 20 h 40"/>
                <a:gd name="T16" fmla="*/ 20 w 40"/>
                <a:gd name="T17" fmla="*/ 29 h 40"/>
                <a:gd name="T18" fmla="*/ 11 w 40"/>
                <a:gd name="T1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40" y="20"/>
                  </a:moveTo>
                  <a:cubicBezTo>
                    <a:pt x="40" y="9"/>
                    <a:pt x="31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ubicBezTo>
                    <a:pt x="31" y="40"/>
                    <a:pt x="40" y="31"/>
                    <a:pt x="40" y="20"/>
                  </a:cubicBezTo>
                  <a:close/>
                  <a:moveTo>
                    <a:pt x="11" y="20"/>
                  </a:moveTo>
                  <a:cubicBezTo>
                    <a:pt x="11" y="15"/>
                    <a:pt x="15" y="11"/>
                    <a:pt x="20" y="11"/>
                  </a:cubicBezTo>
                  <a:cubicBezTo>
                    <a:pt x="25" y="11"/>
                    <a:pt x="29" y="15"/>
                    <a:pt x="29" y="20"/>
                  </a:cubicBezTo>
                  <a:cubicBezTo>
                    <a:pt x="29" y="25"/>
                    <a:pt x="25" y="29"/>
                    <a:pt x="20" y="29"/>
                  </a:cubicBezTo>
                  <a:cubicBezTo>
                    <a:pt x="15" y="29"/>
                    <a:pt x="11" y="25"/>
                    <a:pt x="11" y="20"/>
                  </a:cubicBez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9" name="Freeform 3300"/>
            <p:cNvSpPr>
              <a:spLocks noEditPoints="1"/>
            </p:cNvSpPr>
            <p:nvPr/>
          </p:nvSpPr>
          <p:spPr bwMode="auto">
            <a:xfrm>
              <a:off x="9872663" y="3008313"/>
              <a:ext cx="49213" cy="47625"/>
            </a:xfrm>
            <a:custGeom>
              <a:avLst/>
              <a:gdLst>
                <a:gd name="T0" fmla="*/ 20 w 40"/>
                <a:gd name="T1" fmla="*/ 0 h 40"/>
                <a:gd name="T2" fmla="*/ 0 w 40"/>
                <a:gd name="T3" fmla="*/ 20 h 40"/>
                <a:gd name="T4" fmla="*/ 20 w 40"/>
                <a:gd name="T5" fmla="*/ 40 h 40"/>
                <a:gd name="T6" fmla="*/ 40 w 40"/>
                <a:gd name="T7" fmla="*/ 20 h 40"/>
                <a:gd name="T8" fmla="*/ 20 w 40"/>
                <a:gd name="T9" fmla="*/ 0 h 40"/>
                <a:gd name="T10" fmla="*/ 20 w 40"/>
                <a:gd name="T11" fmla="*/ 29 h 40"/>
                <a:gd name="T12" fmla="*/ 11 w 40"/>
                <a:gd name="T13" fmla="*/ 20 h 40"/>
                <a:gd name="T14" fmla="*/ 20 w 40"/>
                <a:gd name="T15" fmla="*/ 11 h 40"/>
                <a:gd name="T16" fmla="*/ 29 w 40"/>
                <a:gd name="T17" fmla="*/ 20 h 40"/>
                <a:gd name="T18" fmla="*/ 20 w 40"/>
                <a:gd name="T19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ubicBezTo>
                    <a:pt x="31" y="40"/>
                    <a:pt x="40" y="31"/>
                    <a:pt x="40" y="20"/>
                  </a:cubicBezTo>
                  <a:cubicBezTo>
                    <a:pt x="40" y="9"/>
                    <a:pt x="31" y="0"/>
                    <a:pt x="20" y="0"/>
                  </a:cubicBezTo>
                  <a:close/>
                  <a:moveTo>
                    <a:pt x="20" y="29"/>
                  </a:moveTo>
                  <a:cubicBezTo>
                    <a:pt x="15" y="29"/>
                    <a:pt x="11" y="25"/>
                    <a:pt x="11" y="20"/>
                  </a:cubicBezTo>
                  <a:cubicBezTo>
                    <a:pt x="11" y="15"/>
                    <a:pt x="15" y="11"/>
                    <a:pt x="20" y="11"/>
                  </a:cubicBezTo>
                  <a:cubicBezTo>
                    <a:pt x="25" y="11"/>
                    <a:pt x="29" y="15"/>
                    <a:pt x="29" y="20"/>
                  </a:cubicBezTo>
                  <a:cubicBezTo>
                    <a:pt x="29" y="25"/>
                    <a:pt x="25" y="29"/>
                    <a:pt x="20" y="29"/>
                  </a:cubicBez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40" name="Freeform 3400"/>
            <p:cNvSpPr>
              <a:spLocks noEditPoints="1"/>
            </p:cNvSpPr>
            <p:nvPr/>
          </p:nvSpPr>
          <p:spPr bwMode="auto">
            <a:xfrm>
              <a:off x="9918700" y="3221038"/>
              <a:ext cx="47625" cy="49213"/>
            </a:xfrm>
            <a:custGeom>
              <a:avLst/>
              <a:gdLst>
                <a:gd name="T0" fmla="*/ 20 w 40"/>
                <a:gd name="T1" fmla="*/ 0 h 40"/>
                <a:gd name="T2" fmla="*/ 0 w 40"/>
                <a:gd name="T3" fmla="*/ 20 h 40"/>
                <a:gd name="T4" fmla="*/ 20 w 40"/>
                <a:gd name="T5" fmla="*/ 40 h 40"/>
                <a:gd name="T6" fmla="*/ 40 w 40"/>
                <a:gd name="T7" fmla="*/ 20 h 40"/>
                <a:gd name="T8" fmla="*/ 20 w 40"/>
                <a:gd name="T9" fmla="*/ 0 h 40"/>
                <a:gd name="T10" fmla="*/ 20 w 40"/>
                <a:gd name="T11" fmla="*/ 29 h 40"/>
                <a:gd name="T12" fmla="*/ 11 w 40"/>
                <a:gd name="T13" fmla="*/ 20 h 40"/>
                <a:gd name="T14" fmla="*/ 20 w 40"/>
                <a:gd name="T15" fmla="*/ 11 h 40"/>
                <a:gd name="T16" fmla="*/ 29 w 40"/>
                <a:gd name="T17" fmla="*/ 20 h 40"/>
                <a:gd name="T18" fmla="*/ 20 w 40"/>
                <a:gd name="T19" fmla="*/ 2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31"/>
                    <a:pt x="9" y="40"/>
                    <a:pt x="20" y="40"/>
                  </a:cubicBezTo>
                  <a:cubicBezTo>
                    <a:pt x="31" y="40"/>
                    <a:pt x="40" y="31"/>
                    <a:pt x="40" y="20"/>
                  </a:cubicBezTo>
                  <a:cubicBezTo>
                    <a:pt x="40" y="9"/>
                    <a:pt x="31" y="0"/>
                    <a:pt x="20" y="0"/>
                  </a:cubicBezTo>
                  <a:close/>
                  <a:moveTo>
                    <a:pt x="20" y="29"/>
                  </a:moveTo>
                  <a:cubicBezTo>
                    <a:pt x="15" y="29"/>
                    <a:pt x="11" y="25"/>
                    <a:pt x="11" y="20"/>
                  </a:cubicBezTo>
                  <a:cubicBezTo>
                    <a:pt x="11" y="15"/>
                    <a:pt x="15" y="11"/>
                    <a:pt x="20" y="11"/>
                  </a:cubicBezTo>
                  <a:cubicBezTo>
                    <a:pt x="25" y="11"/>
                    <a:pt x="29" y="15"/>
                    <a:pt x="29" y="20"/>
                  </a:cubicBezTo>
                  <a:cubicBezTo>
                    <a:pt x="29" y="25"/>
                    <a:pt x="25" y="29"/>
                    <a:pt x="20" y="29"/>
                  </a:cubicBez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41" name="Freeform 3500"/>
            <p:cNvSpPr>
              <a:spLocks noEditPoints="1"/>
            </p:cNvSpPr>
            <p:nvPr/>
          </p:nvSpPr>
          <p:spPr bwMode="auto">
            <a:xfrm>
              <a:off x="9655175" y="2987675"/>
              <a:ext cx="47625" cy="47625"/>
            </a:xfrm>
            <a:custGeom>
              <a:avLst/>
              <a:gdLst>
                <a:gd name="T0" fmla="*/ 20 w 40"/>
                <a:gd name="T1" fmla="*/ 39 h 39"/>
                <a:gd name="T2" fmla="*/ 40 w 40"/>
                <a:gd name="T3" fmla="*/ 19 h 39"/>
                <a:gd name="T4" fmla="*/ 20 w 40"/>
                <a:gd name="T5" fmla="*/ 0 h 39"/>
                <a:gd name="T6" fmla="*/ 0 w 40"/>
                <a:gd name="T7" fmla="*/ 19 h 39"/>
                <a:gd name="T8" fmla="*/ 20 w 40"/>
                <a:gd name="T9" fmla="*/ 39 h 39"/>
                <a:gd name="T10" fmla="*/ 20 w 40"/>
                <a:gd name="T11" fmla="*/ 11 h 39"/>
                <a:gd name="T12" fmla="*/ 29 w 40"/>
                <a:gd name="T13" fmla="*/ 19 h 39"/>
                <a:gd name="T14" fmla="*/ 20 w 40"/>
                <a:gd name="T15" fmla="*/ 28 h 39"/>
                <a:gd name="T16" fmla="*/ 11 w 40"/>
                <a:gd name="T17" fmla="*/ 19 h 39"/>
                <a:gd name="T18" fmla="*/ 20 w 40"/>
                <a:gd name="T19" fmla="*/ 1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39">
                  <a:moveTo>
                    <a:pt x="20" y="39"/>
                  </a:moveTo>
                  <a:cubicBezTo>
                    <a:pt x="31" y="39"/>
                    <a:pt x="40" y="30"/>
                    <a:pt x="40" y="19"/>
                  </a:cubicBezTo>
                  <a:cubicBezTo>
                    <a:pt x="40" y="8"/>
                    <a:pt x="31" y="0"/>
                    <a:pt x="20" y="0"/>
                  </a:cubicBezTo>
                  <a:cubicBezTo>
                    <a:pt x="9" y="0"/>
                    <a:pt x="0" y="8"/>
                    <a:pt x="0" y="19"/>
                  </a:cubicBezTo>
                  <a:cubicBezTo>
                    <a:pt x="0" y="30"/>
                    <a:pt x="9" y="39"/>
                    <a:pt x="20" y="39"/>
                  </a:cubicBezTo>
                  <a:close/>
                  <a:moveTo>
                    <a:pt x="20" y="11"/>
                  </a:moveTo>
                  <a:cubicBezTo>
                    <a:pt x="25" y="11"/>
                    <a:pt x="29" y="15"/>
                    <a:pt x="29" y="19"/>
                  </a:cubicBezTo>
                  <a:cubicBezTo>
                    <a:pt x="29" y="24"/>
                    <a:pt x="25" y="28"/>
                    <a:pt x="20" y="28"/>
                  </a:cubicBezTo>
                  <a:cubicBezTo>
                    <a:pt x="15" y="28"/>
                    <a:pt x="11" y="24"/>
                    <a:pt x="11" y="19"/>
                  </a:cubicBezTo>
                  <a:cubicBezTo>
                    <a:pt x="11" y="15"/>
                    <a:pt x="15" y="11"/>
                    <a:pt x="20" y="11"/>
                  </a:cubicBezTo>
                  <a:close/>
                </a:path>
              </a:pathLst>
            </a:custGeom>
            <a:solidFill>
              <a:srgbClr val="FFFFFF"/>
            </a:solidFill>
            <a:ln w="1270">
              <a:solidFill>
                <a:schemeClr val="tx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grpSp>
        <p:nvGrpSpPr>
          <p:cNvPr id="42" name="Group 79"/>
          <p:cNvGrpSpPr/>
          <p:nvPr/>
        </p:nvGrpSpPr>
        <p:grpSpPr>
          <a:xfrm>
            <a:off x="259080" y="4499560"/>
            <a:ext cx="298933" cy="300265"/>
            <a:chOff x="7240906" y="1266805"/>
            <a:chExt cx="436244" cy="438190"/>
          </a:xfrm>
        </p:grpSpPr>
        <p:sp>
          <p:nvSpPr>
            <p:cNvPr id="43" name="Rectangle 52"/>
            <p:cNvSpPr/>
            <p:nvPr/>
          </p:nvSpPr>
          <p:spPr>
            <a:xfrm>
              <a:off x="7240906" y="1266805"/>
              <a:ext cx="436244" cy="438190"/>
            </a:xfrm>
            <a:prstGeom prst="ellipse">
              <a:avLst/>
            </a:prstGeom>
            <a:solidFill>
              <a:srgbClr val="67B41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44" name="Gruppierung 84"/>
            <p:cNvGrpSpPr/>
            <p:nvPr/>
          </p:nvGrpSpPr>
          <p:grpSpPr>
            <a:xfrm rot="2700000">
              <a:off x="7406306" y="1370869"/>
              <a:ext cx="98602" cy="200332"/>
              <a:chOff x="4425275" y="4910228"/>
              <a:chExt cx="107999" cy="227829"/>
            </a:xfrm>
          </p:grpSpPr>
          <p:sp>
            <p:nvSpPr>
              <p:cNvPr id="45" name="Rectangle 6500"/>
              <p:cNvSpPr>
                <a:spLocks noChangeAspect="1" noChangeArrowheads="1"/>
              </p:cNvSpPr>
              <p:nvPr/>
            </p:nvSpPr>
            <p:spPr bwMode="auto">
              <a:xfrm rot="5400000">
                <a:off x="4412240" y="5017023"/>
                <a:ext cx="227829" cy="1423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46" name="Rectangle 65000"/>
              <p:cNvSpPr>
                <a:spLocks noChangeArrowheads="1"/>
              </p:cNvSpPr>
              <p:nvPr/>
            </p:nvSpPr>
            <p:spPr bwMode="auto">
              <a:xfrm rot="10800000">
                <a:off x="4425275" y="5123817"/>
                <a:ext cx="107999" cy="1423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51" name="Group 211"/>
          <p:cNvGrpSpPr>
            <a:grpSpLocks/>
          </p:cNvGrpSpPr>
          <p:nvPr/>
        </p:nvGrpSpPr>
        <p:grpSpPr bwMode="auto">
          <a:xfrm>
            <a:off x="309021" y="1552904"/>
            <a:ext cx="5568376" cy="2727810"/>
            <a:chOff x="2451" y="1353"/>
            <a:chExt cx="3605" cy="1766"/>
          </a:xfrm>
          <a:gradFill flip="none" rotWithShape="1">
            <a:gsLst>
              <a:gs pos="0">
                <a:srgbClr val="6FC9CC"/>
              </a:gs>
              <a:gs pos="100000">
                <a:srgbClr val="6FB9E2"/>
              </a:gs>
            </a:gsLst>
            <a:lin ang="0" scaled="1"/>
            <a:tileRect/>
          </a:gradFill>
        </p:grpSpPr>
        <p:sp>
          <p:nvSpPr>
            <p:cNvPr id="52" name="Freeform 11"/>
            <p:cNvSpPr>
              <a:spLocks/>
            </p:cNvSpPr>
            <p:nvPr/>
          </p:nvSpPr>
          <p:spPr bwMode="auto">
            <a:xfrm>
              <a:off x="4582" y="2680"/>
              <a:ext cx="1" cy="4"/>
            </a:xfrm>
            <a:custGeom>
              <a:avLst/>
              <a:gdLst>
                <a:gd name="T0" fmla="*/ 1 w 1"/>
                <a:gd name="T1" fmla="*/ 3 h 5"/>
                <a:gd name="T2" fmla="*/ 1 w 1"/>
                <a:gd name="T3" fmla="*/ 3 h 5"/>
                <a:gd name="T4" fmla="*/ 1 w 1"/>
                <a:gd name="T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5">
                  <a:moveTo>
                    <a:pt x="1" y="3"/>
                  </a:moveTo>
                  <a:cubicBezTo>
                    <a:pt x="1" y="3"/>
                    <a:pt x="1" y="3"/>
                    <a:pt x="1" y="3"/>
                  </a:cubicBezTo>
                  <a:cubicBezTo>
                    <a:pt x="0" y="0"/>
                    <a:pt x="1" y="5"/>
                    <a:pt x="1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3" name="Line 12"/>
            <p:cNvSpPr>
              <a:spLocks noChangeShapeType="1"/>
            </p:cNvSpPr>
            <p:nvPr/>
          </p:nvSpPr>
          <p:spPr bwMode="auto">
            <a:xfrm>
              <a:off x="4576" y="2722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4" name="Line 13"/>
            <p:cNvSpPr>
              <a:spLocks noChangeShapeType="1"/>
            </p:cNvSpPr>
            <p:nvPr/>
          </p:nvSpPr>
          <p:spPr bwMode="auto">
            <a:xfrm>
              <a:off x="4576" y="2722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5" name="Freeform 14"/>
            <p:cNvSpPr>
              <a:spLocks/>
            </p:cNvSpPr>
            <p:nvPr/>
          </p:nvSpPr>
          <p:spPr bwMode="auto">
            <a:xfrm>
              <a:off x="4573" y="2622"/>
              <a:ext cx="76" cy="140"/>
            </a:xfrm>
            <a:custGeom>
              <a:avLst/>
              <a:gdLst>
                <a:gd name="T0" fmla="*/ 95 w 102"/>
                <a:gd name="T1" fmla="*/ 26 h 189"/>
                <a:gd name="T2" fmla="*/ 94 w 102"/>
                <a:gd name="T3" fmla="*/ 16 h 189"/>
                <a:gd name="T4" fmla="*/ 91 w 102"/>
                <a:gd name="T5" fmla="*/ 7 h 189"/>
                <a:gd name="T6" fmla="*/ 85 w 102"/>
                <a:gd name="T7" fmla="*/ 1 h 189"/>
                <a:gd name="T8" fmla="*/ 79 w 102"/>
                <a:gd name="T9" fmla="*/ 4 h 189"/>
                <a:gd name="T10" fmla="*/ 79 w 102"/>
                <a:gd name="T11" fmla="*/ 12 h 189"/>
                <a:gd name="T12" fmla="*/ 75 w 102"/>
                <a:gd name="T13" fmla="*/ 18 h 189"/>
                <a:gd name="T14" fmla="*/ 66 w 102"/>
                <a:gd name="T15" fmla="*/ 22 h 189"/>
                <a:gd name="T16" fmla="*/ 65 w 102"/>
                <a:gd name="T17" fmla="*/ 27 h 189"/>
                <a:gd name="T18" fmla="*/ 64 w 102"/>
                <a:gd name="T19" fmla="*/ 34 h 189"/>
                <a:gd name="T20" fmla="*/ 57 w 102"/>
                <a:gd name="T21" fmla="*/ 38 h 189"/>
                <a:gd name="T22" fmla="*/ 53 w 102"/>
                <a:gd name="T23" fmla="*/ 44 h 189"/>
                <a:gd name="T24" fmla="*/ 44 w 102"/>
                <a:gd name="T25" fmla="*/ 49 h 189"/>
                <a:gd name="T26" fmla="*/ 41 w 102"/>
                <a:gd name="T27" fmla="*/ 52 h 189"/>
                <a:gd name="T28" fmla="*/ 33 w 102"/>
                <a:gd name="T29" fmla="*/ 53 h 189"/>
                <a:gd name="T30" fmla="*/ 24 w 102"/>
                <a:gd name="T31" fmla="*/ 56 h 189"/>
                <a:gd name="T32" fmla="*/ 18 w 102"/>
                <a:gd name="T33" fmla="*/ 61 h 189"/>
                <a:gd name="T34" fmla="*/ 14 w 102"/>
                <a:gd name="T35" fmla="*/ 71 h 189"/>
                <a:gd name="T36" fmla="*/ 13 w 102"/>
                <a:gd name="T37" fmla="*/ 77 h 189"/>
                <a:gd name="T38" fmla="*/ 14 w 102"/>
                <a:gd name="T39" fmla="*/ 85 h 189"/>
                <a:gd name="T40" fmla="*/ 16 w 102"/>
                <a:gd name="T41" fmla="*/ 99 h 189"/>
                <a:gd name="T42" fmla="*/ 18 w 102"/>
                <a:gd name="T43" fmla="*/ 105 h 189"/>
                <a:gd name="T44" fmla="*/ 15 w 102"/>
                <a:gd name="T45" fmla="*/ 115 h 189"/>
                <a:gd name="T46" fmla="*/ 10 w 102"/>
                <a:gd name="T47" fmla="*/ 122 h 189"/>
                <a:gd name="T48" fmla="*/ 10 w 102"/>
                <a:gd name="T49" fmla="*/ 127 h 189"/>
                <a:gd name="T50" fmla="*/ 5 w 102"/>
                <a:gd name="T51" fmla="*/ 131 h 189"/>
                <a:gd name="T52" fmla="*/ 6 w 102"/>
                <a:gd name="T53" fmla="*/ 141 h 189"/>
                <a:gd name="T54" fmla="*/ 3 w 102"/>
                <a:gd name="T55" fmla="*/ 147 h 189"/>
                <a:gd name="T56" fmla="*/ 8 w 102"/>
                <a:gd name="T57" fmla="*/ 158 h 189"/>
                <a:gd name="T58" fmla="*/ 7 w 102"/>
                <a:gd name="T59" fmla="*/ 167 h 189"/>
                <a:gd name="T60" fmla="*/ 9 w 102"/>
                <a:gd name="T61" fmla="*/ 172 h 189"/>
                <a:gd name="T62" fmla="*/ 14 w 102"/>
                <a:gd name="T63" fmla="*/ 181 h 189"/>
                <a:gd name="T64" fmla="*/ 20 w 102"/>
                <a:gd name="T65" fmla="*/ 184 h 189"/>
                <a:gd name="T66" fmla="*/ 25 w 102"/>
                <a:gd name="T67" fmla="*/ 186 h 189"/>
                <a:gd name="T68" fmla="*/ 30 w 102"/>
                <a:gd name="T69" fmla="*/ 189 h 189"/>
                <a:gd name="T70" fmla="*/ 40 w 102"/>
                <a:gd name="T71" fmla="*/ 185 h 189"/>
                <a:gd name="T72" fmla="*/ 47 w 102"/>
                <a:gd name="T73" fmla="*/ 183 h 189"/>
                <a:gd name="T74" fmla="*/ 53 w 102"/>
                <a:gd name="T75" fmla="*/ 179 h 189"/>
                <a:gd name="T76" fmla="*/ 58 w 102"/>
                <a:gd name="T77" fmla="*/ 172 h 189"/>
                <a:gd name="T78" fmla="*/ 60 w 102"/>
                <a:gd name="T79" fmla="*/ 165 h 189"/>
                <a:gd name="T80" fmla="*/ 63 w 102"/>
                <a:gd name="T81" fmla="*/ 154 h 189"/>
                <a:gd name="T82" fmla="*/ 65 w 102"/>
                <a:gd name="T83" fmla="*/ 145 h 189"/>
                <a:gd name="T84" fmla="*/ 68 w 102"/>
                <a:gd name="T85" fmla="*/ 135 h 189"/>
                <a:gd name="T86" fmla="*/ 71 w 102"/>
                <a:gd name="T87" fmla="*/ 125 h 189"/>
                <a:gd name="T88" fmla="*/ 75 w 102"/>
                <a:gd name="T89" fmla="*/ 117 h 189"/>
                <a:gd name="T90" fmla="*/ 78 w 102"/>
                <a:gd name="T91" fmla="*/ 109 h 189"/>
                <a:gd name="T92" fmla="*/ 81 w 102"/>
                <a:gd name="T93" fmla="*/ 97 h 189"/>
                <a:gd name="T94" fmla="*/ 84 w 102"/>
                <a:gd name="T95" fmla="*/ 87 h 189"/>
                <a:gd name="T96" fmla="*/ 86 w 102"/>
                <a:gd name="T97" fmla="*/ 75 h 189"/>
                <a:gd name="T98" fmla="*/ 91 w 102"/>
                <a:gd name="T99" fmla="*/ 64 h 189"/>
                <a:gd name="T100" fmla="*/ 90 w 102"/>
                <a:gd name="T101" fmla="*/ 53 h 189"/>
                <a:gd name="T102" fmla="*/ 91 w 102"/>
                <a:gd name="T103" fmla="*/ 46 h 189"/>
                <a:gd name="T104" fmla="*/ 98 w 102"/>
                <a:gd name="T105" fmla="*/ 50 h 189"/>
                <a:gd name="T106" fmla="*/ 101 w 102"/>
                <a:gd name="T107" fmla="*/ 44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2" h="189">
                  <a:moveTo>
                    <a:pt x="98" y="34"/>
                  </a:moveTo>
                  <a:cubicBezTo>
                    <a:pt x="96" y="31"/>
                    <a:pt x="95" y="28"/>
                    <a:pt x="95" y="26"/>
                  </a:cubicBezTo>
                  <a:cubicBezTo>
                    <a:pt x="94" y="25"/>
                    <a:pt x="94" y="22"/>
                    <a:pt x="94" y="20"/>
                  </a:cubicBezTo>
                  <a:cubicBezTo>
                    <a:pt x="94" y="19"/>
                    <a:pt x="95" y="16"/>
                    <a:pt x="94" y="16"/>
                  </a:cubicBezTo>
                  <a:cubicBezTo>
                    <a:pt x="93" y="16"/>
                    <a:pt x="92" y="12"/>
                    <a:pt x="92" y="12"/>
                  </a:cubicBezTo>
                  <a:cubicBezTo>
                    <a:pt x="92" y="12"/>
                    <a:pt x="92" y="8"/>
                    <a:pt x="91" y="7"/>
                  </a:cubicBezTo>
                  <a:cubicBezTo>
                    <a:pt x="90" y="6"/>
                    <a:pt x="91" y="2"/>
                    <a:pt x="89" y="2"/>
                  </a:cubicBezTo>
                  <a:cubicBezTo>
                    <a:pt x="87" y="3"/>
                    <a:pt x="86" y="1"/>
                    <a:pt x="85" y="1"/>
                  </a:cubicBezTo>
                  <a:cubicBezTo>
                    <a:pt x="84" y="1"/>
                    <a:pt x="83" y="0"/>
                    <a:pt x="83" y="0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79" y="4"/>
                    <a:pt x="77" y="5"/>
                    <a:pt x="78" y="7"/>
                  </a:cubicBezTo>
                  <a:cubicBezTo>
                    <a:pt x="78" y="8"/>
                    <a:pt x="79" y="12"/>
                    <a:pt x="79" y="12"/>
                  </a:cubicBezTo>
                  <a:cubicBezTo>
                    <a:pt x="79" y="12"/>
                    <a:pt x="81" y="13"/>
                    <a:pt x="79" y="15"/>
                  </a:cubicBezTo>
                  <a:cubicBezTo>
                    <a:pt x="79" y="15"/>
                    <a:pt x="76" y="16"/>
                    <a:pt x="75" y="18"/>
                  </a:cubicBezTo>
                  <a:cubicBezTo>
                    <a:pt x="73" y="21"/>
                    <a:pt x="72" y="21"/>
                    <a:pt x="71" y="22"/>
                  </a:cubicBezTo>
                  <a:cubicBezTo>
                    <a:pt x="67" y="22"/>
                    <a:pt x="66" y="21"/>
                    <a:pt x="66" y="22"/>
                  </a:cubicBezTo>
                  <a:cubicBezTo>
                    <a:pt x="66" y="24"/>
                    <a:pt x="67" y="24"/>
                    <a:pt x="66" y="25"/>
                  </a:cubicBezTo>
                  <a:cubicBezTo>
                    <a:pt x="65" y="27"/>
                    <a:pt x="65" y="27"/>
                    <a:pt x="65" y="27"/>
                  </a:cubicBezTo>
                  <a:cubicBezTo>
                    <a:pt x="65" y="27"/>
                    <a:pt x="66" y="27"/>
                    <a:pt x="65" y="29"/>
                  </a:cubicBezTo>
                  <a:cubicBezTo>
                    <a:pt x="64" y="32"/>
                    <a:pt x="64" y="34"/>
                    <a:pt x="64" y="34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0" y="36"/>
                    <a:pt x="57" y="38"/>
                    <a:pt x="57" y="38"/>
                  </a:cubicBezTo>
                  <a:cubicBezTo>
                    <a:pt x="58" y="41"/>
                    <a:pt x="57" y="40"/>
                    <a:pt x="56" y="42"/>
                  </a:cubicBezTo>
                  <a:cubicBezTo>
                    <a:pt x="56" y="45"/>
                    <a:pt x="53" y="44"/>
                    <a:pt x="53" y="44"/>
                  </a:cubicBezTo>
                  <a:cubicBezTo>
                    <a:pt x="50" y="45"/>
                    <a:pt x="50" y="44"/>
                    <a:pt x="49" y="45"/>
                  </a:cubicBezTo>
                  <a:cubicBezTo>
                    <a:pt x="46" y="48"/>
                    <a:pt x="44" y="49"/>
                    <a:pt x="44" y="49"/>
                  </a:cubicBezTo>
                  <a:cubicBezTo>
                    <a:pt x="44" y="49"/>
                    <a:pt x="46" y="51"/>
                    <a:pt x="45" y="53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28" y="53"/>
                    <a:pt x="27" y="53"/>
                  </a:cubicBezTo>
                  <a:cubicBezTo>
                    <a:pt x="27" y="53"/>
                    <a:pt x="25" y="55"/>
                    <a:pt x="24" y="56"/>
                  </a:cubicBezTo>
                  <a:cubicBezTo>
                    <a:pt x="24" y="56"/>
                    <a:pt x="21" y="54"/>
                    <a:pt x="20" y="55"/>
                  </a:cubicBezTo>
                  <a:cubicBezTo>
                    <a:pt x="18" y="59"/>
                    <a:pt x="18" y="60"/>
                    <a:pt x="18" y="61"/>
                  </a:cubicBezTo>
                  <a:cubicBezTo>
                    <a:pt x="18" y="65"/>
                    <a:pt x="16" y="66"/>
                    <a:pt x="15" y="68"/>
                  </a:cubicBezTo>
                  <a:cubicBezTo>
                    <a:pt x="14" y="70"/>
                    <a:pt x="15" y="69"/>
                    <a:pt x="14" y="71"/>
                  </a:cubicBezTo>
                  <a:cubicBezTo>
                    <a:pt x="14" y="73"/>
                    <a:pt x="13" y="73"/>
                    <a:pt x="13" y="74"/>
                  </a:cubicBezTo>
                  <a:cubicBezTo>
                    <a:pt x="13" y="76"/>
                    <a:pt x="14" y="75"/>
                    <a:pt x="13" y="77"/>
                  </a:cubicBezTo>
                  <a:cubicBezTo>
                    <a:pt x="13" y="80"/>
                    <a:pt x="13" y="80"/>
                    <a:pt x="13" y="81"/>
                  </a:cubicBezTo>
                  <a:cubicBezTo>
                    <a:pt x="13" y="82"/>
                    <a:pt x="13" y="83"/>
                    <a:pt x="14" y="85"/>
                  </a:cubicBezTo>
                  <a:cubicBezTo>
                    <a:pt x="15" y="94"/>
                    <a:pt x="14" y="96"/>
                    <a:pt x="14" y="96"/>
                  </a:cubicBezTo>
                  <a:cubicBezTo>
                    <a:pt x="14" y="96"/>
                    <a:pt x="15" y="97"/>
                    <a:pt x="16" y="99"/>
                  </a:cubicBezTo>
                  <a:cubicBezTo>
                    <a:pt x="17" y="100"/>
                    <a:pt x="17" y="101"/>
                    <a:pt x="18" y="103"/>
                  </a:cubicBezTo>
                  <a:cubicBezTo>
                    <a:pt x="18" y="105"/>
                    <a:pt x="18" y="101"/>
                    <a:pt x="18" y="105"/>
                  </a:cubicBezTo>
                  <a:cubicBezTo>
                    <a:pt x="18" y="109"/>
                    <a:pt x="18" y="110"/>
                    <a:pt x="17" y="112"/>
                  </a:cubicBezTo>
                  <a:cubicBezTo>
                    <a:pt x="15" y="113"/>
                    <a:pt x="16" y="112"/>
                    <a:pt x="15" y="115"/>
                  </a:cubicBezTo>
                  <a:cubicBezTo>
                    <a:pt x="14" y="118"/>
                    <a:pt x="13" y="119"/>
                    <a:pt x="12" y="120"/>
                  </a:cubicBezTo>
                  <a:cubicBezTo>
                    <a:pt x="12" y="121"/>
                    <a:pt x="10" y="120"/>
                    <a:pt x="10" y="122"/>
                  </a:cubicBezTo>
                  <a:cubicBezTo>
                    <a:pt x="10" y="125"/>
                    <a:pt x="11" y="123"/>
                    <a:pt x="10" y="125"/>
                  </a:cubicBezTo>
                  <a:cubicBezTo>
                    <a:pt x="10" y="127"/>
                    <a:pt x="10" y="127"/>
                    <a:pt x="10" y="127"/>
                  </a:cubicBezTo>
                  <a:cubicBezTo>
                    <a:pt x="10" y="127"/>
                    <a:pt x="7" y="126"/>
                    <a:pt x="7" y="128"/>
                  </a:cubicBezTo>
                  <a:cubicBezTo>
                    <a:pt x="6" y="129"/>
                    <a:pt x="5" y="130"/>
                    <a:pt x="5" y="131"/>
                  </a:cubicBezTo>
                  <a:cubicBezTo>
                    <a:pt x="4" y="135"/>
                    <a:pt x="4" y="133"/>
                    <a:pt x="4" y="135"/>
                  </a:cubicBezTo>
                  <a:cubicBezTo>
                    <a:pt x="5" y="139"/>
                    <a:pt x="8" y="141"/>
                    <a:pt x="6" y="141"/>
                  </a:cubicBezTo>
                  <a:cubicBezTo>
                    <a:pt x="3" y="142"/>
                    <a:pt x="3" y="143"/>
                    <a:pt x="3" y="144"/>
                  </a:cubicBezTo>
                  <a:cubicBezTo>
                    <a:pt x="3" y="144"/>
                    <a:pt x="3" y="145"/>
                    <a:pt x="3" y="147"/>
                  </a:cubicBezTo>
                  <a:cubicBezTo>
                    <a:pt x="3" y="149"/>
                    <a:pt x="0" y="148"/>
                    <a:pt x="4" y="151"/>
                  </a:cubicBezTo>
                  <a:cubicBezTo>
                    <a:pt x="7" y="154"/>
                    <a:pt x="8" y="156"/>
                    <a:pt x="8" y="158"/>
                  </a:cubicBezTo>
                  <a:cubicBezTo>
                    <a:pt x="8" y="159"/>
                    <a:pt x="9" y="153"/>
                    <a:pt x="8" y="160"/>
                  </a:cubicBezTo>
                  <a:cubicBezTo>
                    <a:pt x="7" y="167"/>
                    <a:pt x="7" y="167"/>
                    <a:pt x="7" y="167"/>
                  </a:cubicBezTo>
                  <a:cubicBezTo>
                    <a:pt x="7" y="167"/>
                    <a:pt x="7" y="169"/>
                    <a:pt x="7" y="170"/>
                  </a:cubicBezTo>
                  <a:cubicBezTo>
                    <a:pt x="7" y="170"/>
                    <a:pt x="8" y="171"/>
                    <a:pt x="9" y="172"/>
                  </a:cubicBezTo>
                  <a:cubicBezTo>
                    <a:pt x="10" y="174"/>
                    <a:pt x="11" y="176"/>
                    <a:pt x="11" y="177"/>
                  </a:cubicBezTo>
                  <a:cubicBezTo>
                    <a:pt x="14" y="181"/>
                    <a:pt x="14" y="181"/>
                    <a:pt x="14" y="181"/>
                  </a:cubicBezTo>
                  <a:cubicBezTo>
                    <a:pt x="18" y="182"/>
                    <a:pt x="18" y="182"/>
                    <a:pt x="18" y="182"/>
                  </a:cubicBezTo>
                  <a:cubicBezTo>
                    <a:pt x="20" y="184"/>
                    <a:pt x="20" y="184"/>
                    <a:pt x="20" y="184"/>
                  </a:cubicBezTo>
                  <a:cubicBezTo>
                    <a:pt x="22" y="186"/>
                    <a:pt x="22" y="186"/>
                    <a:pt x="22" y="186"/>
                  </a:cubicBezTo>
                  <a:cubicBezTo>
                    <a:pt x="25" y="186"/>
                    <a:pt x="25" y="186"/>
                    <a:pt x="25" y="186"/>
                  </a:cubicBezTo>
                  <a:cubicBezTo>
                    <a:pt x="28" y="188"/>
                    <a:pt x="28" y="188"/>
                    <a:pt x="28" y="188"/>
                  </a:cubicBezTo>
                  <a:cubicBezTo>
                    <a:pt x="30" y="189"/>
                    <a:pt x="30" y="189"/>
                    <a:pt x="30" y="189"/>
                  </a:cubicBezTo>
                  <a:cubicBezTo>
                    <a:pt x="34" y="188"/>
                    <a:pt x="34" y="188"/>
                    <a:pt x="34" y="188"/>
                  </a:cubicBezTo>
                  <a:cubicBezTo>
                    <a:pt x="40" y="185"/>
                    <a:pt x="40" y="185"/>
                    <a:pt x="40" y="185"/>
                  </a:cubicBezTo>
                  <a:cubicBezTo>
                    <a:pt x="44" y="183"/>
                    <a:pt x="44" y="183"/>
                    <a:pt x="44" y="183"/>
                  </a:cubicBezTo>
                  <a:cubicBezTo>
                    <a:pt x="44" y="183"/>
                    <a:pt x="46" y="182"/>
                    <a:pt x="47" y="183"/>
                  </a:cubicBezTo>
                  <a:cubicBezTo>
                    <a:pt x="50" y="183"/>
                    <a:pt x="50" y="183"/>
                    <a:pt x="50" y="183"/>
                  </a:cubicBezTo>
                  <a:cubicBezTo>
                    <a:pt x="53" y="181"/>
                    <a:pt x="53" y="179"/>
                    <a:pt x="53" y="179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6" y="176"/>
                    <a:pt x="57" y="173"/>
                    <a:pt x="58" y="172"/>
                  </a:cubicBezTo>
                  <a:cubicBezTo>
                    <a:pt x="59" y="171"/>
                    <a:pt x="58" y="169"/>
                    <a:pt x="58" y="169"/>
                  </a:cubicBezTo>
                  <a:cubicBezTo>
                    <a:pt x="58" y="169"/>
                    <a:pt x="60" y="169"/>
                    <a:pt x="60" y="165"/>
                  </a:cubicBezTo>
                  <a:cubicBezTo>
                    <a:pt x="61" y="161"/>
                    <a:pt x="62" y="159"/>
                    <a:pt x="62" y="159"/>
                  </a:cubicBezTo>
                  <a:cubicBezTo>
                    <a:pt x="62" y="159"/>
                    <a:pt x="63" y="155"/>
                    <a:pt x="63" y="154"/>
                  </a:cubicBezTo>
                  <a:cubicBezTo>
                    <a:pt x="63" y="153"/>
                    <a:pt x="64" y="149"/>
                    <a:pt x="64" y="149"/>
                  </a:cubicBezTo>
                  <a:cubicBezTo>
                    <a:pt x="65" y="145"/>
                    <a:pt x="65" y="145"/>
                    <a:pt x="65" y="145"/>
                  </a:cubicBezTo>
                  <a:cubicBezTo>
                    <a:pt x="68" y="140"/>
                    <a:pt x="68" y="140"/>
                    <a:pt x="68" y="140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35"/>
                    <a:pt x="69" y="132"/>
                    <a:pt x="69" y="131"/>
                  </a:cubicBezTo>
                  <a:cubicBezTo>
                    <a:pt x="69" y="129"/>
                    <a:pt x="71" y="126"/>
                    <a:pt x="71" y="125"/>
                  </a:cubicBezTo>
                  <a:cubicBezTo>
                    <a:pt x="71" y="124"/>
                    <a:pt x="73" y="122"/>
                    <a:pt x="73" y="121"/>
                  </a:cubicBezTo>
                  <a:cubicBezTo>
                    <a:pt x="74" y="120"/>
                    <a:pt x="75" y="117"/>
                    <a:pt x="75" y="117"/>
                  </a:cubicBezTo>
                  <a:cubicBezTo>
                    <a:pt x="75" y="117"/>
                    <a:pt x="77" y="114"/>
                    <a:pt x="77" y="113"/>
                  </a:cubicBezTo>
                  <a:cubicBezTo>
                    <a:pt x="77" y="112"/>
                    <a:pt x="78" y="109"/>
                    <a:pt x="78" y="109"/>
                  </a:cubicBezTo>
                  <a:cubicBezTo>
                    <a:pt x="78" y="109"/>
                    <a:pt x="81" y="104"/>
                    <a:pt x="81" y="103"/>
                  </a:cubicBezTo>
                  <a:cubicBezTo>
                    <a:pt x="81" y="102"/>
                    <a:pt x="81" y="97"/>
                    <a:pt x="81" y="97"/>
                  </a:cubicBezTo>
                  <a:cubicBezTo>
                    <a:pt x="81" y="96"/>
                    <a:pt x="84" y="90"/>
                    <a:pt x="84" y="90"/>
                  </a:cubicBezTo>
                  <a:cubicBezTo>
                    <a:pt x="84" y="90"/>
                    <a:pt x="84" y="88"/>
                    <a:pt x="84" y="87"/>
                  </a:cubicBezTo>
                  <a:cubicBezTo>
                    <a:pt x="84" y="86"/>
                    <a:pt x="86" y="80"/>
                    <a:pt x="86" y="79"/>
                  </a:cubicBezTo>
                  <a:cubicBezTo>
                    <a:pt x="86" y="78"/>
                    <a:pt x="86" y="76"/>
                    <a:pt x="86" y="75"/>
                  </a:cubicBezTo>
                  <a:cubicBezTo>
                    <a:pt x="85" y="73"/>
                    <a:pt x="85" y="68"/>
                    <a:pt x="86" y="67"/>
                  </a:cubicBezTo>
                  <a:cubicBezTo>
                    <a:pt x="86" y="67"/>
                    <a:pt x="89" y="63"/>
                    <a:pt x="91" y="64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0"/>
                    <a:pt x="90" y="49"/>
                  </a:cubicBezTo>
                  <a:cubicBezTo>
                    <a:pt x="91" y="48"/>
                    <a:pt x="90" y="45"/>
                    <a:pt x="91" y="46"/>
                  </a:cubicBezTo>
                  <a:cubicBezTo>
                    <a:pt x="93" y="46"/>
                    <a:pt x="92" y="49"/>
                    <a:pt x="93" y="50"/>
                  </a:cubicBezTo>
                  <a:cubicBezTo>
                    <a:pt x="97" y="52"/>
                    <a:pt x="98" y="50"/>
                    <a:pt x="98" y="50"/>
                  </a:cubicBezTo>
                  <a:cubicBezTo>
                    <a:pt x="98" y="50"/>
                    <a:pt x="99" y="49"/>
                    <a:pt x="100" y="48"/>
                  </a:cubicBezTo>
                  <a:cubicBezTo>
                    <a:pt x="101" y="46"/>
                    <a:pt x="102" y="46"/>
                    <a:pt x="101" y="44"/>
                  </a:cubicBezTo>
                  <a:cubicBezTo>
                    <a:pt x="101" y="42"/>
                    <a:pt x="98" y="34"/>
                    <a:pt x="98" y="3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6" name="Freeform 15"/>
            <p:cNvSpPr>
              <a:spLocks/>
            </p:cNvSpPr>
            <p:nvPr/>
          </p:nvSpPr>
          <p:spPr bwMode="auto">
            <a:xfrm>
              <a:off x="3232" y="1572"/>
              <a:ext cx="294" cy="208"/>
            </a:xfrm>
            <a:custGeom>
              <a:avLst/>
              <a:gdLst>
                <a:gd name="T0" fmla="*/ 236 w 395"/>
                <a:gd name="T1" fmla="*/ 62 h 280"/>
                <a:gd name="T2" fmla="*/ 224 w 395"/>
                <a:gd name="T3" fmla="*/ 54 h 280"/>
                <a:gd name="T4" fmla="*/ 218 w 395"/>
                <a:gd name="T5" fmla="*/ 46 h 280"/>
                <a:gd name="T6" fmla="*/ 198 w 395"/>
                <a:gd name="T7" fmla="*/ 34 h 280"/>
                <a:gd name="T8" fmla="*/ 161 w 395"/>
                <a:gd name="T9" fmla="*/ 38 h 280"/>
                <a:gd name="T10" fmla="*/ 149 w 395"/>
                <a:gd name="T11" fmla="*/ 40 h 280"/>
                <a:gd name="T12" fmla="*/ 128 w 395"/>
                <a:gd name="T13" fmla="*/ 46 h 280"/>
                <a:gd name="T14" fmla="*/ 130 w 395"/>
                <a:gd name="T15" fmla="*/ 18 h 280"/>
                <a:gd name="T16" fmla="*/ 110 w 395"/>
                <a:gd name="T17" fmla="*/ 4 h 280"/>
                <a:gd name="T18" fmla="*/ 73 w 395"/>
                <a:gd name="T19" fmla="*/ 15 h 280"/>
                <a:gd name="T20" fmla="*/ 66 w 395"/>
                <a:gd name="T21" fmla="*/ 38 h 280"/>
                <a:gd name="T22" fmla="*/ 63 w 395"/>
                <a:gd name="T23" fmla="*/ 51 h 280"/>
                <a:gd name="T24" fmla="*/ 61 w 395"/>
                <a:gd name="T25" fmla="*/ 56 h 280"/>
                <a:gd name="T26" fmla="*/ 57 w 395"/>
                <a:gd name="T27" fmla="*/ 25 h 280"/>
                <a:gd name="T28" fmla="*/ 9 w 395"/>
                <a:gd name="T29" fmla="*/ 34 h 280"/>
                <a:gd name="T30" fmla="*/ 25 w 395"/>
                <a:gd name="T31" fmla="*/ 85 h 280"/>
                <a:gd name="T32" fmla="*/ 102 w 395"/>
                <a:gd name="T33" fmla="*/ 99 h 280"/>
                <a:gd name="T34" fmla="*/ 134 w 395"/>
                <a:gd name="T35" fmla="*/ 98 h 280"/>
                <a:gd name="T36" fmla="*/ 159 w 395"/>
                <a:gd name="T37" fmla="*/ 100 h 280"/>
                <a:gd name="T38" fmla="*/ 154 w 395"/>
                <a:gd name="T39" fmla="*/ 87 h 280"/>
                <a:gd name="T40" fmla="*/ 171 w 395"/>
                <a:gd name="T41" fmla="*/ 101 h 280"/>
                <a:gd name="T42" fmla="*/ 188 w 395"/>
                <a:gd name="T43" fmla="*/ 111 h 280"/>
                <a:gd name="T44" fmla="*/ 185 w 395"/>
                <a:gd name="T45" fmla="*/ 124 h 280"/>
                <a:gd name="T46" fmla="*/ 211 w 395"/>
                <a:gd name="T47" fmla="*/ 125 h 280"/>
                <a:gd name="T48" fmla="*/ 224 w 395"/>
                <a:gd name="T49" fmla="*/ 136 h 280"/>
                <a:gd name="T50" fmla="*/ 240 w 395"/>
                <a:gd name="T51" fmla="*/ 167 h 280"/>
                <a:gd name="T52" fmla="*/ 221 w 395"/>
                <a:gd name="T53" fmla="*/ 193 h 280"/>
                <a:gd name="T54" fmla="*/ 205 w 395"/>
                <a:gd name="T55" fmla="*/ 206 h 280"/>
                <a:gd name="T56" fmla="*/ 191 w 395"/>
                <a:gd name="T57" fmla="*/ 206 h 280"/>
                <a:gd name="T58" fmla="*/ 167 w 395"/>
                <a:gd name="T59" fmla="*/ 225 h 280"/>
                <a:gd name="T60" fmla="*/ 196 w 395"/>
                <a:gd name="T61" fmla="*/ 226 h 280"/>
                <a:gd name="T62" fmla="*/ 210 w 395"/>
                <a:gd name="T63" fmla="*/ 219 h 280"/>
                <a:gd name="T64" fmla="*/ 230 w 395"/>
                <a:gd name="T65" fmla="*/ 224 h 280"/>
                <a:gd name="T66" fmla="*/ 245 w 395"/>
                <a:gd name="T67" fmla="*/ 240 h 280"/>
                <a:gd name="T68" fmla="*/ 260 w 395"/>
                <a:gd name="T69" fmla="*/ 254 h 280"/>
                <a:gd name="T70" fmla="*/ 277 w 395"/>
                <a:gd name="T71" fmla="*/ 261 h 280"/>
                <a:gd name="T72" fmla="*/ 308 w 395"/>
                <a:gd name="T73" fmla="*/ 274 h 280"/>
                <a:gd name="T74" fmla="*/ 324 w 395"/>
                <a:gd name="T75" fmla="*/ 269 h 280"/>
                <a:gd name="T76" fmla="*/ 294 w 395"/>
                <a:gd name="T77" fmla="*/ 239 h 280"/>
                <a:gd name="T78" fmla="*/ 333 w 395"/>
                <a:gd name="T79" fmla="*/ 257 h 280"/>
                <a:gd name="T80" fmla="*/ 342 w 395"/>
                <a:gd name="T81" fmla="*/ 261 h 280"/>
                <a:gd name="T82" fmla="*/ 348 w 395"/>
                <a:gd name="T83" fmla="*/ 245 h 280"/>
                <a:gd name="T84" fmla="*/ 339 w 395"/>
                <a:gd name="T85" fmla="*/ 222 h 280"/>
                <a:gd name="T86" fmla="*/ 318 w 395"/>
                <a:gd name="T87" fmla="*/ 209 h 280"/>
                <a:gd name="T88" fmla="*/ 302 w 395"/>
                <a:gd name="T89" fmla="*/ 193 h 280"/>
                <a:gd name="T90" fmla="*/ 310 w 395"/>
                <a:gd name="T91" fmla="*/ 193 h 280"/>
                <a:gd name="T92" fmla="*/ 315 w 395"/>
                <a:gd name="T93" fmla="*/ 178 h 280"/>
                <a:gd name="T94" fmla="*/ 334 w 395"/>
                <a:gd name="T95" fmla="*/ 191 h 280"/>
                <a:gd name="T96" fmla="*/ 351 w 395"/>
                <a:gd name="T97" fmla="*/ 207 h 280"/>
                <a:gd name="T98" fmla="*/ 368 w 395"/>
                <a:gd name="T99" fmla="*/ 198 h 280"/>
                <a:gd name="T100" fmla="*/ 381 w 395"/>
                <a:gd name="T101" fmla="*/ 183 h 280"/>
                <a:gd name="T102" fmla="*/ 382 w 395"/>
                <a:gd name="T103" fmla="*/ 168 h 280"/>
                <a:gd name="T104" fmla="*/ 368 w 395"/>
                <a:gd name="T105" fmla="*/ 154 h 280"/>
                <a:gd name="T106" fmla="*/ 347 w 395"/>
                <a:gd name="T107" fmla="*/ 146 h 280"/>
                <a:gd name="T108" fmla="*/ 331 w 395"/>
                <a:gd name="T109" fmla="*/ 144 h 280"/>
                <a:gd name="T110" fmla="*/ 311 w 395"/>
                <a:gd name="T111" fmla="*/ 137 h 280"/>
                <a:gd name="T112" fmla="*/ 298 w 395"/>
                <a:gd name="T113" fmla="*/ 128 h 280"/>
                <a:gd name="T114" fmla="*/ 307 w 395"/>
                <a:gd name="T115" fmla="*/ 117 h 280"/>
                <a:gd name="T116" fmla="*/ 299 w 395"/>
                <a:gd name="T117" fmla="*/ 109 h 280"/>
                <a:gd name="T118" fmla="*/ 304 w 395"/>
                <a:gd name="T119" fmla="*/ 91 h 280"/>
                <a:gd name="T120" fmla="*/ 299 w 395"/>
                <a:gd name="T121" fmla="*/ 86 h 280"/>
                <a:gd name="T122" fmla="*/ 274 w 395"/>
                <a:gd name="T123" fmla="*/ 81 h 280"/>
                <a:gd name="T124" fmla="*/ 269 w 395"/>
                <a:gd name="T125" fmla="*/ 75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5" h="280">
                  <a:moveTo>
                    <a:pt x="259" y="68"/>
                  </a:moveTo>
                  <a:cubicBezTo>
                    <a:pt x="259" y="68"/>
                    <a:pt x="259" y="66"/>
                    <a:pt x="259" y="65"/>
                  </a:cubicBezTo>
                  <a:cubicBezTo>
                    <a:pt x="259" y="64"/>
                    <a:pt x="257" y="63"/>
                    <a:pt x="257" y="62"/>
                  </a:cubicBezTo>
                  <a:cubicBezTo>
                    <a:pt x="256" y="62"/>
                    <a:pt x="254" y="60"/>
                    <a:pt x="253" y="60"/>
                  </a:cubicBezTo>
                  <a:cubicBezTo>
                    <a:pt x="251" y="60"/>
                    <a:pt x="251" y="58"/>
                    <a:pt x="249" y="58"/>
                  </a:cubicBezTo>
                  <a:cubicBezTo>
                    <a:pt x="247" y="59"/>
                    <a:pt x="246" y="58"/>
                    <a:pt x="245" y="59"/>
                  </a:cubicBezTo>
                  <a:cubicBezTo>
                    <a:pt x="243" y="59"/>
                    <a:pt x="244" y="58"/>
                    <a:pt x="243" y="58"/>
                  </a:cubicBezTo>
                  <a:cubicBezTo>
                    <a:pt x="241" y="58"/>
                    <a:pt x="241" y="58"/>
                    <a:pt x="240" y="59"/>
                  </a:cubicBezTo>
                  <a:cubicBezTo>
                    <a:pt x="239" y="60"/>
                    <a:pt x="239" y="59"/>
                    <a:pt x="238" y="60"/>
                  </a:cubicBezTo>
                  <a:cubicBezTo>
                    <a:pt x="238" y="60"/>
                    <a:pt x="238" y="60"/>
                    <a:pt x="236" y="62"/>
                  </a:cubicBezTo>
                  <a:cubicBezTo>
                    <a:pt x="234" y="63"/>
                    <a:pt x="234" y="62"/>
                    <a:pt x="234" y="63"/>
                  </a:cubicBezTo>
                  <a:cubicBezTo>
                    <a:pt x="234" y="63"/>
                    <a:pt x="234" y="59"/>
                    <a:pt x="233" y="60"/>
                  </a:cubicBezTo>
                  <a:cubicBezTo>
                    <a:pt x="231" y="64"/>
                    <a:pt x="232" y="62"/>
                    <a:pt x="230" y="64"/>
                  </a:cubicBezTo>
                  <a:cubicBezTo>
                    <a:pt x="228" y="65"/>
                    <a:pt x="227" y="65"/>
                    <a:pt x="227" y="65"/>
                  </a:cubicBezTo>
                  <a:cubicBezTo>
                    <a:pt x="227" y="62"/>
                    <a:pt x="227" y="62"/>
                    <a:pt x="227" y="62"/>
                  </a:cubicBezTo>
                  <a:cubicBezTo>
                    <a:pt x="227" y="62"/>
                    <a:pt x="227" y="60"/>
                    <a:pt x="226" y="60"/>
                  </a:cubicBezTo>
                  <a:cubicBezTo>
                    <a:pt x="226" y="60"/>
                    <a:pt x="226" y="60"/>
                    <a:pt x="224" y="60"/>
                  </a:cubicBezTo>
                  <a:cubicBezTo>
                    <a:pt x="223" y="61"/>
                    <a:pt x="222" y="60"/>
                    <a:pt x="223" y="60"/>
                  </a:cubicBezTo>
                  <a:cubicBezTo>
                    <a:pt x="224" y="59"/>
                    <a:pt x="225" y="57"/>
                    <a:pt x="225" y="57"/>
                  </a:cubicBezTo>
                  <a:cubicBezTo>
                    <a:pt x="226" y="56"/>
                    <a:pt x="225" y="54"/>
                    <a:pt x="224" y="54"/>
                  </a:cubicBezTo>
                  <a:cubicBezTo>
                    <a:pt x="224" y="55"/>
                    <a:pt x="223" y="54"/>
                    <a:pt x="222" y="55"/>
                  </a:cubicBezTo>
                  <a:cubicBezTo>
                    <a:pt x="220" y="56"/>
                    <a:pt x="222" y="55"/>
                    <a:pt x="220" y="56"/>
                  </a:cubicBezTo>
                  <a:cubicBezTo>
                    <a:pt x="218" y="56"/>
                    <a:pt x="219" y="55"/>
                    <a:pt x="217" y="56"/>
                  </a:cubicBezTo>
                  <a:cubicBezTo>
                    <a:pt x="215" y="57"/>
                    <a:pt x="214" y="57"/>
                    <a:pt x="214" y="57"/>
                  </a:cubicBezTo>
                  <a:cubicBezTo>
                    <a:pt x="214" y="57"/>
                    <a:pt x="213" y="54"/>
                    <a:pt x="214" y="54"/>
                  </a:cubicBezTo>
                  <a:cubicBezTo>
                    <a:pt x="214" y="54"/>
                    <a:pt x="215" y="53"/>
                    <a:pt x="216" y="53"/>
                  </a:cubicBezTo>
                  <a:cubicBezTo>
                    <a:pt x="217" y="52"/>
                    <a:pt x="218" y="52"/>
                    <a:pt x="219" y="51"/>
                  </a:cubicBezTo>
                  <a:cubicBezTo>
                    <a:pt x="219" y="51"/>
                    <a:pt x="219" y="50"/>
                    <a:pt x="219" y="49"/>
                  </a:cubicBezTo>
                  <a:cubicBezTo>
                    <a:pt x="219" y="47"/>
                    <a:pt x="219" y="47"/>
                    <a:pt x="219" y="47"/>
                  </a:cubicBezTo>
                  <a:cubicBezTo>
                    <a:pt x="219" y="47"/>
                    <a:pt x="219" y="45"/>
                    <a:pt x="218" y="46"/>
                  </a:cubicBezTo>
                  <a:cubicBezTo>
                    <a:pt x="217" y="46"/>
                    <a:pt x="217" y="43"/>
                    <a:pt x="216" y="44"/>
                  </a:cubicBezTo>
                  <a:cubicBezTo>
                    <a:pt x="214" y="45"/>
                    <a:pt x="214" y="43"/>
                    <a:pt x="214" y="44"/>
                  </a:cubicBezTo>
                  <a:cubicBezTo>
                    <a:pt x="213" y="44"/>
                    <a:pt x="210" y="45"/>
                    <a:pt x="210" y="45"/>
                  </a:cubicBezTo>
                  <a:cubicBezTo>
                    <a:pt x="209" y="44"/>
                    <a:pt x="208" y="43"/>
                    <a:pt x="208" y="43"/>
                  </a:cubicBezTo>
                  <a:cubicBezTo>
                    <a:pt x="205" y="42"/>
                    <a:pt x="205" y="42"/>
                    <a:pt x="205" y="42"/>
                  </a:cubicBezTo>
                  <a:cubicBezTo>
                    <a:pt x="205" y="40"/>
                    <a:pt x="205" y="40"/>
                    <a:pt x="205" y="40"/>
                  </a:cubicBezTo>
                  <a:cubicBezTo>
                    <a:pt x="204" y="38"/>
                    <a:pt x="204" y="38"/>
                    <a:pt x="204" y="38"/>
                  </a:cubicBezTo>
                  <a:cubicBezTo>
                    <a:pt x="203" y="35"/>
                    <a:pt x="203" y="35"/>
                    <a:pt x="203" y="35"/>
                  </a:cubicBezTo>
                  <a:cubicBezTo>
                    <a:pt x="200" y="35"/>
                    <a:pt x="200" y="35"/>
                    <a:pt x="200" y="35"/>
                  </a:cubicBezTo>
                  <a:cubicBezTo>
                    <a:pt x="200" y="35"/>
                    <a:pt x="199" y="33"/>
                    <a:pt x="198" y="34"/>
                  </a:cubicBezTo>
                  <a:cubicBezTo>
                    <a:pt x="196" y="35"/>
                    <a:pt x="195" y="35"/>
                    <a:pt x="195" y="35"/>
                  </a:cubicBezTo>
                  <a:cubicBezTo>
                    <a:pt x="194" y="34"/>
                    <a:pt x="194" y="34"/>
                    <a:pt x="193" y="33"/>
                  </a:cubicBezTo>
                  <a:cubicBezTo>
                    <a:pt x="190" y="32"/>
                    <a:pt x="190" y="31"/>
                    <a:pt x="189" y="31"/>
                  </a:cubicBezTo>
                  <a:cubicBezTo>
                    <a:pt x="188" y="32"/>
                    <a:pt x="187" y="30"/>
                    <a:pt x="186" y="30"/>
                  </a:cubicBezTo>
                  <a:cubicBezTo>
                    <a:pt x="185" y="30"/>
                    <a:pt x="179" y="30"/>
                    <a:pt x="178" y="30"/>
                  </a:cubicBezTo>
                  <a:cubicBezTo>
                    <a:pt x="178" y="30"/>
                    <a:pt x="179" y="27"/>
                    <a:pt x="174" y="28"/>
                  </a:cubicBezTo>
                  <a:cubicBezTo>
                    <a:pt x="170" y="29"/>
                    <a:pt x="168" y="30"/>
                    <a:pt x="167" y="31"/>
                  </a:cubicBezTo>
                  <a:cubicBezTo>
                    <a:pt x="165" y="32"/>
                    <a:pt x="164" y="32"/>
                    <a:pt x="162" y="34"/>
                  </a:cubicBezTo>
                  <a:cubicBezTo>
                    <a:pt x="161" y="35"/>
                    <a:pt x="160" y="35"/>
                    <a:pt x="160" y="36"/>
                  </a:cubicBezTo>
                  <a:cubicBezTo>
                    <a:pt x="160" y="37"/>
                    <a:pt x="162" y="37"/>
                    <a:pt x="161" y="38"/>
                  </a:cubicBezTo>
                  <a:cubicBezTo>
                    <a:pt x="156" y="41"/>
                    <a:pt x="156" y="40"/>
                    <a:pt x="156" y="42"/>
                  </a:cubicBezTo>
                  <a:cubicBezTo>
                    <a:pt x="156" y="43"/>
                    <a:pt x="157" y="43"/>
                    <a:pt x="157" y="45"/>
                  </a:cubicBezTo>
                  <a:cubicBezTo>
                    <a:pt x="158" y="46"/>
                    <a:pt x="159" y="46"/>
                    <a:pt x="159" y="47"/>
                  </a:cubicBezTo>
                  <a:cubicBezTo>
                    <a:pt x="159" y="48"/>
                    <a:pt x="159" y="48"/>
                    <a:pt x="158" y="49"/>
                  </a:cubicBezTo>
                  <a:cubicBezTo>
                    <a:pt x="157" y="49"/>
                    <a:pt x="157" y="48"/>
                    <a:pt x="155" y="48"/>
                  </a:cubicBezTo>
                  <a:cubicBezTo>
                    <a:pt x="154" y="48"/>
                    <a:pt x="154" y="45"/>
                    <a:pt x="154" y="45"/>
                  </a:cubicBezTo>
                  <a:cubicBezTo>
                    <a:pt x="155" y="43"/>
                    <a:pt x="155" y="43"/>
                    <a:pt x="155" y="43"/>
                  </a:cubicBezTo>
                  <a:cubicBezTo>
                    <a:pt x="152" y="39"/>
                    <a:pt x="152" y="39"/>
                    <a:pt x="152" y="39"/>
                  </a:cubicBezTo>
                  <a:cubicBezTo>
                    <a:pt x="150" y="38"/>
                    <a:pt x="150" y="38"/>
                    <a:pt x="150" y="38"/>
                  </a:cubicBezTo>
                  <a:cubicBezTo>
                    <a:pt x="150" y="38"/>
                    <a:pt x="149" y="39"/>
                    <a:pt x="149" y="40"/>
                  </a:cubicBezTo>
                  <a:cubicBezTo>
                    <a:pt x="149" y="41"/>
                    <a:pt x="147" y="38"/>
                    <a:pt x="146" y="39"/>
                  </a:cubicBezTo>
                  <a:cubicBezTo>
                    <a:pt x="144" y="40"/>
                    <a:pt x="143" y="38"/>
                    <a:pt x="142" y="38"/>
                  </a:cubicBezTo>
                  <a:cubicBezTo>
                    <a:pt x="142" y="38"/>
                    <a:pt x="142" y="35"/>
                    <a:pt x="140" y="37"/>
                  </a:cubicBezTo>
                  <a:cubicBezTo>
                    <a:pt x="139" y="38"/>
                    <a:pt x="139" y="37"/>
                    <a:pt x="139" y="39"/>
                  </a:cubicBezTo>
                  <a:cubicBezTo>
                    <a:pt x="139" y="40"/>
                    <a:pt x="138" y="39"/>
                    <a:pt x="138" y="41"/>
                  </a:cubicBezTo>
                  <a:cubicBezTo>
                    <a:pt x="139" y="43"/>
                    <a:pt x="138" y="43"/>
                    <a:pt x="137" y="44"/>
                  </a:cubicBezTo>
                  <a:cubicBezTo>
                    <a:pt x="136" y="45"/>
                    <a:pt x="135" y="45"/>
                    <a:pt x="135" y="46"/>
                  </a:cubicBezTo>
                  <a:cubicBezTo>
                    <a:pt x="135" y="47"/>
                    <a:pt x="135" y="46"/>
                    <a:pt x="134" y="47"/>
                  </a:cubicBezTo>
                  <a:cubicBezTo>
                    <a:pt x="133" y="47"/>
                    <a:pt x="130" y="48"/>
                    <a:pt x="130" y="48"/>
                  </a:cubicBezTo>
                  <a:cubicBezTo>
                    <a:pt x="130" y="48"/>
                    <a:pt x="127" y="48"/>
                    <a:pt x="128" y="46"/>
                  </a:cubicBezTo>
                  <a:cubicBezTo>
                    <a:pt x="130" y="44"/>
                    <a:pt x="131" y="42"/>
                    <a:pt x="131" y="42"/>
                  </a:cubicBezTo>
                  <a:cubicBezTo>
                    <a:pt x="131" y="42"/>
                    <a:pt x="131" y="39"/>
                    <a:pt x="131" y="39"/>
                  </a:cubicBezTo>
                  <a:cubicBezTo>
                    <a:pt x="132" y="39"/>
                    <a:pt x="131" y="38"/>
                    <a:pt x="131" y="37"/>
                  </a:cubicBezTo>
                  <a:cubicBezTo>
                    <a:pt x="131" y="36"/>
                    <a:pt x="131" y="36"/>
                    <a:pt x="132" y="35"/>
                  </a:cubicBezTo>
                  <a:cubicBezTo>
                    <a:pt x="133" y="35"/>
                    <a:pt x="137" y="30"/>
                    <a:pt x="137" y="29"/>
                  </a:cubicBezTo>
                  <a:cubicBezTo>
                    <a:pt x="137" y="28"/>
                    <a:pt x="137" y="29"/>
                    <a:pt x="136" y="27"/>
                  </a:cubicBezTo>
                  <a:cubicBezTo>
                    <a:pt x="135" y="25"/>
                    <a:pt x="133" y="26"/>
                    <a:pt x="133" y="25"/>
                  </a:cubicBezTo>
                  <a:cubicBezTo>
                    <a:pt x="133" y="25"/>
                    <a:pt x="132" y="22"/>
                    <a:pt x="132" y="22"/>
                  </a:cubicBezTo>
                  <a:cubicBezTo>
                    <a:pt x="132" y="22"/>
                    <a:pt x="133" y="21"/>
                    <a:pt x="132" y="21"/>
                  </a:cubicBezTo>
                  <a:cubicBezTo>
                    <a:pt x="132" y="20"/>
                    <a:pt x="132" y="18"/>
                    <a:pt x="130" y="18"/>
                  </a:cubicBezTo>
                  <a:cubicBezTo>
                    <a:pt x="127" y="18"/>
                    <a:pt x="127" y="18"/>
                    <a:pt x="126" y="17"/>
                  </a:cubicBezTo>
                  <a:cubicBezTo>
                    <a:pt x="126" y="17"/>
                    <a:pt x="125" y="15"/>
                    <a:pt x="125" y="15"/>
                  </a:cubicBezTo>
                  <a:cubicBezTo>
                    <a:pt x="124" y="15"/>
                    <a:pt x="124" y="15"/>
                    <a:pt x="124" y="14"/>
                  </a:cubicBezTo>
                  <a:cubicBezTo>
                    <a:pt x="124" y="12"/>
                    <a:pt x="124" y="12"/>
                    <a:pt x="124" y="11"/>
                  </a:cubicBezTo>
                  <a:cubicBezTo>
                    <a:pt x="123" y="11"/>
                    <a:pt x="123" y="11"/>
                    <a:pt x="123" y="10"/>
                  </a:cubicBezTo>
                  <a:cubicBezTo>
                    <a:pt x="123" y="9"/>
                    <a:pt x="125" y="8"/>
                    <a:pt x="124" y="9"/>
                  </a:cubicBezTo>
                  <a:cubicBezTo>
                    <a:pt x="124" y="9"/>
                    <a:pt x="123" y="6"/>
                    <a:pt x="122" y="6"/>
                  </a:cubicBezTo>
                  <a:cubicBezTo>
                    <a:pt x="121" y="5"/>
                    <a:pt x="121" y="3"/>
                    <a:pt x="118" y="3"/>
                  </a:cubicBezTo>
                  <a:cubicBezTo>
                    <a:pt x="116" y="3"/>
                    <a:pt x="115" y="3"/>
                    <a:pt x="114" y="3"/>
                  </a:cubicBezTo>
                  <a:cubicBezTo>
                    <a:pt x="113" y="3"/>
                    <a:pt x="111" y="4"/>
                    <a:pt x="110" y="4"/>
                  </a:cubicBezTo>
                  <a:cubicBezTo>
                    <a:pt x="109" y="5"/>
                    <a:pt x="107" y="5"/>
                    <a:pt x="106" y="5"/>
                  </a:cubicBezTo>
                  <a:cubicBezTo>
                    <a:pt x="105" y="5"/>
                    <a:pt x="105" y="2"/>
                    <a:pt x="103" y="4"/>
                  </a:cubicBezTo>
                  <a:cubicBezTo>
                    <a:pt x="101" y="5"/>
                    <a:pt x="97" y="7"/>
                    <a:pt x="96" y="7"/>
                  </a:cubicBezTo>
                  <a:cubicBezTo>
                    <a:pt x="95" y="7"/>
                    <a:pt x="95" y="6"/>
                    <a:pt x="93" y="7"/>
                  </a:cubicBezTo>
                  <a:cubicBezTo>
                    <a:pt x="90" y="8"/>
                    <a:pt x="87" y="10"/>
                    <a:pt x="87" y="10"/>
                  </a:cubicBezTo>
                  <a:cubicBezTo>
                    <a:pt x="87" y="11"/>
                    <a:pt x="86" y="11"/>
                    <a:pt x="85" y="11"/>
                  </a:cubicBezTo>
                  <a:cubicBezTo>
                    <a:pt x="83" y="12"/>
                    <a:pt x="83" y="11"/>
                    <a:pt x="82" y="11"/>
                  </a:cubicBezTo>
                  <a:cubicBezTo>
                    <a:pt x="81" y="11"/>
                    <a:pt x="80" y="11"/>
                    <a:pt x="79" y="12"/>
                  </a:cubicBezTo>
                  <a:cubicBezTo>
                    <a:pt x="77" y="14"/>
                    <a:pt x="77" y="14"/>
                    <a:pt x="76" y="14"/>
                  </a:cubicBezTo>
                  <a:cubicBezTo>
                    <a:pt x="75" y="15"/>
                    <a:pt x="75" y="14"/>
                    <a:pt x="73" y="15"/>
                  </a:cubicBezTo>
                  <a:cubicBezTo>
                    <a:pt x="71" y="16"/>
                    <a:pt x="72" y="14"/>
                    <a:pt x="71" y="16"/>
                  </a:cubicBezTo>
                  <a:cubicBezTo>
                    <a:pt x="70" y="18"/>
                    <a:pt x="69" y="17"/>
                    <a:pt x="69" y="19"/>
                  </a:cubicBezTo>
                  <a:cubicBezTo>
                    <a:pt x="68" y="20"/>
                    <a:pt x="68" y="20"/>
                    <a:pt x="68" y="21"/>
                  </a:cubicBezTo>
                  <a:cubicBezTo>
                    <a:pt x="67" y="21"/>
                    <a:pt x="66" y="19"/>
                    <a:pt x="66" y="22"/>
                  </a:cubicBezTo>
                  <a:cubicBezTo>
                    <a:pt x="65" y="24"/>
                    <a:pt x="65" y="24"/>
                    <a:pt x="65" y="25"/>
                  </a:cubicBezTo>
                  <a:cubicBezTo>
                    <a:pt x="65" y="26"/>
                    <a:pt x="64" y="26"/>
                    <a:pt x="63" y="27"/>
                  </a:cubicBezTo>
                  <a:cubicBezTo>
                    <a:pt x="63" y="28"/>
                    <a:pt x="62" y="29"/>
                    <a:pt x="62" y="30"/>
                  </a:cubicBezTo>
                  <a:cubicBezTo>
                    <a:pt x="62" y="32"/>
                    <a:pt x="62" y="33"/>
                    <a:pt x="63" y="34"/>
                  </a:cubicBezTo>
                  <a:cubicBezTo>
                    <a:pt x="63" y="35"/>
                    <a:pt x="65" y="35"/>
                    <a:pt x="65" y="36"/>
                  </a:cubicBezTo>
                  <a:cubicBezTo>
                    <a:pt x="65" y="37"/>
                    <a:pt x="65" y="38"/>
                    <a:pt x="66" y="38"/>
                  </a:cubicBezTo>
                  <a:cubicBezTo>
                    <a:pt x="68" y="39"/>
                    <a:pt x="70" y="39"/>
                    <a:pt x="71" y="39"/>
                  </a:cubicBezTo>
                  <a:cubicBezTo>
                    <a:pt x="72" y="39"/>
                    <a:pt x="72" y="38"/>
                    <a:pt x="73" y="38"/>
                  </a:cubicBezTo>
                  <a:cubicBezTo>
                    <a:pt x="74" y="39"/>
                    <a:pt x="77" y="38"/>
                    <a:pt x="77" y="40"/>
                  </a:cubicBezTo>
                  <a:cubicBezTo>
                    <a:pt x="78" y="42"/>
                    <a:pt x="78" y="44"/>
                    <a:pt x="78" y="44"/>
                  </a:cubicBezTo>
                  <a:cubicBezTo>
                    <a:pt x="78" y="44"/>
                    <a:pt x="77" y="41"/>
                    <a:pt x="75" y="42"/>
                  </a:cubicBezTo>
                  <a:cubicBezTo>
                    <a:pt x="73" y="42"/>
                    <a:pt x="72" y="41"/>
                    <a:pt x="71" y="41"/>
                  </a:cubicBezTo>
                  <a:cubicBezTo>
                    <a:pt x="70" y="42"/>
                    <a:pt x="69" y="42"/>
                    <a:pt x="68" y="43"/>
                  </a:cubicBezTo>
                  <a:cubicBezTo>
                    <a:pt x="68" y="43"/>
                    <a:pt x="67" y="44"/>
                    <a:pt x="66" y="46"/>
                  </a:cubicBezTo>
                  <a:cubicBezTo>
                    <a:pt x="65" y="48"/>
                    <a:pt x="64" y="47"/>
                    <a:pt x="63" y="48"/>
                  </a:cubicBezTo>
                  <a:cubicBezTo>
                    <a:pt x="62" y="50"/>
                    <a:pt x="62" y="50"/>
                    <a:pt x="63" y="51"/>
                  </a:cubicBezTo>
                  <a:cubicBezTo>
                    <a:pt x="64" y="53"/>
                    <a:pt x="67" y="55"/>
                    <a:pt x="67" y="55"/>
                  </a:cubicBezTo>
                  <a:cubicBezTo>
                    <a:pt x="67" y="56"/>
                    <a:pt x="70" y="56"/>
                    <a:pt x="70" y="56"/>
                  </a:cubicBezTo>
                  <a:cubicBezTo>
                    <a:pt x="70" y="57"/>
                    <a:pt x="74" y="57"/>
                    <a:pt x="75" y="57"/>
                  </a:cubicBezTo>
                  <a:cubicBezTo>
                    <a:pt x="75" y="57"/>
                    <a:pt x="77" y="58"/>
                    <a:pt x="77" y="59"/>
                  </a:cubicBezTo>
                  <a:cubicBezTo>
                    <a:pt x="77" y="60"/>
                    <a:pt x="80" y="62"/>
                    <a:pt x="78" y="63"/>
                  </a:cubicBezTo>
                  <a:cubicBezTo>
                    <a:pt x="77" y="63"/>
                    <a:pt x="74" y="63"/>
                    <a:pt x="74" y="64"/>
                  </a:cubicBezTo>
                  <a:cubicBezTo>
                    <a:pt x="73" y="64"/>
                    <a:pt x="71" y="63"/>
                    <a:pt x="71" y="63"/>
                  </a:cubicBezTo>
                  <a:cubicBezTo>
                    <a:pt x="70" y="63"/>
                    <a:pt x="66" y="58"/>
                    <a:pt x="66" y="59"/>
                  </a:cubicBezTo>
                  <a:cubicBezTo>
                    <a:pt x="65" y="59"/>
                    <a:pt x="65" y="58"/>
                    <a:pt x="64" y="59"/>
                  </a:cubicBezTo>
                  <a:cubicBezTo>
                    <a:pt x="64" y="59"/>
                    <a:pt x="62" y="56"/>
                    <a:pt x="61" y="56"/>
                  </a:cubicBezTo>
                  <a:cubicBezTo>
                    <a:pt x="60" y="56"/>
                    <a:pt x="60" y="54"/>
                    <a:pt x="59" y="53"/>
                  </a:cubicBezTo>
                  <a:cubicBezTo>
                    <a:pt x="58" y="53"/>
                    <a:pt x="59" y="52"/>
                    <a:pt x="58" y="51"/>
                  </a:cubicBezTo>
                  <a:cubicBezTo>
                    <a:pt x="58" y="51"/>
                    <a:pt x="59" y="49"/>
                    <a:pt x="57" y="50"/>
                  </a:cubicBezTo>
                  <a:cubicBezTo>
                    <a:pt x="56" y="50"/>
                    <a:pt x="55" y="50"/>
                    <a:pt x="55" y="50"/>
                  </a:cubicBezTo>
                  <a:cubicBezTo>
                    <a:pt x="54" y="49"/>
                    <a:pt x="54" y="47"/>
                    <a:pt x="54" y="47"/>
                  </a:cubicBezTo>
                  <a:cubicBezTo>
                    <a:pt x="54" y="46"/>
                    <a:pt x="54" y="45"/>
                    <a:pt x="54" y="44"/>
                  </a:cubicBezTo>
                  <a:cubicBezTo>
                    <a:pt x="54" y="43"/>
                    <a:pt x="54" y="42"/>
                    <a:pt x="54" y="42"/>
                  </a:cubicBezTo>
                  <a:cubicBezTo>
                    <a:pt x="56" y="41"/>
                    <a:pt x="60" y="37"/>
                    <a:pt x="57" y="36"/>
                  </a:cubicBezTo>
                  <a:cubicBezTo>
                    <a:pt x="54" y="35"/>
                    <a:pt x="51" y="33"/>
                    <a:pt x="51" y="33"/>
                  </a:cubicBezTo>
                  <a:cubicBezTo>
                    <a:pt x="51" y="33"/>
                    <a:pt x="56" y="27"/>
                    <a:pt x="57" y="25"/>
                  </a:cubicBezTo>
                  <a:cubicBezTo>
                    <a:pt x="59" y="23"/>
                    <a:pt x="49" y="23"/>
                    <a:pt x="58" y="18"/>
                  </a:cubicBezTo>
                  <a:cubicBezTo>
                    <a:pt x="67" y="13"/>
                    <a:pt x="68" y="12"/>
                    <a:pt x="70" y="10"/>
                  </a:cubicBezTo>
                  <a:cubicBezTo>
                    <a:pt x="76" y="5"/>
                    <a:pt x="76" y="9"/>
                    <a:pt x="76" y="5"/>
                  </a:cubicBezTo>
                  <a:cubicBezTo>
                    <a:pt x="76" y="5"/>
                    <a:pt x="73" y="4"/>
                    <a:pt x="70" y="3"/>
                  </a:cubicBezTo>
                  <a:cubicBezTo>
                    <a:pt x="68" y="1"/>
                    <a:pt x="57" y="0"/>
                    <a:pt x="52" y="1"/>
                  </a:cubicBezTo>
                  <a:cubicBezTo>
                    <a:pt x="48" y="2"/>
                    <a:pt x="43" y="1"/>
                    <a:pt x="41" y="3"/>
                  </a:cubicBezTo>
                  <a:cubicBezTo>
                    <a:pt x="38" y="4"/>
                    <a:pt x="32" y="5"/>
                    <a:pt x="31" y="7"/>
                  </a:cubicBezTo>
                  <a:cubicBezTo>
                    <a:pt x="30" y="10"/>
                    <a:pt x="27" y="10"/>
                    <a:pt x="22" y="15"/>
                  </a:cubicBezTo>
                  <a:cubicBezTo>
                    <a:pt x="18" y="20"/>
                    <a:pt x="16" y="19"/>
                    <a:pt x="14" y="25"/>
                  </a:cubicBezTo>
                  <a:cubicBezTo>
                    <a:pt x="12" y="31"/>
                    <a:pt x="9" y="28"/>
                    <a:pt x="9" y="34"/>
                  </a:cubicBezTo>
                  <a:cubicBezTo>
                    <a:pt x="9" y="39"/>
                    <a:pt x="3" y="42"/>
                    <a:pt x="3" y="42"/>
                  </a:cubicBezTo>
                  <a:cubicBezTo>
                    <a:pt x="4" y="53"/>
                    <a:pt x="0" y="54"/>
                    <a:pt x="4" y="58"/>
                  </a:cubicBezTo>
                  <a:cubicBezTo>
                    <a:pt x="13" y="65"/>
                    <a:pt x="14" y="66"/>
                    <a:pt x="16" y="67"/>
                  </a:cubicBezTo>
                  <a:cubicBezTo>
                    <a:pt x="18" y="68"/>
                    <a:pt x="20" y="68"/>
                    <a:pt x="22" y="68"/>
                  </a:cubicBezTo>
                  <a:cubicBezTo>
                    <a:pt x="29" y="69"/>
                    <a:pt x="31" y="68"/>
                    <a:pt x="33" y="69"/>
                  </a:cubicBezTo>
                  <a:cubicBezTo>
                    <a:pt x="32" y="69"/>
                    <a:pt x="32" y="69"/>
                    <a:pt x="31" y="70"/>
                  </a:cubicBezTo>
                  <a:cubicBezTo>
                    <a:pt x="25" y="72"/>
                    <a:pt x="20" y="71"/>
                    <a:pt x="20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78"/>
                    <a:pt x="14" y="82"/>
                    <a:pt x="17" y="82"/>
                  </a:cubicBezTo>
                  <a:cubicBezTo>
                    <a:pt x="25" y="85"/>
                    <a:pt x="22" y="82"/>
                    <a:pt x="25" y="85"/>
                  </a:cubicBezTo>
                  <a:cubicBezTo>
                    <a:pt x="28" y="88"/>
                    <a:pt x="26" y="90"/>
                    <a:pt x="29" y="91"/>
                  </a:cubicBezTo>
                  <a:cubicBezTo>
                    <a:pt x="32" y="92"/>
                    <a:pt x="25" y="93"/>
                    <a:pt x="35" y="91"/>
                  </a:cubicBezTo>
                  <a:cubicBezTo>
                    <a:pt x="45" y="89"/>
                    <a:pt x="42" y="87"/>
                    <a:pt x="45" y="89"/>
                  </a:cubicBezTo>
                  <a:cubicBezTo>
                    <a:pt x="52" y="96"/>
                    <a:pt x="51" y="89"/>
                    <a:pt x="53" y="92"/>
                  </a:cubicBezTo>
                  <a:cubicBezTo>
                    <a:pt x="55" y="94"/>
                    <a:pt x="54" y="96"/>
                    <a:pt x="57" y="98"/>
                  </a:cubicBezTo>
                  <a:cubicBezTo>
                    <a:pt x="61" y="99"/>
                    <a:pt x="61" y="99"/>
                    <a:pt x="63" y="99"/>
                  </a:cubicBezTo>
                  <a:cubicBezTo>
                    <a:pt x="66" y="99"/>
                    <a:pt x="71" y="98"/>
                    <a:pt x="73" y="99"/>
                  </a:cubicBezTo>
                  <a:cubicBezTo>
                    <a:pt x="73" y="99"/>
                    <a:pt x="79" y="97"/>
                    <a:pt x="80" y="98"/>
                  </a:cubicBezTo>
                  <a:cubicBezTo>
                    <a:pt x="82" y="99"/>
                    <a:pt x="94" y="99"/>
                    <a:pt x="94" y="99"/>
                  </a:cubicBezTo>
                  <a:cubicBezTo>
                    <a:pt x="102" y="99"/>
                    <a:pt x="102" y="99"/>
                    <a:pt x="102" y="99"/>
                  </a:cubicBezTo>
                  <a:cubicBezTo>
                    <a:pt x="108" y="99"/>
                    <a:pt x="108" y="99"/>
                    <a:pt x="108" y="99"/>
                  </a:cubicBezTo>
                  <a:cubicBezTo>
                    <a:pt x="114" y="106"/>
                    <a:pt x="115" y="104"/>
                    <a:pt x="117" y="102"/>
                  </a:cubicBezTo>
                  <a:cubicBezTo>
                    <a:pt x="112" y="96"/>
                    <a:pt x="112" y="96"/>
                    <a:pt x="112" y="96"/>
                  </a:cubicBezTo>
                  <a:cubicBezTo>
                    <a:pt x="112" y="96"/>
                    <a:pt x="116" y="97"/>
                    <a:pt x="118" y="98"/>
                  </a:cubicBezTo>
                  <a:cubicBezTo>
                    <a:pt x="118" y="98"/>
                    <a:pt x="121" y="97"/>
                    <a:pt x="122" y="96"/>
                  </a:cubicBezTo>
                  <a:cubicBezTo>
                    <a:pt x="122" y="96"/>
                    <a:pt x="123" y="95"/>
                    <a:pt x="124" y="96"/>
                  </a:cubicBezTo>
                  <a:cubicBezTo>
                    <a:pt x="125" y="96"/>
                    <a:pt x="125" y="97"/>
                    <a:pt x="126" y="97"/>
                  </a:cubicBezTo>
                  <a:cubicBezTo>
                    <a:pt x="126" y="97"/>
                    <a:pt x="128" y="97"/>
                    <a:pt x="128" y="97"/>
                  </a:cubicBezTo>
                  <a:cubicBezTo>
                    <a:pt x="129" y="97"/>
                    <a:pt x="131" y="96"/>
                    <a:pt x="131" y="96"/>
                  </a:cubicBezTo>
                  <a:cubicBezTo>
                    <a:pt x="134" y="98"/>
                    <a:pt x="134" y="98"/>
                    <a:pt x="134" y="98"/>
                  </a:cubicBezTo>
                  <a:cubicBezTo>
                    <a:pt x="136" y="99"/>
                    <a:pt x="137" y="99"/>
                    <a:pt x="137" y="99"/>
                  </a:cubicBezTo>
                  <a:cubicBezTo>
                    <a:pt x="139" y="99"/>
                    <a:pt x="139" y="99"/>
                    <a:pt x="139" y="99"/>
                  </a:cubicBezTo>
                  <a:cubicBezTo>
                    <a:pt x="141" y="99"/>
                    <a:pt x="141" y="99"/>
                    <a:pt x="141" y="99"/>
                  </a:cubicBezTo>
                  <a:cubicBezTo>
                    <a:pt x="141" y="99"/>
                    <a:pt x="142" y="99"/>
                    <a:pt x="143" y="99"/>
                  </a:cubicBezTo>
                  <a:cubicBezTo>
                    <a:pt x="144" y="101"/>
                    <a:pt x="146" y="101"/>
                    <a:pt x="146" y="101"/>
                  </a:cubicBezTo>
                  <a:cubicBezTo>
                    <a:pt x="147" y="101"/>
                    <a:pt x="149" y="100"/>
                    <a:pt x="149" y="101"/>
                  </a:cubicBezTo>
                  <a:cubicBezTo>
                    <a:pt x="150" y="102"/>
                    <a:pt x="150" y="102"/>
                    <a:pt x="151" y="102"/>
                  </a:cubicBezTo>
                  <a:cubicBezTo>
                    <a:pt x="152" y="102"/>
                    <a:pt x="153" y="102"/>
                    <a:pt x="154" y="102"/>
                  </a:cubicBezTo>
                  <a:cubicBezTo>
                    <a:pt x="155" y="101"/>
                    <a:pt x="156" y="101"/>
                    <a:pt x="156" y="101"/>
                  </a:cubicBezTo>
                  <a:cubicBezTo>
                    <a:pt x="159" y="101"/>
                    <a:pt x="159" y="101"/>
                    <a:pt x="159" y="100"/>
                  </a:cubicBezTo>
                  <a:cubicBezTo>
                    <a:pt x="159" y="100"/>
                    <a:pt x="159" y="98"/>
                    <a:pt x="159" y="98"/>
                  </a:cubicBezTo>
                  <a:cubicBezTo>
                    <a:pt x="159" y="98"/>
                    <a:pt x="159" y="97"/>
                    <a:pt x="159" y="97"/>
                  </a:cubicBezTo>
                  <a:cubicBezTo>
                    <a:pt x="159" y="96"/>
                    <a:pt x="158" y="95"/>
                    <a:pt x="158" y="95"/>
                  </a:cubicBezTo>
                  <a:cubicBezTo>
                    <a:pt x="157" y="93"/>
                    <a:pt x="157" y="93"/>
                    <a:pt x="157" y="93"/>
                  </a:cubicBezTo>
                  <a:cubicBezTo>
                    <a:pt x="155" y="92"/>
                    <a:pt x="155" y="92"/>
                    <a:pt x="155" y="92"/>
                  </a:cubicBezTo>
                  <a:cubicBezTo>
                    <a:pt x="155" y="92"/>
                    <a:pt x="155" y="90"/>
                    <a:pt x="153" y="91"/>
                  </a:cubicBezTo>
                  <a:cubicBezTo>
                    <a:pt x="152" y="91"/>
                    <a:pt x="150" y="91"/>
                    <a:pt x="150" y="90"/>
                  </a:cubicBezTo>
                  <a:cubicBezTo>
                    <a:pt x="150" y="90"/>
                    <a:pt x="149" y="89"/>
                    <a:pt x="150" y="88"/>
                  </a:cubicBezTo>
                  <a:cubicBezTo>
                    <a:pt x="151" y="88"/>
                    <a:pt x="150" y="87"/>
                    <a:pt x="152" y="87"/>
                  </a:cubicBezTo>
                  <a:cubicBezTo>
                    <a:pt x="153" y="87"/>
                    <a:pt x="152" y="90"/>
                    <a:pt x="154" y="87"/>
                  </a:cubicBezTo>
                  <a:cubicBezTo>
                    <a:pt x="155" y="84"/>
                    <a:pt x="155" y="84"/>
                    <a:pt x="156" y="85"/>
                  </a:cubicBezTo>
                  <a:cubicBezTo>
                    <a:pt x="157" y="86"/>
                    <a:pt x="158" y="86"/>
                    <a:pt x="158" y="87"/>
                  </a:cubicBezTo>
                  <a:cubicBezTo>
                    <a:pt x="158" y="88"/>
                    <a:pt x="157" y="89"/>
                    <a:pt x="157" y="89"/>
                  </a:cubicBezTo>
                  <a:cubicBezTo>
                    <a:pt x="158" y="90"/>
                    <a:pt x="160" y="90"/>
                    <a:pt x="160" y="90"/>
                  </a:cubicBezTo>
                  <a:cubicBezTo>
                    <a:pt x="161" y="90"/>
                    <a:pt x="162" y="89"/>
                    <a:pt x="161" y="91"/>
                  </a:cubicBezTo>
                  <a:cubicBezTo>
                    <a:pt x="161" y="93"/>
                    <a:pt x="160" y="93"/>
                    <a:pt x="162" y="93"/>
                  </a:cubicBezTo>
                  <a:cubicBezTo>
                    <a:pt x="165" y="93"/>
                    <a:pt x="166" y="93"/>
                    <a:pt x="167" y="93"/>
                  </a:cubicBezTo>
                  <a:cubicBezTo>
                    <a:pt x="167" y="94"/>
                    <a:pt x="169" y="93"/>
                    <a:pt x="170" y="93"/>
                  </a:cubicBezTo>
                  <a:cubicBezTo>
                    <a:pt x="170" y="94"/>
                    <a:pt x="171" y="94"/>
                    <a:pt x="171" y="95"/>
                  </a:cubicBezTo>
                  <a:cubicBezTo>
                    <a:pt x="172" y="97"/>
                    <a:pt x="170" y="100"/>
                    <a:pt x="171" y="101"/>
                  </a:cubicBezTo>
                  <a:cubicBezTo>
                    <a:pt x="171" y="102"/>
                    <a:pt x="168" y="101"/>
                    <a:pt x="172" y="102"/>
                  </a:cubicBezTo>
                  <a:cubicBezTo>
                    <a:pt x="176" y="104"/>
                    <a:pt x="177" y="101"/>
                    <a:pt x="178" y="100"/>
                  </a:cubicBezTo>
                  <a:cubicBezTo>
                    <a:pt x="179" y="100"/>
                    <a:pt x="180" y="101"/>
                    <a:pt x="180" y="101"/>
                  </a:cubicBezTo>
                  <a:cubicBezTo>
                    <a:pt x="181" y="101"/>
                    <a:pt x="183" y="102"/>
                    <a:pt x="182" y="103"/>
                  </a:cubicBezTo>
                  <a:cubicBezTo>
                    <a:pt x="182" y="104"/>
                    <a:pt x="182" y="105"/>
                    <a:pt x="182" y="105"/>
                  </a:cubicBezTo>
                  <a:cubicBezTo>
                    <a:pt x="182" y="105"/>
                    <a:pt x="183" y="104"/>
                    <a:pt x="183" y="105"/>
                  </a:cubicBezTo>
                  <a:cubicBezTo>
                    <a:pt x="184" y="106"/>
                    <a:pt x="182" y="107"/>
                    <a:pt x="183" y="107"/>
                  </a:cubicBezTo>
                  <a:cubicBezTo>
                    <a:pt x="184" y="107"/>
                    <a:pt x="186" y="107"/>
                    <a:pt x="186" y="107"/>
                  </a:cubicBezTo>
                  <a:cubicBezTo>
                    <a:pt x="186" y="107"/>
                    <a:pt x="189" y="108"/>
                    <a:pt x="188" y="109"/>
                  </a:cubicBezTo>
                  <a:cubicBezTo>
                    <a:pt x="187" y="110"/>
                    <a:pt x="188" y="111"/>
                    <a:pt x="188" y="111"/>
                  </a:cubicBezTo>
                  <a:cubicBezTo>
                    <a:pt x="189" y="111"/>
                    <a:pt x="191" y="113"/>
                    <a:pt x="191" y="112"/>
                  </a:cubicBezTo>
                  <a:cubicBezTo>
                    <a:pt x="192" y="112"/>
                    <a:pt x="195" y="113"/>
                    <a:pt x="195" y="113"/>
                  </a:cubicBezTo>
                  <a:cubicBezTo>
                    <a:pt x="195" y="114"/>
                    <a:pt x="197" y="113"/>
                    <a:pt x="198" y="114"/>
                  </a:cubicBezTo>
                  <a:cubicBezTo>
                    <a:pt x="199" y="115"/>
                    <a:pt x="200" y="114"/>
                    <a:pt x="200" y="116"/>
                  </a:cubicBezTo>
                  <a:cubicBezTo>
                    <a:pt x="200" y="118"/>
                    <a:pt x="201" y="117"/>
                    <a:pt x="200" y="118"/>
                  </a:cubicBezTo>
                  <a:cubicBezTo>
                    <a:pt x="198" y="119"/>
                    <a:pt x="198" y="119"/>
                    <a:pt x="197" y="120"/>
                  </a:cubicBezTo>
                  <a:cubicBezTo>
                    <a:pt x="196" y="120"/>
                    <a:pt x="197" y="121"/>
                    <a:pt x="195" y="121"/>
                  </a:cubicBezTo>
                  <a:cubicBezTo>
                    <a:pt x="194" y="121"/>
                    <a:pt x="191" y="121"/>
                    <a:pt x="191" y="121"/>
                  </a:cubicBezTo>
                  <a:cubicBezTo>
                    <a:pt x="191" y="121"/>
                    <a:pt x="189" y="119"/>
                    <a:pt x="188" y="120"/>
                  </a:cubicBezTo>
                  <a:cubicBezTo>
                    <a:pt x="187" y="121"/>
                    <a:pt x="185" y="121"/>
                    <a:pt x="185" y="124"/>
                  </a:cubicBezTo>
                  <a:cubicBezTo>
                    <a:pt x="184" y="127"/>
                    <a:pt x="187" y="127"/>
                    <a:pt x="187" y="128"/>
                  </a:cubicBezTo>
                  <a:cubicBezTo>
                    <a:pt x="187" y="128"/>
                    <a:pt x="195" y="127"/>
                    <a:pt x="196" y="126"/>
                  </a:cubicBezTo>
                  <a:cubicBezTo>
                    <a:pt x="197" y="126"/>
                    <a:pt x="196" y="126"/>
                    <a:pt x="200" y="125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4" y="122"/>
                    <a:pt x="204" y="122"/>
                    <a:pt x="204" y="122"/>
                  </a:cubicBezTo>
                  <a:cubicBezTo>
                    <a:pt x="206" y="123"/>
                    <a:pt x="206" y="123"/>
                    <a:pt x="206" y="123"/>
                  </a:cubicBezTo>
                  <a:cubicBezTo>
                    <a:pt x="207" y="122"/>
                    <a:pt x="207" y="122"/>
                    <a:pt x="207" y="122"/>
                  </a:cubicBezTo>
                  <a:cubicBezTo>
                    <a:pt x="208" y="121"/>
                    <a:pt x="211" y="123"/>
                    <a:pt x="211" y="123"/>
                  </a:cubicBezTo>
                  <a:cubicBezTo>
                    <a:pt x="212" y="124"/>
                    <a:pt x="212" y="122"/>
                    <a:pt x="212" y="124"/>
                  </a:cubicBezTo>
                  <a:cubicBezTo>
                    <a:pt x="211" y="125"/>
                    <a:pt x="210" y="124"/>
                    <a:pt x="211" y="125"/>
                  </a:cubicBezTo>
                  <a:cubicBezTo>
                    <a:pt x="211" y="126"/>
                    <a:pt x="213" y="127"/>
                    <a:pt x="214" y="127"/>
                  </a:cubicBezTo>
                  <a:cubicBezTo>
                    <a:pt x="214" y="128"/>
                    <a:pt x="213" y="126"/>
                    <a:pt x="214" y="128"/>
                  </a:cubicBezTo>
                  <a:cubicBezTo>
                    <a:pt x="215" y="129"/>
                    <a:pt x="215" y="130"/>
                    <a:pt x="215" y="131"/>
                  </a:cubicBezTo>
                  <a:cubicBezTo>
                    <a:pt x="215" y="133"/>
                    <a:pt x="216" y="132"/>
                    <a:pt x="217" y="133"/>
                  </a:cubicBezTo>
                  <a:cubicBezTo>
                    <a:pt x="217" y="133"/>
                    <a:pt x="218" y="134"/>
                    <a:pt x="219" y="133"/>
                  </a:cubicBezTo>
                  <a:cubicBezTo>
                    <a:pt x="219" y="133"/>
                    <a:pt x="220" y="132"/>
                    <a:pt x="220" y="131"/>
                  </a:cubicBezTo>
                  <a:cubicBezTo>
                    <a:pt x="221" y="131"/>
                    <a:pt x="220" y="130"/>
                    <a:pt x="221" y="130"/>
                  </a:cubicBezTo>
                  <a:cubicBezTo>
                    <a:pt x="223" y="130"/>
                    <a:pt x="223" y="130"/>
                    <a:pt x="223" y="131"/>
                  </a:cubicBezTo>
                  <a:cubicBezTo>
                    <a:pt x="224" y="132"/>
                    <a:pt x="225" y="133"/>
                    <a:pt x="224" y="134"/>
                  </a:cubicBezTo>
                  <a:cubicBezTo>
                    <a:pt x="224" y="135"/>
                    <a:pt x="222" y="136"/>
                    <a:pt x="224" y="136"/>
                  </a:cubicBezTo>
                  <a:cubicBezTo>
                    <a:pt x="225" y="137"/>
                    <a:pt x="225" y="138"/>
                    <a:pt x="227" y="138"/>
                  </a:cubicBezTo>
                  <a:cubicBezTo>
                    <a:pt x="229" y="139"/>
                    <a:pt x="230" y="138"/>
                    <a:pt x="230" y="138"/>
                  </a:cubicBezTo>
                  <a:cubicBezTo>
                    <a:pt x="233" y="141"/>
                    <a:pt x="238" y="149"/>
                    <a:pt x="238" y="149"/>
                  </a:cubicBezTo>
                  <a:cubicBezTo>
                    <a:pt x="238" y="150"/>
                    <a:pt x="239" y="150"/>
                    <a:pt x="240" y="151"/>
                  </a:cubicBezTo>
                  <a:cubicBezTo>
                    <a:pt x="240" y="152"/>
                    <a:pt x="242" y="151"/>
                    <a:pt x="242" y="153"/>
                  </a:cubicBezTo>
                  <a:cubicBezTo>
                    <a:pt x="243" y="155"/>
                    <a:pt x="243" y="155"/>
                    <a:pt x="243" y="157"/>
                  </a:cubicBezTo>
                  <a:cubicBezTo>
                    <a:pt x="243" y="160"/>
                    <a:pt x="244" y="159"/>
                    <a:pt x="244" y="161"/>
                  </a:cubicBezTo>
                  <a:cubicBezTo>
                    <a:pt x="244" y="162"/>
                    <a:pt x="245" y="161"/>
                    <a:pt x="244" y="163"/>
                  </a:cubicBezTo>
                  <a:cubicBezTo>
                    <a:pt x="243" y="164"/>
                    <a:pt x="245" y="163"/>
                    <a:pt x="243" y="164"/>
                  </a:cubicBezTo>
                  <a:cubicBezTo>
                    <a:pt x="241" y="166"/>
                    <a:pt x="241" y="166"/>
                    <a:pt x="240" y="167"/>
                  </a:cubicBezTo>
                  <a:cubicBezTo>
                    <a:pt x="238" y="169"/>
                    <a:pt x="239" y="167"/>
                    <a:pt x="237" y="169"/>
                  </a:cubicBezTo>
                  <a:cubicBezTo>
                    <a:pt x="235" y="172"/>
                    <a:pt x="235" y="171"/>
                    <a:pt x="234" y="172"/>
                  </a:cubicBezTo>
                  <a:cubicBezTo>
                    <a:pt x="234" y="174"/>
                    <a:pt x="235" y="172"/>
                    <a:pt x="234" y="174"/>
                  </a:cubicBezTo>
                  <a:cubicBezTo>
                    <a:pt x="233" y="175"/>
                    <a:pt x="234" y="174"/>
                    <a:pt x="232" y="175"/>
                  </a:cubicBezTo>
                  <a:cubicBezTo>
                    <a:pt x="230" y="177"/>
                    <a:pt x="231" y="176"/>
                    <a:pt x="228" y="178"/>
                  </a:cubicBezTo>
                  <a:cubicBezTo>
                    <a:pt x="226" y="180"/>
                    <a:pt x="224" y="181"/>
                    <a:pt x="224" y="182"/>
                  </a:cubicBezTo>
                  <a:cubicBezTo>
                    <a:pt x="223" y="183"/>
                    <a:pt x="219" y="183"/>
                    <a:pt x="219" y="184"/>
                  </a:cubicBezTo>
                  <a:cubicBezTo>
                    <a:pt x="218" y="185"/>
                    <a:pt x="217" y="186"/>
                    <a:pt x="216" y="187"/>
                  </a:cubicBezTo>
                  <a:cubicBezTo>
                    <a:pt x="216" y="188"/>
                    <a:pt x="217" y="188"/>
                    <a:pt x="217" y="189"/>
                  </a:cubicBezTo>
                  <a:cubicBezTo>
                    <a:pt x="217" y="191"/>
                    <a:pt x="219" y="191"/>
                    <a:pt x="221" y="193"/>
                  </a:cubicBezTo>
                  <a:cubicBezTo>
                    <a:pt x="222" y="194"/>
                    <a:pt x="222" y="194"/>
                    <a:pt x="224" y="195"/>
                  </a:cubicBezTo>
                  <a:cubicBezTo>
                    <a:pt x="225" y="197"/>
                    <a:pt x="228" y="196"/>
                    <a:pt x="226" y="198"/>
                  </a:cubicBezTo>
                  <a:cubicBezTo>
                    <a:pt x="224" y="200"/>
                    <a:pt x="224" y="200"/>
                    <a:pt x="223" y="201"/>
                  </a:cubicBezTo>
                  <a:cubicBezTo>
                    <a:pt x="221" y="202"/>
                    <a:pt x="222" y="202"/>
                    <a:pt x="220" y="202"/>
                  </a:cubicBezTo>
                  <a:cubicBezTo>
                    <a:pt x="219" y="202"/>
                    <a:pt x="218" y="202"/>
                    <a:pt x="218" y="203"/>
                  </a:cubicBezTo>
                  <a:cubicBezTo>
                    <a:pt x="218" y="204"/>
                    <a:pt x="218" y="204"/>
                    <a:pt x="217" y="205"/>
                  </a:cubicBezTo>
                  <a:cubicBezTo>
                    <a:pt x="216" y="205"/>
                    <a:pt x="214" y="205"/>
                    <a:pt x="213" y="206"/>
                  </a:cubicBezTo>
                  <a:cubicBezTo>
                    <a:pt x="211" y="207"/>
                    <a:pt x="210" y="206"/>
                    <a:pt x="210" y="206"/>
                  </a:cubicBezTo>
                  <a:cubicBezTo>
                    <a:pt x="209" y="206"/>
                    <a:pt x="209" y="204"/>
                    <a:pt x="208" y="205"/>
                  </a:cubicBezTo>
                  <a:cubicBezTo>
                    <a:pt x="206" y="206"/>
                    <a:pt x="207" y="205"/>
                    <a:pt x="205" y="206"/>
                  </a:cubicBezTo>
                  <a:cubicBezTo>
                    <a:pt x="204" y="208"/>
                    <a:pt x="205" y="207"/>
                    <a:pt x="204" y="208"/>
                  </a:cubicBezTo>
                  <a:cubicBezTo>
                    <a:pt x="204" y="209"/>
                    <a:pt x="203" y="207"/>
                    <a:pt x="202" y="209"/>
                  </a:cubicBezTo>
                  <a:cubicBezTo>
                    <a:pt x="202" y="211"/>
                    <a:pt x="200" y="211"/>
                    <a:pt x="202" y="211"/>
                  </a:cubicBezTo>
                  <a:cubicBezTo>
                    <a:pt x="205" y="211"/>
                    <a:pt x="206" y="210"/>
                    <a:pt x="206" y="211"/>
                  </a:cubicBezTo>
                  <a:cubicBezTo>
                    <a:pt x="205" y="212"/>
                    <a:pt x="205" y="212"/>
                    <a:pt x="205" y="214"/>
                  </a:cubicBezTo>
                  <a:cubicBezTo>
                    <a:pt x="204" y="215"/>
                    <a:pt x="204" y="214"/>
                    <a:pt x="203" y="215"/>
                  </a:cubicBezTo>
                  <a:cubicBezTo>
                    <a:pt x="202" y="216"/>
                    <a:pt x="200" y="214"/>
                    <a:pt x="200" y="214"/>
                  </a:cubicBezTo>
                  <a:cubicBezTo>
                    <a:pt x="200" y="214"/>
                    <a:pt x="202" y="212"/>
                    <a:pt x="198" y="210"/>
                  </a:cubicBezTo>
                  <a:cubicBezTo>
                    <a:pt x="195" y="209"/>
                    <a:pt x="195" y="209"/>
                    <a:pt x="194" y="208"/>
                  </a:cubicBezTo>
                  <a:cubicBezTo>
                    <a:pt x="193" y="207"/>
                    <a:pt x="192" y="206"/>
                    <a:pt x="191" y="206"/>
                  </a:cubicBezTo>
                  <a:cubicBezTo>
                    <a:pt x="190" y="206"/>
                    <a:pt x="188" y="204"/>
                    <a:pt x="188" y="204"/>
                  </a:cubicBezTo>
                  <a:cubicBezTo>
                    <a:pt x="187" y="204"/>
                    <a:pt x="186" y="203"/>
                    <a:pt x="184" y="204"/>
                  </a:cubicBezTo>
                  <a:cubicBezTo>
                    <a:pt x="182" y="204"/>
                    <a:pt x="180" y="205"/>
                    <a:pt x="179" y="205"/>
                  </a:cubicBezTo>
                  <a:cubicBezTo>
                    <a:pt x="178" y="206"/>
                    <a:pt x="177" y="204"/>
                    <a:pt x="176" y="205"/>
                  </a:cubicBezTo>
                  <a:cubicBezTo>
                    <a:pt x="175" y="207"/>
                    <a:pt x="175" y="208"/>
                    <a:pt x="174" y="209"/>
                  </a:cubicBezTo>
                  <a:cubicBezTo>
                    <a:pt x="174" y="210"/>
                    <a:pt x="175" y="211"/>
                    <a:pt x="174" y="211"/>
                  </a:cubicBezTo>
                  <a:cubicBezTo>
                    <a:pt x="172" y="212"/>
                    <a:pt x="171" y="211"/>
                    <a:pt x="170" y="212"/>
                  </a:cubicBezTo>
                  <a:cubicBezTo>
                    <a:pt x="168" y="214"/>
                    <a:pt x="168" y="213"/>
                    <a:pt x="167" y="215"/>
                  </a:cubicBezTo>
                  <a:cubicBezTo>
                    <a:pt x="166" y="217"/>
                    <a:pt x="165" y="220"/>
                    <a:pt x="166" y="221"/>
                  </a:cubicBezTo>
                  <a:cubicBezTo>
                    <a:pt x="166" y="223"/>
                    <a:pt x="165" y="224"/>
                    <a:pt x="167" y="225"/>
                  </a:cubicBezTo>
                  <a:cubicBezTo>
                    <a:pt x="168" y="226"/>
                    <a:pt x="169" y="226"/>
                    <a:pt x="169" y="226"/>
                  </a:cubicBezTo>
                  <a:cubicBezTo>
                    <a:pt x="170" y="227"/>
                    <a:pt x="171" y="226"/>
                    <a:pt x="172" y="227"/>
                  </a:cubicBezTo>
                  <a:cubicBezTo>
                    <a:pt x="173" y="227"/>
                    <a:pt x="174" y="227"/>
                    <a:pt x="174" y="227"/>
                  </a:cubicBezTo>
                  <a:cubicBezTo>
                    <a:pt x="175" y="228"/>
                    <a:pt x="176" y="229"/>
                    <a:pt x="176" y="229"/>
                  </a:cubicBezTo>
                  <a:cubicBezTo>
                    <a:pt x="176" y="229"/>
                    <a:pt x="177" y="228"/>
                    <a:pt x="178" y="228"/>
                  </a:cubicBezTo>
                  <a:cubicBezTo>
                    <a:pt x="180" y="228"/>
                    <a:pt x="183" y="227"/>
                    <a:pt x="183" y="227"/>
                  </a:cubicBezTo>
                  <a:cubicBezTo>
                    <a:pt x="185" y="228"/>
                    <a:pt x="185" y="228"/>
                    <a:pt x="185" y="228"/>
                  </a:cubicBezTo>
                  <a:cubicBezTo>
                    <a:pt x="187" y="229"/>
                    <a:pt x="182" y="229"/>
                    <a:pt x="188" y="229"/>
                  </a:cubicBezTo>
                  <a:cubicBezTo>
                    <a:pt x="193" y="228"/>
                    <a:pt x="193" y="228"/>
                    <a:pt x="194" y="228"/>
                  </a:cubicBezTo>
                  <a:cubicBezTo>
                    <a:pt x="195" y="228"/>
                    <a:pt x="196" y="226"/>
                    <a:pt x="196" y="226"/>
                  </a:cubicBezTo>
                  <a:cubicBezTo>
                    <a:pt x="196" y="226"/>
                    <a:pt x="197" y="225"/>
                    <a:pt x="197" y="224"/>
                  </a:cubicBezTo>
                  <a:cubicBezTo>
                    <a:pt x="197" y="223"/>
                    <a:pt x="198" y="222"/>
                    <a:pt x="199" y="223"/>
                  </a:cubicBezTo>
                  <a:cubicBezTo>
                    <a:pt x="200" y="223"/>
                    <a:pt x="201" y="223"/>
                    <a:pt x="202" y="224"/>
                  </a:cubicBezTo>
                  <a:cubicBezTo>
                    <a:pt x="202" y="224"/>
                    <a:pt x="204" y="225"/>
                    <a:pt x="205" y="226"/>
                  </a:cubicBezTo>
                  <a:cubicBezTo>
                    <a:pt x="205" y="226"/>
                    <a:pt x="206" y="226"/>
                    <a:pt x="207" y="226"/>
                  </a:cubicBezTo>
                  <a:cubicBezTo>
                    <a:pt x="208" y="226"/>
                    <a:pt x="209" y="225"/>
                    <a:pt x="210" y="225"/>
                  </a:cubicBezTo>
                  <a:cubicBezTo>
                    <a:pt x="210" y="226"/>
                    <a:pt x="213" y="225"/>
                    <a:pt x="213" y="225"/>
                  </a:cubicBezTo>
                  <a:cubicBezTo>
                    <a:pt x="213" y="225"/>
                    <a:pt x="214" y="223"/>
                    <a:pt x="214" y="223"/>
                  </a:cubicBezTo>
                  <a:cubicBezTo>
                    <a:pt x="214" y="222"/>
                    <a:pt x="214" y="220"/>
                    <a:pt x="213" y="220"/>
                  </a:cubicBezTo>
                  <a:cubicBezTo>
                    <a:pt x="211" y="220"/>
                    <a:pt x="210" y="219"/>
                    <a:pt x="210" y="219"/>
                  </a:cubicBezTo>
                  <a:cubicBezTo>
                    <a:pt x="210" y="219"/>
                    <a:pt x="209" y="218"/>
                    <a:pt x="210" y="217"/>
                  </a:cubicBezTo>
                  <a:cubicBezTo>
                    <a:pt x="210" y="216"/>
                    <a:pt x="211" y="214"/>
                    <a:pt x="212" y="215"/>
                  </a:cubicBezTo>
                  <a:cubicBezTo>
                    <a:pt x="213" y="216"/>
                    <a:pt x="216" y="218"/>
                    <a:pt x="216" y="219"/>
                  </a:cubicBezTo>
                  <a:cubicBezTo>
                    <a:pt x="217" y="219"/>
                    <a:pt x="218" y="219"/>
                    <a:pt x="218" y="221"/>
                  </a:cubicBezTo>
                  <a:cubicBezTo>
                    <a:pt x="218" y="222"/>
                    <a:pt x="219" y="222"/>
                    <a:pt x="219" y="223"/>
                  </a:cubicBezTo>
                  <a:cubicBezTo>
                    <a:pt x="219" y="225"/>
                    <a:pt x="221" y="227"/>
                    <a:pt x="221" y="227"/>
                  </a:cubicBezTo>
                  <a:cubicBezTo>
                    <a:pt x="221" y="227"/>
                    <a:pt x="222" y="225"/>
                    <a:pt x="222" y="224"/>
                  </a:cubicBezTo>
                  <a:cubicBezTo>
                    <a:pt x="223" y="223"/>
                    <a:pt x="222" y="221"/>
                    <a:pt x="223" y="222"/>
                  </a:cubicBezTo>
                  <a:cubicBezTo>
                    <a:pt x="224" y="223"/>
                    <a:pt x="224" y="222"/>
                    <a:pt x="225" y="223"/>
                  </a:cubicBezTo>
                  <a:cubicBezTo>
                    <a:pt x="226" y="224"/>
                    <a:pt x="230" y="223"/>
                    <a:pt x="230" y="224"/>
                  </a:cubicBezTo>
                  <a:cubicBezTo>
                    <a:pt x="230" y="224"/>
                    <a:pt x="231" y="223"/>
                    <a:pt x="231" y="226"/>
                  </a:cubicBezTo>
                  <a:cubicBezTo>
                    <a:pt x="231" y="228"/>
                    <a:pt x="229" y="227"/>
                    <a:pt x="231" y="229"/>
                  </a:cubicBezTo>
                  <a:cubicBezTo>
                    <a:pt x="234" y="231"/>
                    <a:pt x="235" y="232"/>
                    <a:pt x="236" y="232"/>
                  </a:cubicBezTo>
                  <a:cubicBezTo>
                    <a:pt x="237" y="232"/>
                    <a:pt x="238" y="231"/>
                    <a:pt x="239" y="232"/>
                  </a:cubicBezTo>
                  <a:cubicBezTo>
                    <a:pt x="239" y="233"/>
                    <a:pt x="235" y="232"/>
                    <a:pt x="235" y="233"/>
                  </a:cubicBezTo>
                  <a:cubicBezTo>
                    <a:pt x="236" y="235"/>
                    <a:pt x="236" y="235"/>
                    <a:pt x="237" y="235"/>
                  </a:cubicBezTo>
                  <a:cubicBezTo>
                    <a:pt x="238" y="236"/>
                    <a:pt x="241" y="236"/>
                    <a:pt x="241" y="236"/>
                  </a:cubicBezTo>
                  <a:cubicBezTo>
                    <a:pt x="241" y="239"/>
                    <a:pt x="240" y="239"/>
                    <a:pt x="240" y="240"/>
                  </a:cubicBezTo>
                  <a:cubicBezTo>
                    <a:pt x="240" y="241"/>
                    <a:pt x="241" y="241"/>
                    <a:pt x="241" y="241"/>
                  </a:cubicBezTo>
                  <a:cubicBezTo>
                    <a:pt x="242" y="242"/>
                    <a:pt x="244" y="241"/>
                    <a:pt x="245" y="240"/>
                  </a:cubicBezTo>
                  <a:cubicBezTo>
                    <a:pt x="245" y="240"/>
                    <a:pt x="248" y="239"/>
                    <a:pt x="248" y="240"/>
                  </a:cubicBezTo>
                  <a:cubicBezTo>
                    <a:pt x="248" y="240"/>
                    <a:pt x="251" y="240"/>
                    <a:pt x="252" y="240"/>
                  </a:cubicBezTo>
                  <a:cubicBezTo>
                    <a:pt x="253" y="241"/>
                    <a:pt x="254" y="240"/>
                    <a:pt x="255" y="241"/>
                  </a:cubicBezTo>
                  <a:cubicBezTo>
                    <a:pt x="257" y="243"/>
                    <a:pt x="258" y="243"/>
                    <a:pt x="258" y="244"/>
                  </a:cubicBezTo>
                  <a:cubicBezTo>
                    <a:pt x="257" y="245"/>
                    <a:pt x="256" y="245"/>
                    <a:pt x="255" y="246"/>
                  </a:cubicBezTo>
                  <a:cubicBezTo>
                    <a:pt x="253" y="246"/>
                    <a:pt x="252" y="245"/>
                    <a:pt x="250" y="246"/>
                  </a:cubicBezTo>
                  <a:cubicBezTo>
                    <a:pt x="249" y="248"/>
                    <a:pt x="248" y="248"/>
                    <a:pt x="250" y="249"/>
                  </a:cubicBezTo>
                  <a:cubicBezTo>
                    <a:pt x="251" y="250"/>
                    <a:pt x="253" y="251"/>
                    <a:pt x="253" y="252"/>
                  </a:cubicBezTo>
                  <a:cubicBezTo>
                    <a:pt x="255" y="254"/>
                    <a:pt x="257" y="254"/>
                    <a:pt x="258" y="254"/>
                  </a:cubicBezTo>
                  <a:cubicBezTo>
                    <a:pt x="258" y="255"/>
                    <a:pt x="259" y="254"/>
                    <a:pt x="260" y="254"/>
                  </a:cubicBezTo>
                  <a:cubicBezTo>
                    <a:pt x="262" y="255"/>
                    <a:pt x="262" y="256"/>
                    <a:pt x="262" y="257"/>
                  </a:cubicBezTo>
                  <a:cubicBezTo>
                    <a:pt x="263" y="257"/>
                    <a:pt x="266" y="258"/>
                    <a:pt x="265" y="259"/>
                  </a:cubicBezTo>
                  <a:cubicBezTo>
                    <a:pt x="263" y="261"/>
                    <a:pt x="262" y="261"/>
                    <a:pt x="263" y="261"/>
                  </a:cubicBezTo>
                  <a:cubicBezTo>
                    <a:pt x="263" y="262"/>
                    <a:pt x="266" y="262"/>
                    <a:pt x="265" y="263"/>
                  </a:cubicBezTo>
                  <a:cubicBezTo>
                    <a:pt x="265" y="264"/>
                    <a:pt x="265" y="264"/>
                    <a:pt x="266" y="265"/>
                  </a:cubicBezTo>
                  <a:cubicBezTo>
                    <a:pt x="267" y="266"/>
                    <a:pt x="270" y="266"/>
                    <a:pt x="271" y="265"/>
                  </a:cubicBezTo>
                  <a:cubicBezTo>
                    <a:pt x="271" y="265"/>
                    <a:pt x="271" y="264"/>
                    <a:pt x="271" y="264"/>
                  </a:cubicBezTo>
                  <a:cubicBezTo>
                    <a:pt x="272" y="263"/>
                    <a:pt x="272" y="262"/>
                    <a:pt x="272" y="262"/>
                  </a:cubicBezTo>
                  <a:cubicBezTo>
                    <a:pt x="272" y="262"/>
                    <a:pt x="274" y="261"/>
                    <a:pt x="275" y="261"/>
                  </a:cubicBezTo>
                  <a:cubicBezTo>
                    <a:pt x="275" y="261"/>
                    <a:pt x="275" y="258"/>
                    <a:pt x="277" y="261"/>
                  </a:cubicBezTo>
                  <a:cubicBezTo>
                    <a:pt x="280" y="264"/>
                    <a:pt x="282" y="264"/>
                    <a:pt x="282" y="264"/>
                  </a:cubicBezTo>
                  <a:cubicBezTo>
                    <a:pt x="282" y="265"/>
                    <a:pt x="283" y="265"/>
                    <a:pt x="284" y="266"/>
                  </a:cubicBezTo>
                  <a:cubicBezTo>
                    <a:pt x="284" y="266"/>
                    <a:pt x="285" y="266"/>
                    <a:pt x="286" y="267"/>
                  </a:cubicBezTo>
                  <a:cubicBezTo>
                    <a:pt x="287" y="268"/>
                    <a:pt x="287" y="267"/>
                    <a:pt x="288" y="268"/>
                  </a:cubicBezTo>
                  <a:cubicBezTo>
                    <a:pt x="289" y="270"/>
                    <a:pt x="291" y="271"/>
                    <a:pt x="292" y="271"/>
                  </a:cubicBezTo>
                  <a:cubicBezTo>
                    <a:pt x="293" y="271"/>
                    <a:pt x="296" y="272"/>
                    <a:pt x="297" y="272"/>
                  </a:cubicBezTo>
                  <a:cubicBezTo>
                    <a:pt x="297" y="273"/>
                    <a:pt x="298" y="272"/>
                    <a:pt x="300" y="273"/>
                  </a:cubicBezTo>
                  <a:cubicBezTo>
                    <a:pt x="301" y="274"/>
                    <a:pt x="302" y="273"/>
                    <a:pt x="303" y="274"/>
                  </a:cubicBezTo>
                  <a:cubicBezTo>
                    <a:pt x="303" y="274"/>
                    <a:pt x="303" y="274"/>
                    <a:pt x="305" y="274"/>
                  </a:cubicBezTo>
                  <a:cubicBezTo>
                    <a:pt x="306" y="274"/>
                    <a:pt x="308" y="273"/>
                    <a:pt x="308" y="274"/>
                  </a:cubicBezTo>
                  <a:cubicBezTo>
                    <a:pt x="309" y="274"/>
                    <a:pt x="309" y="275"/>
                    <a:pt x="311" y="275"/>
                  </a:cubicBezTo>
                  <a:cubicBezTo>
                    <a:pt x="313" y="275"/>
                    <a:pt x="313" y="274"/>
                    <a:pt x="315" y="275"/>
                  </a:cubicBezTo>
                  <a:cubicBezTo>
                    <a:pt x="316" y="276"/>
                    <a:pt x="319" y="278"/>
                    <a:pt x="319" y="278"/>
                  </a:cubicBezTo>
                  <a:cubicBezTo>
                    <a:pt x="319" y="278"/>
                    <a:pt x="322" y="278"/>
                    <a:pt x="322" y="279"/>
                  </a:cubicBezTo>
                  <a:cubicBezTo>
                    <a:pt x="323" y="279"/>
                    <a:pt x="324" y="280"/>
                    <a:pt x="324" y="280"/>
                  </a:cubicBezTo>
                  <a:cubicBezTo>
                    <a:pt x="325" y="279"/>
                    <a:pt x="326" y="279"/>
                    <a:pt x="326" y="279"/>
                  </a:cubicBezTo>
                  <a:cubicBezTo>
                    <a:pt x="327" y="279"/>
                    <a:pt x="327" y="278"/>
                    <a:pt x="327" y="277"/>
                  </a:cubicBezTo>
                  <a:cubicBezTo>
                    <a:pt x="327" y="275"/>
                    <a:pt x="327" y="275"/>
                    <a:pt x="327" y="274"/>
                  </a:cubicBezTo>
                  <a:cubicBezTo>
                    <a:pt x="326" y="274"/>
                    <a:pt x="327" y="272"/>
                    <a:pt x="326" y="271"/>
                  </a:cubicBezTo>
                  <a:cubicBezTo>
                    <a:pt x="325" y="270"/>
                    <a:pt x="328" y="271"/>
                    <a:pt x="324" y="269"/>
                  </a:cubicBezTo>
                  <a:cubicBezTo>
                    <a:pt x="321" y="267"/>
                    <a:pt x="314" y="263"/>
                    <a:pt x="314" y="262"/>
                  </a:cubicBezTo>
                  <a:cubicBezTo>
                    <a:pt x="314" y="261"/>
                    <a:pt x="313" y="259"/>
                    <a:pt x="312" y="258"/>
                  </a:cubicBezTo>
                  <a:cubicBezTo>
                    <a:pt x="310" y="258"/>
                    <a:pt x="316" y="258"/>
                    <a:pt x="309" y="256"/>
                  </a:cubicBezTo>
                  <a:cubicBezTo>
                    <a:pt x="301" y="253"/>
                    <a:pt x="300" y="252"/>
                    <a:pt x="300" y="252"/>
                  </a:cubicBezTo>
                  <a:cubicBezTo>
                    <a:pt x="299" y="251"/>
                    <a:pt x="300" y="250"/>
                    <a:pt x="299" y="249"/>
                  </a:cubicBezTo>
                  <a:cubicBezTo>
                    <a:pt x="297" y="248"/>
                    <a:pt x="298" y="248"/>
                    <a:pt x="296" y="247"/>
                  </a:cubicBezTo>
                  <a:cubicBezTo>
                    <a:pt x="294" y="245"/>
                    <a:pt x="294" y="244"/>
                    <a:pt x="294" y="244"/>
                  </a:cubicBezTo>
                  <a:cubicBezTo>
                    <a:pt x="293" y="244"/>
                    <a:pt x="293" y="243"/>
                    <a:pt x="292" y="243"/>
                  </a:cubicBezTo>
                  <a:cubicBezTo>
                    <a:pt x="292" y="242"/>
                    <a:pt x="292" y="240"/>
                    <a:pt x="292" y="240"/>
                  </a:cubicBezTo>
                  <a:cubicBezTo>
                    <a:pt x="292" y="240"/>
                    <a:pt x="293" y="239"/>
                    <a:pt x="294" y="239"/>
                  </a:cubicBezTo>
                  <a:cubicBezTo>
                    <a:pt x="295" y="239"/>
                    <a:pt x="296" y="240"/>
                    <a:pt x="297" y="240"/>
                  </a:cubicBezTo>
                  <a:cubicBezTo>
                    <a:pt x="297" y="241"/>
                    <a:pt x="299" y="241"/>
                    <a:pt x="300" y="241"/>
                  </a:cubicBezTo>
                  <a:cubicBezTo>
                    <a:pt x="300" y="242"/>
                    <a:pt x="303" y="242"/>
                    <a:pt x="303" y="243"/>
                  </a:cubicBezTo>
                  <a:cubicBezTo>
                    <a:pt x="303" y="244"/>
                    <a:pt x="304" y="243"/>
                    <a:pt x="305" y="245"/>
                  </a:cubicBezTo>
                  <a:cubicBezTo>
                    <a:pt x="306" y="246"/>
                    <a:pt x="313" y="249"/>
                    <a:pt x="314" y="249"/>
                  </a:cubicBezTo>
                  <a:cubicBezTo>
                    <a:pt x="315" y="250"/>
                    <a:pt x="319" y="252"/>
                    <a:pt x="319" y="252"/>
                  </a:cubicBezTo>
                  <a:cubicBezTo>
                    <a:pt x="319" y="252"/>
                    <a:pt x="323" y="251"/>
                    <a:pt x="323" y="253"/>
                  </a:cubicBezTo>
                  <a:cubicBezTo>
                    <a:pt x="323" y="254"/>
                    <a:pt x="325" y="256"/>
                    <a:pt x="326" y="256"/>
                  </a:cubicBezTo>
                  <a:cubicBezTo>
                    <a:pt x="327" y="257"/>
                    <a:pt x="327" y="256"/>
                    <a:pt x="330" y="256"/>
                  </a:cubicBezTo>
                  <a:cubicBezTo>
                    <a:pt x="332" y="257"/>
                    <a:pt x="332" y="253"/>
                    <a:pt x="333" y="257"/>
                  </a:cubicBezTo>
                  <a:cubicBezTo>
                    <a:pt x="334" y="257"/>
                    <a:pt x="334" y="260"/>
                    <a:pt x="334" y="260"/>
                  </a:cubicBezTo>
                  <a:cubicBezTo>
                    <a:pt x="334" y="260"/>
                    <a:pt x="335" y="259"/>
                    <a:pt x="336" y="260"/>
                  </a:cubicBezTo>
                  <a:cubicBezTo>
                    <a:pt x="337" y="260"/>
                    <a:pt x="338" y="261"/>
                    <a:pt x="338" y="261"/>
                  </a:cubicBezTo>
                  <a:cubicBezTo>
                    <a:pt x="339" y="263"/>
                    <a:pt x="339" y="263"/>
                    <a:pt x="339" y="263"/>
                  </a:cubicBezTo>
                  <a:cubicBezTo>
                    <a:pt x="339" y="263"/>
                    <a:pt x="341" y="264"/>
                    <a:pt x="341" y="265"/>
                  </a:cubicBezTo>
                  <a:cubicBezTo>
                    <a:pt x="341" y="265"/>
                    <a:pt x="342" y="264"/>
                    <a:pt x="342" y="265"/>
                  </a:cubicBezTo>
                  <a:cubicBezTo>
                    <a:pt x="344" y="267"/>
                    <a:pt x="343" y="268"/>
                    <a:pt x="343" y="267"/>
                  </a:cubicBezTo>
                  <a:cubicBezTo>
                    <a:pt x="344" y="267"/>
                    <a:pt x="345" y="264"/>
                    <a:pt x="345" y="264"/>
                  </a:cubicBezTo>
                  <a:cubicBezTo>
                    <a:pt x="345" y="264"/>
                    <a:pt x="345" y="262"/>
                    <a:pt x="344" y="262"/>
                  </a:cubicBezTo>
                  <a:cubicBezTo>
                    <a:pt x="343" y="262"/>
                    <a:pt x="342" y="261"/>
                    <a:pt x="342" y="261"/>
                  </a:cubicBezTo>
                  <a:cubicBezTo>
                    <a:pt x="342" y="261"/>
                    <a:pt x="342" y="260"/>
                    <a:pt x="341" y="260"/>
                  </a:cubicBezTo>
                  <a:cubicBezTo>
                    <a:pt x="340" y="259"/>
                    <a:pt x="339" y="258"/>
                    <a:pt x="340" y="258"/>
                  </a:cubicBezTo>
                  <a:cubicBezTo>
                    <a:pt x="340" y="257"/>
                    <a:pt x="341" y="256"/>
                    <a:pt x="341" y="256"/>
                  </a:cubicBezTo>
                  <a:cubicBezTo>
                    <a:pt x="341" y="256"/>
                    <a:pt x="344" y="259"/>
                    <a:pt x="344" y="258"/>
                  </a:cubicBezTo>
                  <a:cubicBezTo>
                    <a:pt x="345" y="257"/>
                    <a:pt x="345" y="254"/>
                    <a:pt x="345" y="254"/>
                  </a:cubicBezTo>
                  <a:cubicBezTo>
                    <a:pt x="345" y="254"/>
                    <a:pt x="345" y="251"/>
                    <a:pt x="344" y="251"/>
                  </a:cubicBezTo>
                  <a:cubicBezTo>
                    <a:pt x="343" y="252"/>
                    <a:pt x="343" y="250"/>
                    <a:pt x="343" y="250"/>
                  </a:cubicBezTo>
                  <a:cubicBezTo>
                    <a:pt x="346" y="249"/>
                    <a:pt x="346" y="249"/>
                    <a:pt x="346" y="249"/>
                  </a:cubicBezTo>
                  <a:cubicBezTo>
                    <a:pt x="346" y="249"/>
                    <a:pt x="347" y="249"/>
                    <a:pt x="347" y="249"/>
                  </a:cubicBezTo>
                  <a:cubicBezTo>
                    <a:pt x="348" y="248"/>
                    <a:pt x="348" y="245"/>
                    <a:pt x="348" y="245"/>
                  </a:cubicBezTo>
                  <a:cubicBezTo>
                    <a:pt x="347" y="242"/>
                    <a:pt x="347" y="242"/>
                    <a:pt x="347" y="242"/>
                  </a:cubicBezTo>
                  <a:cubicBezTo>
                    <a:pt x="347" y="242"/>
                    <a:pt x="346" y="239"/>
                    <a:pt x="346" y="239"/>
                  </a:cubicBezTo>
                  <a:cubicBezTo>
                    <a:pt x="345" y="239"/>
                    <a:pt x="345" y="238"/>
                    <a:pt x="345" y="237"/>
                  </a:cubicBezTo>
                  <a:cubicBezTo>
                    <a:pt x="345" y="237"/>
                    <a:pt x="345" y="237"/>
                    <a:pt x="344" y="236"/>
                  </a:cubicBezTo>
                  <a:cubicBezTo>
                    <a:pt x="344" y="235"/>
                    <a:pt x="344" y="233"/>
                    <a:pt x="343" y="233"/>
                  </a:cubicBezTo>
                  <a:cubicBezTo>
                    <a:pt x="341" y="233"/>
                    <a:pt x="341" y="232"/>
                    <a:pt x="340" y="232"/>
                  </a:cubicBezTo>
                  <a:cubicBezTo>
                    <a:pt x="339" y="232"/>
                    <a:pt x="339" y="230"/>
                    <a:pt x="339" y="230"/>
                  </a:cubicBezTo>
                  <a:cubicBezTo>
                    <a:pt x="338" y="229"/>
                    <a:pt x="337" y="227"/>
                    <a:pt x="338" y="228"/>
                  </a:cubicBezTo>
                  <a:cubicBezTo>
                    <a:pt x="339" y="228"/>
                    <a:pt x="339" y="226"/>
                    <a:pt x="339" y="225"/>
                  </a:cubicBezTo>
                  <a:cubicBezTo>
                    <a:pt x="339" y="225"/>
                    <a:pt x="341" y="222"/>
                    <a:pt x="339" y="222"/>
                  </a:cubicBezTo>
                  <a:cubicBezTo>
                    <a:pt x="337" y="221"/>
                    <a:pt x="336" y="219"/>
                    <a:pt x="335" y="219"/>
                  </a:cubicBezTo>
                  <a:cubicBezTo>
                    <a:pt x="334" y="220"/>
                    <a:pt x="334" y="218"/>
                    <a:pt x="333" y="218"/>
                  </a:cubicBezTo>
                  <a:cubicBezTo>
                    <a:pt x="333" y="217"/>
                    <a:pt x="333" y="215"/>
                    <a:pt x="332" y="216"/>
                  </a:cubicBezTo>
                  <a:cubicBezTo>
                    <a:pt x="331" y="217"/>
                    <a:pt x="331" y="217"/>
                    <a:pt x="330" y="218"/>
                  </a:cubicBezTo>
                  <a:cubicBezTo>
                    <a:pt x="329" y="219"/>
                    <a:pt x="328" y="218"/>
                    <a:pt x="328" y="218"/>
                  </a:cubicBezTo>
                  <a:cubicBezTo>
                    <a:pt x="327" y="218"/>
                    <a:pt x="327" y="216"/>
                    <a:pt x="326" y="216"/>
                  </a:cubicBezTo>
                  <a:cubicBezTo>
                    <a:pt x="324" y="216"/>
                    <a:pt x="324" y="214"/>
                    <a:pt x="323" y="215"/>
                  </a:cubicBezTo>
                  <a:cubicBezTo>
                    <a:pt x="322" y="216"/>
                    <a:pt x="320" y="215"/>
                    <a:pt x="320" y="215"/>
                  </a:cubicBezTo>
                  <a:cubicBezTo>
                    <a:pt x="319" y="216"/>
                    <a:pt x="319" y="212"/>
                    <a:pt x="319" y="211"/>
                  </a:cubicBezTo>
                  <a:cubicBezTo>
                    <a:pt x="319" y="211"/>
                    <a:pt x="319" y="208"/>
                    <a:pt x="318" y="209"/>
                  </a:cubicBezTo>
                  <a:cubicBezTo>
                    <a:pt x="318" y="209"/>
                    <a:pt x="317" y="207"/>
                    <a:pt x="316" y="207"/>
                  </a:cubicBezTo>
                  <a:cubicBezTo>
                    <a:pt x="315" y="208"/>
                    <a:pt x="315" y="205"/>
                    <a:pt x="315" y="205"/>
                  </a:cubicBezTo>
                  <a:cubicBezTo>
                    <a:pt x="314" y="205"/>
                    <a:pt x="314" y="203"/>
                    <a:pt x="314" y="203"/>
                  </a:cubicBezTo>
                  <a:cubicBezTo>
                    <a:pt x="314" y="203"/>
                    <a:pt x="315" y="202"/>
                    <a:pt x="313" y="202"/>
                  </a:cubicBezTo>
                  <a:cubicBezTo>
                    <a:pt x="312" y="201"/>
                    <a:pt x="313" y="199"/>
                    <a:pt x="311" y="199"/>
                  </a:cubicBezTo>
                  <a:cubicBezTo>
                    <a:pt x="309" y="199"/>
                    <a:pt x="310" y="197"/>
                    <a:pt x="308" y="198"/>
                  </a:cubicBezTo>
                  <a:cubicBezTo>
                    <a:pt x="307" y="199"/>
                    <a:pt x="306" y="200"/>
                    <a:pt x="306" y="200"/>
                  </a:cubicBezTo>
                  <a:cubicBezTo>
                    <a:pt x="305" y="198"/>
                    <a:pt x="305" y="197"/>
                    <a:pt x="305" y="196"/>
                  </a:cubicBezTo>
                  <a:cubicBezTo>
                    <a:pt x="305" y="195"/>
                    <a:pt x="305" y="194"/>
                    <a:pt x="304" y="194"/>
                  </a:cubicBezTo>
                  <a:cubicBezTo>
                    <a:pt x="303" y="194"/>
                    <a:pt x="303" y="193"/>
                    <a:pt x="302" y="193"/>
                  </a:cubicBezTo>
                  <a:cubicBezTo>
                    <a:pt x="301" y="193"/>
                    <a:pt x="302" y="192"/>
                    <a:pt x="301" y="192"/>
                  </a:cubicBezTo>
                  <a:cubicBezTo>
                    <a:pt x="300" y="192"/>
                    <a:pt x="300" y="191"/>
                    <a:pt x="299" y="190"/>
                  </a:cubicBezTo>
                  <a:cubicBezTo>
                    <a:pt x="298" y="190"/>
                    <a:pt x="298" y="189"/>
                    <a:pt x="298" y="189"/>
                  </a:cubicBezTo>
                  <a:cubicBezTo>
                    <a:pt x="297" y="187"/>
                    <a:pt x="297" y="187"/>
                    <a:pt x="297" y="187"/>
                  </a:cubicBezTo>
                  <a:cubicBezTo>
                    <a:pt x="297" y="187"/>
                    <a:pt x="298" y="187"/>
                    <a:pt x="299" y="188"/>
                  </a:cubicBezTo>
                  <a:cubicBezTo>
                    <a:pt x="299" y="189"/>
                    <a:pt x="301" y="189"/>
                    <a:pt x="301" y="190"/>
                  </a:cubicBezTo>
                  <a:cubicBezTo>
                    <a:pt x="301" y="190"/>
                    <a:pt x="302" y="191"/>
                    <a:pt x="302" y="191"/>
                  </a:cubicBezTo>
                  <a:cubicBezTo>
                    <a:pt x="302" y="191"/>
                    <a:pt x="304" y="192"/>
                    <a:pt x="305" y="192"/>
                  </a:cubicBezTo>
                  <a:cubicBezTo>
                    <a:pt x="305" y="193"/>
                    <a:pt x="306" y="193"/>
                    <a:pt x="306" y="193"/>
                  </a:cubicBezTo>
                  <a:cubicBezTo>
                    <a:pt x="307" y="194"/>
                    <a:pt x="310" y="193"/>
                    <a:pt x="310" y="193"/>
                  </a:cubicBezTo>
                  <a:cubicBezTo>
                    <a:pt x="311" y="193"/>
                    <a:pt x="312" y="194"/>
                    <a:pt x="312" y="193"/>
                  </a:cubicBezTo>
                  <a:cubicBezTo>
                    <a:pt x="312" y="191"/>
                    <a:pt x="312" y="192"/>
                    <a:pt x="312" y="191"/>
                  </a:cubicBezTo>
                  <a:cubicBezTo>
                    <a:pt x="313" y="190"/>
                    <a:pt x="314" y="188"/>
                    <a:pt x="312" y="188"/>
                  </a:cubicBezTo>
                  <a:cubicBezTo>
                    <a:pt x="311" y="189"/>
                    <a:pt x="311" y="187"/>
                    <a:pt x="310" y="188"/>
                  </a:cubicBezTo>
                  <a:cubicBezTo>
                    <a:pt x="309" y="188"/>
                    <a:pt x="308" y="186"/>
                    <a:pt x="308" y="186"/>
                  </a:cubicBezTo>
                  <a:cubicBezTo>
                    <a:pt x="307" y="186"/>
                    <a:pt x="307" y="184"/>
                    <a:pt x="308" y="184"/>
                  </a:cubicBezTo>
                  <a:cubicBezTo>
                    <a:pt x="309" y="184"/>
                    <a:pt x="309" y="184"/>
                    <a:pt x="310" y="184"/>
                  </a:cubicBezTo>
                  <a:cubicBezTo>
                    <a:pt x="312" y="184"/>
                    <a:pt x="315" y="183"/>
                    <a:pt x="314" y="183"/>
                  </a:cubicBezTo>
                  <a:cubicBezTo>
                    <a:pt x="314" y="183"/>
                    <a:pt x="314" y="182"/>
                    <a:pt x="314" y="181"/>
                  </a:cubicBezTo>
                  <a:cubicBezTo>
                    <a:pt x="314" y="179"/>
                    <a:pt x="314" y="178"/>
                    <a:pt x="315" y="178"/>
                  </a:cubicBezTo>
                  <a:cubicBezTo>
                    <a:pt x="316" y="179"/>
                    <a:pt x="316" y="178"/>
                    <a:pt x="317" y="179"/>
                  </a:cubicBezTo>
                  <a:cubicBezTo>
                    <a:pt x="318" y="179"/>
                    <a:pt x="319" y="179"/>
                    <a:pt x="320" y="180"/>
                  </a:cubicBezTo>
                  <a:cubicBezTo>
                    <a:pt x="320" y="182"/>
                    <a:pt x="322" y="182"/>
                    <a:pt x="322" y="183"/>
                  </a:cubicBezTo>
                  <a:cubicBezTo>
                    <a:pt x="322" y="184"/>
                    <a:pt x="323" y="184"/>
                    <a:pt x="323" y="185"/>
                  </a:cubicBezTo>
                  <a:cubicBezTo>
                    <a:pt x="323" y="186"/>
                    <a:pt x="325" y="185"/>
                    <a:pt x="325" y="185"/>
                  </a:cubicBezTo>
                  <a:cubicBezTo>
                    <a:pt x="326" y="186"/>
                    <a:pt x="327" y="185"/>
                    <a:pt x="327" y="186"/>
                  </a:cubicBezTo>
                  <a:cubicBezTo>
                    <a:pt x="328" y="187"/>
                    <a:pt x="328" y="186"/>
                    <a:pt x="328" y="188"/>
                  </a:cubicBezTo>
                  <a:cubicBezTo>
                    <a:pt x="328" y="189"/>
                    <a:pt x="329" y="189"/>
                    <a:pt x="330" y="190"/>
                  </a:cubicBezTo>
                  <a:cubicBezTo>
                    <a:pt x="330" y="191"/>
                    <a:pt x="330" y="191"/>
                    <a:pt x="331" y="192"/>
                  </a:cubicBezTo>
                  <a:cubicBezTo>
                    <a:pt x="332" y="192"/>
                    <a:pt x="334" y="190"/>
                    <a:pt x="334" y="191"/>
                  </a:cubicBezTo>
                  <a:cubicBezTo>
                    <a:pt x="335" y="193"/>
                    <a:pt x="337" y="193"/>
                    <a:pt x="337" y="193"/>
                  </a:cubicBezTo>
                  <a:cubicBezTo>
                    <a:pt x="338" y="195"/>
                    <a:pt x="339" y="193"/>
                    <a:pt x="339" y="194"/>
                  </a:cubicBezTo>
                  <a:cubicBezTo>
                    <a:pt x="340" y="195"/>
                    <a:pt x="342" y="196"/>
                    <a:pt x="341" y="197"/>
                  </a:cubicBezTo>
                  <a:cubicBezTo>
                    <a:pt x="340" y="198"/>
                    <a:pt x="339" y="199"/>
                    <a:pt x="340" y="199"/>
                  </a:cubicBezTo>
                  <a:cubicBezTo>
                    <a:pt x="341" y="199"/>
                    <a:pt x="345" y="200"/>
                    <a:pt x="344" y="200"/>
                  </a:cubicBezTo>
                  <a:cubicBezTo>
                    <a:pt x="344" y="201"/>
                    <a:pt x="345" y="200"/>
                    <a:pt x="344" y="202"/>
                  </a:cubicBezTo>
                  <a:cubicBezTo>
                    <a:pt x="342" y="204"/>
                    <a:pt x="343" y="204"/>
                    <a:pt x="344" y="205"/>
                  </a:cubicBezTo>
                  <a:cubicBezTo>
                    <a:pt x="345" y="206"/>
                    <a:pt x="346" y="207"/>
                    <a:pt x="346" y="207"/>
                  </a:cubicBezTo>
                  <a:cubicBezTo>
                    <a:pt x="347" y="208"/>
                    <a:pt x="348" y="208"/>
                    <a:pt x="349" y="208"/>
                  </a:cubicBezTo>
                  <a:cubicBezTo>
                    <a:pt x="350" y="209"/>
                    <a:pt x="351" y="207"/>
                    <a:pt x="351" y="207"/>
                  </a:cubicBezTo>
                  <a:cubicBezTo>
                    <a:pt x="352" y="207"/>
                    <a:pt x="354" y="207"/>
                    <a:pt x="354" y="209"/>
                  </a:cubicBezTo>
                  <a:cubicBezTo>
                    <a:pt x="354" y="211"/>
                    <a:pt x="356" y="211"/>
                    <a:pt x="357" y="211"/>
                  </a:cubicBezTo>
                  <a:cubicBezTo>
                    <a:pt x="358" y="211"/>
                    <a:pt x="359" y="211"/>
                    <a:pt x="360" y="211"/>
                  </a:cubicBezTo>
                  <a:cubicBezTo>
                    <a:pt x="360" y="212"/>
                    <a:pt x="361" y="214"/>
                    <a:pt x="362" y="214"/>
                  </a:cubicBezTo>
                  <a:cubicBezTo>
                    <a:pt x="363" y="214"/>
                    <a:pt x="364" y="212"/>
                    <a:pt x="365" y="211"/>
                  </a:cubicBezTo>
                  <a:cubicBezTo>
                    <a:pt x="365" y="210"/>
                    <a:pt x="367" y="207"/>
                    <a:pt x="366" y="205"/>
                  </a:cubicBezTo>
                  <a:cubicBezTo>
                    <a:pt x="365" y="204"/>
                    <a:pt x="365" y="204"/>
                    <a:pt x="365" y="202"/>
                  </a:cubicBezTo>
                  <a:cubicBezTo>
                    <a:pt x="364" y="200"/>
                    <a:pt x="364" y="201"/>
                    <a:pt x="364" y="199"/>
                  </a:cubicBezTo>
                  <a:cubicBezTo>
                    <a:pt x="365" y="196"/>
                    <a:pt x="367" y="197"/>
                    <a:pt x="367" y="197"/>
                  </a:cubicBezTo>
                  <a:cubicBezTo>
                    <a:pt x="366" y="198"/>
                    <a:pt x="367" y="198"/>
                    <a:pt x="368" y="198"/>
                  </a:cubicBezTo>
                  <a:cubicBezTo>
                    <a:pt x="369" y="199"/>
                    <a:pt x="372" y="198"/>
                    <a:pt x="372" y="198"/>
                  </a:cubicBezTo>
                  <a:cubicBezTo>
                    <a:pt x="375" y="195"/>
                    <a:pt x="375" y="195"/>
                    <a:pt x="375" y="195"/>
                  </a:cubicBezTo>
                  <a:cubicBezTo>
                    <a:pt x="376" y="194"/>
                    <a:pt x="376" y="194"/>
                    <a:pt x="376" y="194"/>
                  </a:cubicBezTo>
                  <a:cubicBezTo>
                    <a:pt x="378" y="193"/>
                    <a:pt x="378" y="193"/>
                    <a:pt x="378" y="193"/>
                  </a:cubicBezTo>
                  <a:cubicBezTo>
                    <a:pt x="378" y="193"/>
                    <a:pt x="379" y="192"/>
                    <a:pt x="380" y="191"/>
                  </a:cubicBezTo>
                  <a:cubicBezTo>
                    <a:pt x="380" y="190"/>
                    <a:pt x="381" y="190"/>
                    <a:pt x="381" y="189"/>
                  </a:cubicBezTo>
                  <a:cubicBezTo>
                    <a:pt x="381" y="189"/>
                    <a:pt x="382" y="189"/>
                    <a:pt x="381" y="188"/>
                  </a:cubicBezTo>
                  <a:cubicBezTo>
                    <a:pt x="380" y="187"/>
                    <a:pt x="378" y="186"/>
                    <a:pt x="378" y="185"/>
                  </a:cubicBezTo>
                  <a:cubicBezTo>
                    <a:pt x="378" y="184"/>
                    <a:pt x="378" y="182"/>
                    <a:pt x="378" y="182"/>
                  </a:cubicBezTo>
                  <a:cubicBezTo>
                    <a:pt x="379" y="182"/>
                    <a:pt x="380" y="183"/>
                    <a:pt x="381" y="183"/>
                  </a:cubicBezTo>
                  <a:cubicBezTo>
                    <a:pt x="383" y="183"/>
                    <a:pt x="385" y="182"/>
                    <a:pt x="385" y="183"/>
                  </a:cubicBezTo>
                  <a:cubicBezTo>
                    <a:pt x="386" y="184"/>
                    <a:pt x="385" y="184"/>
                    <a:pt x="387" y="184"/>
                  </a:cubicBezTo>
                  <a:cubicBezTo>
                    <a:pt x="390" y="184"/>
                    <a:pt x="391" y="183"/>
                    <a:pt x="392" y="183"/>
                  </a:cubicBezTo>
                  <a:cubicBezTo>
                    <a:pt x="392" y="184"/>
                    <a:pt x="394" y="178"/>
                    <a:pt x="395" y="178"/>
                  </a:cubicBezTo>
                  <a:cubicBezTo>
                    <a:pt x="395" y="177"/>
                    <a:pt x="395" y="175"/>
                    <a:pt x="395" y="175"/>
                  </a:cubicBezTo>
                  <a:cubicBezTo>
                    <a:pt x="394" y="175"/>
                    <a:pt x="394" y="173"/>
                    <a:pt x="394" y="173"/>
                  </a:cubicBezTo>
                  <a:cubicBezTo>
                    <a:pt x="394" y="173"/>
                    <a:pt x="393" y="171"/>
                    <a:pt x="391" y="171"/>
                  </a:cubicBezTo>
                  <a:cubicBezTo>
                    <a:pt x="389" y="170"/>
                    <a:pt x="388" y="169"/>
                    <a:pt x="387" y="169"/>
                  </a:cubicBezTo>
                  <a:cubicBezTo>
                    <a:pt x="385" y="169"/>
                    <a:pt x="386" y="168"/>
                    <a:pt x="384" y="169"/>
                  </a:cubicBezTo>
                  <a:cubicBezTo>
                    <a:pt x="383" y="169"/>
                    <a:pt x="384" y="169"/>
                    <a:pt x="382" y="168"/>
                  </a:cubicBezTo>
                  <a:cubicBezTo>
                    <a:pt x="380" y="167"/>
                    <a:pt x="381" y="165"/>
                    <a:pt x="380" y="166"/>
                  </a:cubicBezTo>
                  <a:cubicBezTo>
                    <a:pt x="378" y="168"/>
                    <a:pt x="378" y="167"/>
                    <a:pt x="377" y="169"/>
                  </a:cubicBezTo>
                  <a:cubicBezTo>
                    <a:pt x="376" y="170"/>
                    <a:pt x="376" y="169"/>
                    <a:pt x="375" y="169"/>
                  </a:cubicBezTo>
                  <a:cubicBezTo>
                    <a:pt x="373" y="170"/>
                    <a:pt x="372" y="170"/>
                    <a:pt x="373" y="169"/>
                  </a:cubicBezTo>
                  <a:cubicBezTo>
                    <a:pt x="374" y="167"/>
                    <a:pt x="374" y="166"/>
                    <a:pt x="375" y="165"/>
                  </a:cubicBezTo>
                  <a:cubicBezTo>
                    <a:pt x="376" y="165"/>
                    <a:pt x="378" y="164"/>
                    <a:pt x="377" y="164"/>
                  </a:cubicBezTo>
                  <a:cubicBezTo>
                    <a:pt x="377" y="164"/>
                    <a:pt x="377" y="162"/>
                    <a:pt x="375" y="162"/>
                  </a:cubicBezTo>
                  <a:cubicBezTo>
                    <a:pt x="373" y="162"/>
                    <a:pt x="374" y="161"/>
                    <a:pt x="372" y="160"/>
                  </a:cubicBezTo>
                  <a:cubicBezTo>
                    <a:pt x="371" y="160"/>
                    <a:pt x="371" y="158"/>
                    <a:pt x="370" y="158"/>
                  </a:cubicBezTo>
                  <a:cubicBezTo>
                    <a:pt x="370" y="157"/>
                    <a:pt x="369" y="154"/>
                    <a:pt x="368" y="154"/>
                  </a:cubicBezTo>
                  <a:cubicBezTo>
                    <a:pt x="367" y="154"/>
                    <a:pt x="365" y="154"/>
                    <a:pt x="363" y="154"/>
                  </a:cubicBezTo>
                  <a:cubicBezTo>
                    <a:pt x="360" y="154"/>
                    <a:pt x="360" y="153"/>
                    <a:pt x="358" y="155"/>
                  </a:cubicBezTo>
                  <a:cubicBezTo>
                    <a:pt x="357" y="156"/>
                    <a:pt x="357" y="157"/>
                    <a:pt x="356" y="158"/>
                  </a:cubicBezTo>
                  <a:cubicBezTo>
                    <a:pt x="355" y="158"/>
                    <a:pt x="356" y="159"/>
                    <a:pt x="354" y="160"/>
                  </a:cubicBezTo>
                  <a:cubicBezTo>
                    <a:pt x="353" y="161"/>
                    <a:pt x="353" y="159"/>
                    <a:pt x="353" y="159"/>
                  </a:cubicBezTo>
                  <a:cubicBezTo>
                    <a:pt x="352" y="158"/>
                    <a:pt x="354" y="156"/>
                    <a:pt x="354" y="156"/>
                  </a:cubicBezTo>
                  <a:cubicBezTo>
                    <a:pt x="354" y="156"/>
                    <a:pt x="355" y="156"/>
                    <a:pt x="354" y="153"/>
                  </a:cubicBezTo>
                  <a:cubicBezTo>
                    <a:pt x="353" y="151"/>
                    <a:pt x="355" y="148"/>
                    <a:pt x="353" y="148"/>
                  </a:cubicBezTo>
                  <a:cubicBezTo>
                    <a:pt x="351" y="149"/>
                    <a:pt x="352" y="149"/>
                    <a:pt x="350" y="148"/>
                  </a:cubicBezTo>
                  <a:cubicBezTo>
                    <a:pt x="348" y="147"/>
                    <a:pt x="347" y="146"/>
                    <a:pt x="347" y="146"/>
                  </a:cubicBezTo>
                  <a:cubicBezTo>
                    <a:pt x="346" y="146"/>
                    <a:pt x="344" y="147"/>
                    <a:pt x="343" y="147"/>
                  </a:cubicBezTo>
                  <a:cubicBezTo>
                    <a:pt x="342" y="146"/>
                    <a:pt x="342" y="144"/>
                    <a:pt x="340" y="144"/>
                  </a:cubicBezTo>
                  <a:cubicBezTo>
                    <a:pt x="339" y="144"/>
                    <a:pt x="339" y="143"/>
                    <a:pt x="338" y="145"/>
                  </a:cubicBezTo>
                  <a:cubicBezTo>
                    <a:pt x="337" y="146"/>
                    <a:pt x="338" y="146"/>
                    <a:pt x="337" y="147"/>
                  </a:cubicBezTo>
                  <a:cubicBezTo>
                    <a:pt x="337" y="147"/>
                    <a:pt x="337" y="146"/>
                    <a:pt x="335" y="147"/>
                  </a:cubicBezTo>
                  <a:cubicBezTo>
                    <a:pt x="332" y="147"/>
                    <a:pt x="333" y="146"/>
                    <a:pt x="332" y="147"/>
                  </a:cubicBezTo>
                  <a:cubicBezTo>
                    <a:pt x="331" y="149"/>
                    <a:pt x="331" y="149"/>
                    <a:pt x="330" y="149"/>
                  </a:cubicBezTo>
                  <a:cubicBezTo>
                    <a:pt x="328" y="149"/>
                    <a:pt x="328" y="148"/>
                    <a:pt x="328" y="147"/>
                  </a:cubicBezTo>
                  <a:cubicBezTo>
                    <a:pt x="328" y="147"/>
                    <a:pt x="328" y="147"/>
                    <a:pt x="329" y="146"/>
                  </a:cubicBezTo>
                  <a:cubicBezTo>
                    <a:pt x="330" y="145"/>
                    <a:pt x="330" y="145"/>
                    <a:pt x="331" y="144"/>
                  </a:cubicBezTo>
                  <a:cubicBezTo>
                    <a:pt x="331" y="143"/>
                    <a:pt x="332" y="142"/>
                    <a:pt x="332" y="142"/>
                  </a:cubicBezTo>
                  <a:cubicBezTo>
                    <a:pt x="332" y="141"/>
                    <a:pt x="333" y="140"/>
                    <a:pt x="332" y="138"/>
                  </a:cubicBezTo>
                  <a:cubicBezTo>
                    <a:pt x="330" y="136"/>
                    <a:pt x="333" y="137"/>
                    <a:pt x="329" y="135"/>
                  </a:cubicBezTo>
                  <a:cubicBezTo>
                    <a:pt x="325" y="134"/>
                    <a:pt x="325" y="133"/>
                    <a:pt x="323" y="133"/>
                  </a:cubicBezTo>
                  <a:cubicBezTo>
                    <a:pt x="322" y="134"/>
                    <a:pt x="322" y="133"/>
                    <a:pt x="320" y="134"/>
                  </a:cubicBezTo>
                  <a:cubicBezTo>
                    <a:pt x="319" y="135"/>
                    <a:pt x="318" y="135"/>
                    <a:pt x="317" y="137"/>
                  </a:cubicBezTo>
                  <a:cubicBezTo>
                    <a:pt x="315" y="138"/>
                    <a:pt x="317" y="137"/>
                    <a:pt x="315" y="138"/>
                  </a:cubicBezTo>
                  <a:cubicBezTo>
                    <a:pt x="314" y="140"/>
                    <a:pt x="313" y="138"/>
                    <a:pt x="312" y="139"/>
                  </a:cubicBezTo>
                  <a:cubicBezTo>
                    <a:pt x="311" y="141"/>
                    <a:pt x="311" y="141"/>
                    <a:pt x="311" y="142"/>
                  </a:cubicBezTo>
                  <a:cubicBezTo>
                    <a:pt x="310" y="143"/>
                    <a:pt x="311" y="137"/>
                    <a:pt x="311" y="137"/>
                  </a:cubicBezTo>
                  <a:cubicBezTo>
                    <a:pt x="311" y="138"/>
                    <a:pt x="309" y="137"/>
                    <a:pt x="308" y="138"/>
                  </a:cubicBezTo>
                  <a:cubicBezTo>
                    <a:pt x="307" y="139"/>
                    <a:pt x="306" y="139"/>
                    <a:pt x="306" y="139"/>
                  </a:cubicBezTo>
                  <a:cubicBezTo>
                    <a:pt x="305" y="138"/>
                    <a:pt x="305" y="138"/>
                    <a:pt x="305" y="138"/>
                  </a:cubicBezTo>
                  <a:cubicBezTo>
                    <a:pt x="305" y="138"/>
                    <a:pt x="306" y="137"/>
                    <a:pt x="306" y="136"/>
                  </a:cubicBezTo>
                  <a:cubicBezTo>
                    <a:pt x="307" y="135"/>
                    <a:pt x="307" y="134"/>
                    <a:pt x="307" y="134"/>
                  </a:cubicBezTo>
                  <a:cubicBezTo>
                    <a:pt x="307" y="134"/>
                    <a:pt x="306" y="133"/>
                    <a:pt x="305" y="132"/>
                  </a:cubicBezTo>
                  <a:cubicBezTo>
                    <a:pt x="304" y="132"/>
                    <a:pt x="303" y="131"/>
                    <a:pt x="303" y="132"/>
                  </a:cubicBezTo>
                  <a:cubicBezTo>
                    <a:pt x="302" y="132"/>
                    <a:pt x="302" y="131"/>
                    <a:pt x="301" y="132"/>
                  </a:cubicBezTo>
                  <a:cubicBezTo>
                    <a:pt x="300" y="132"/>
                    <a:pt x="300" y="131"/>
                    <a:pt x="299" y="130"/>
                  </a:cubicBezTo>
                  <a:cubicBezTo>
                    <a:pt x="298" y="129"/>
                    <a:pt x="299" y="128"/>
                    <a:pt x="298" y="128"/>
                  </a:cubicBezTo>
                  <a:cubicBezTo>
                    <a:pt x="296" y="129"/>
                    <a:pt x="295" y="128"/>
                    <a:pt x="294" y="128"/>
                  </a:cubicBezTo>
                  <a:cubicBezTo>
                    <a:pt x="294" y="128"/>
                    <a:pt x="293" y="126"/>
                    <a:pt x="292" y="126"/>
                  </a:cubicBezTo>
                  <a:cubicBezTo>
                    <a:pt x="292" y="126"/>
                    <a:pt x="296" y="125"/>
                    <a:pt x="296" y="124"/>
                  </a:cubicBezTo>
                  <a:cubicBezTo>
                    <a:pt x="296" y="124"/>
                    <a:pt x="297" y="121"/>
                    <a:pt x="297" y="121"/>
                  </a:cubicBezTo>
                  <a:cubicBezTo>
                    <a:pt x="297" y="121"/>
                    <a:pt x="298" y="121"/>
                    <a:pt x="299" y="121"/>
                  </a:cubicBezTo>
                  <a:cubicBezTo>
                    <a:pt x="299" y="122"/>
                    <a:pt x="301" y="121"/>
                    <a:pt x="302" y="121"/>
                  </a:cubicBezTo>
                  <a:cubicBezTo>
                    <a:pt x="302" y="121"/>
                    <a:pt x="303" y="121"/>
                    <a:pt x="303" y="121"/>
                  </a:cubicBezTo>
                  <a:cubicBezTo>
                    <a:pt x="304" y="119"/>
                    <a:pt x="304" y="119"/>
                    <a:pt x="304" y="119"/>
                  </a:cubicBezTo>
                  <a:cubicBezTo>
                    <a:pt x="303" y="118"/>
                    <a:pt x="303" y="118"/>
                    <a:pt x="303" y="118"/>
                  </a:cubicBezTo>
                  <a:cubicBezTo>
                    <a:pt x="303" y="118"/>
                    <a:pt x="306" y="117"/>
                    <a:pt x="307" y="117"/>
                  </a:cubicBezTo>
                  <a:cubicBezTo>
                    <a:pt x="307" y="118"/>
                    <a:pt x="310" y="117"/>
                    <a:pt x="310" y="118"/>
                  </a:cubicBezTo>
                  <a:cubicBezTo>
                    <a:pt x="311" y="119"/>
                    <a:pt x="315" y="119"/>
                    <a:pt x="315" y="119"/>
                  </a:cubicBezTo>
                  <a:cubicBezTo>
                    <a:pt x="316" y="119"/>
                    <a:pt x="319" y="118"/>
                    <a:pt x="319" y="118"/>
                  </a:cubicBezTo>
                  <a:cubicBezTo>
                    <a:pt x="319" y="118"/>
                    <a:pt x="322" y="118"/>
                    <a:pt x="321" y="117"/>
                  </a:cubicBezTo>
                  <a:cubicBezTo>
                    <a:pt x="320" y="117"/>
                    <a:pt x="320" y="116"/>
                    <a:pt x="319" y="115"/>
                  </a:cubicBezTo>
                  <a:cubicBezTo>
                    <a:pt x="318" y="114"/>
                    <a:pt x="318" y="113"/>
                    <a:pt x="316" y="112"/>
                  </a:cubicBezTo>
                  <a:cubicBezTo>
                    <a:pt x="314" y="112"/>
                    <a:pt x="313" y="112"/>
                    <a:pt x="311" y="111"/>
                  </a:cubicBezTo>
                  <a:cubicBezTo>
                    <a:pt x="309" y="110"/>
                    <a:pt x="308" y="110"/>
                    <a:pt x="306" y="110"/>
                  </a:cubicBezTo>
                  <a:cubicBezTo>
                    <a:pt x="305" y="111"/>
                    <a:pt x="305" y="110"/>
                    <a:pt x="303" y="110"/>
                  </a:cubicBezTo>
                  <a:cubicBezTo>
                    <a:pt x="302" y="110"/>
                    <a:pt x="300" y="109"/>
                    <a:pt x="299" y="109"/>
                  </a:cubicBezTo>
                  <a:cubicBezTo>
                    <a:pt x="299" y="109"/>
                    <a:pt x="298" y="108"/>
                    <a:pt x="298" y="107"/>
                  </a:cubicBezTo>
                  <a:cubicBezTo>
                    <a:pt x="298" y="107"/>
                    <a:pt x="297" y="106"/>
                    <a:pt x="299" y="106"/>
                  </a:cubicBezTo>
                  <a:cubicBezTo>
                    <a:pt x="300" y="106"/>
                    <a:pt x="303" y="105"/>
                    <a:pt x="303" y="105"/>
                  </a:cubicBezTo>
                  <a:cubicBezTo>
                    <a:pt x="304" y="105"/>
                    <a:pt x="306" y="103"/>
                    <a:pt x="307" y="104"/>
                  </a:cubicBezTo>
                  <a:cubicBezTo>
                    <a:pt x="309" y="104"/>
                    <a:pt x="311" y="105"/>
                    <a:pt x="312" y="104"/>
                  </a:cubicBezTo>
                  <a:cubicBezTo>
                    <a:pt x="312" y="103"/>
                    <a:pt x="312" y="103"/>
                    <a:pt x="313" y="103"/>
                  </a:cubicBezTo>
                  <a:cubicBezTo>
                    <a:pt x="313" y="102"/>
                    <a:pt x="314" y="100"/>
                    <a:pt x="314" y="100"/>
                  </a:cubicBezTo>
                  <a:cubicBezTo>
                    <a:pt x="314" y="100"/>
                    <a:pt x="313" y="94"/>
                    <a:pt x="311" y="95"/>
                  </a:cubicBezTo>
                  <a:cubicBezTo>
                    <a:pt x="309" y="95"/>
                    <a:pt x="307" y="91"/>
                    <a:pt x="306" y="91"/>
                  </a:cubicBezTo>
                  <a:cubicBezTo>
                    <a:pt x="306" y="91"/>
                    <a:pt x="306" y="89"/>
                    <a:pt x="304" y="91"/>
                  </a:cubicBezTo>
                  <a:cubicBezTo>
                    <a:pt x="301" y="92"/>
                    <a:pt x="301" y="92"/>
                    <a:pt x="299" y="94"/>
                  </a:cubicBezTo>
                  <a:cubicBezTo>
                    <a:pt x="298" y="96"/>
                    <a:pt x="299" y="95"/>
                    <a:pt x="297" y="96"/>
                  </a:cubicBezTo>
                  <a:cubicBezTo>
                    <a:pt x="295" y="97"/>
                    <a:pt x="295" y="96"/>
                    <a:pt x="293" y="97"/>
                  </a:cubicBezTo>
                  <a:cubicBezTo>
                    <a:pt x="292" y="97"/>
                    <a:pt x="291" y="97"/>
                    <a:pt x="291" y="97"/>
                  </a:cubicBezTo>
                  <a:cubicBezTo>
                    <a:pt x="291" y="97"/>
                    <a:pt x="292" y="96"/>
                    <a:pt x="293" y="95"/>
                  </a:cubicBezTo>
                  <a:cubicBezTo>
                    <a:pt x="293" y="94"/>
                    <a:pt x="293" y="92"/>
                    <a:pt x="292" y="92"/>
                  </a:cubicBezTo>
                  <a:cubicBezTo>
                    <a:pt x="291" y="92"/>
                    <a:pt x="289" y="92"/>
                    <a:pt x="289" y="92"/>
                  </a:cubicBezTo>
                  <a:cubicBezTo>
                    <a:pt x="289" y="92"/>
                    <a:pt x="289" y="92"/>
                    <a:pt x="291" y="90"/>
                  </a:cubicBezTo>
                  <a:cubicBezTo>
                    <a:pt x="294" y="89"/>
                    <a:pt x="295" y="88"/>
                    <a:pt x="296" y="87"/>
                  </a:cubicBezTo>
                  <a:cubicBezTo>
                    <a:pt x="297" y="87"/>
                    <a:pt x="299" y="87"/>
                    <a:pt x="299" y="86"/>
                  </a:cubicBezTo>
                  <a:cubicBezTo>
                    <a:pt x="299" y="86"/>
                    <a:pt x="299" y="85"/>
                    <a:pt x="298" y="84"/>
                  </a:cubicBezTo>
                  <a:cubicBezTo>
                    <a:pt x="297" y="83"/>
                    <a:pt x="296" y="82"/>
                    <a:pt x="295" y="82"/>
                  </a:cubicBezTo>
                  <a:cubicBezTo>
                    <a:pt x="294" y="82"/>
                    <a:pt x="291" y="81"/>
                    <a:pt x="290" y="81"/>
                  </a:cubicBezTo>
                  <a:cubicBezTo>
                    <a:pt x="289" y="81"/>
                    <a:pt x="288" y="80"/>
                    <a:pt x="288" y="80"/>
                  </a:cubicBezTo>
                  <a:cubicBezTo>
                    <a:pt x="287" y="80"/>
                    <a:pt x="288" y="77"/>
                    <a:pt x="286" y="78"/>
                  </a:cubicBezTo>
                  <a:cubicBezTo>
                    <a:pt x="284" y="78"/>
                    <a:pt x="283" y="78"/>
                    <a:pt x="282" y="78"/>
                  </a:cubicBezTo>
                  <a:cubicBezTo>
                    <a:pt x="281" y="79"/>
                    <a:pt x="281" y="78"/>
                    <a:pt x="280" y="79"/>
                  </a:cubicBezTo>
                  <a:cubicBezTo>
                    <a:pt x="280" y="80"/>
                    <a:pt x="280" y="79"/>
                    <a:pt x="279" y="80"/>
                  </a:cubicBezTo>
                  <a:cubicBezTo>
                    <a:pt x="277" y="80"/>
                    <a:pt x="278" y="79"/>
                    <a:pt x="277" y="80"/>
                  </a:cubicBezTo>
                  <a:cubicBezTo>
                    <a:pt x="275" y="81"/>
                    <a:pt x="275" y="82"/>
                    <a:pt x="274" y="81"/>
                  </a:cubicBezTo>
                  <a:cubicBezTo>
                    <a:pt x="274" y="80"/>
                    <a:pt x="274" y="79"/>
                    <a:pt x="275" y="79"/>
                  </a:cubicBezTo>
                  <a:cubicBezTo>
                    <a:pt x="275" y="79"/>
                    <a:pt x="277" y="79"/>
                    <a:pt x="276" y="78"/>
                  </a:cubicBezTo>
                  <a:cubicBezTo>
                    <a:pt x="276" y="77"/>
                    <a:pt x="278" y="77"/>
                    <a:pt x="276" y="77"/>
                  </a:cubicBezTo>
                  <a:cubicBezTo>
                    <a:pt x="274" y="77"/>
                    <a:pt x="274" y="77"/>
                    <a:pt x="272" y="78"/>
                  </a:cubicBezTo>
                  <a:cubicBezTo>
                    <a:pt x="270" y="79"/>
                    <a:pt x="272" y="78"/>
                    <a:pt x="269" y="79"/>
                  </a:cubicBezTo>
                  <a:cubicBezTo>
                    <a:pt x="267" y="81"/>
                    <a:pt x="269" y="79"/>
                    <a:pt x="267" y="80"/>
                  </a:cubicBezTo>
                  <a:cubicBezTo>
                    <a:pt x="265" y="81"/>
                    <a:pt x="264" y="81"/>
                    <a:pt x="265" y="80"/>
                  </a:cubicBezTo>
                  <a:cubicBezTo>
                    <a:pt x="266" y="79"/>
                    <a:pt x="267" y="78"/>
                    <a:pt x="267" y="78"/>
                  </a:cubicBezTo>
                  <a:cubicBezTo>
                    <a:pt x="268" y="76"/>
                    <a:pt x="268" y="76"/>
                    <a:pt x="268" y="76"/>
                  </a:cubicBezTo>
                  <a:cubicBezTo>
                    <a:pt x="268" y="76"/>
                    <a:pt x="268" y="76"/>
                    <a:pt x="269" y="75"/>
                  </a:cubicBezTo>
                  <a:cubicBezTo>
                    <a:pt x="269" y="74"/>
                    <a:pt x="269" y="73"/>
                    <a:pt x="268" y="72"/>
                  </a:cubicBezTo>
                  <a:cubicBezTo>
                    <a:pt x="268" y="72"/>
                    <a:pt x="267" y="69"/>
                    <a:pt x="266" y="70"/>
                  </a:cubicBezTo>
                  <a:cubicBezTo>
                    <a:pt x="265" y="71"/>
                    <a:pt x="266" y="69"/>
                    <a:pt x="264" y="70"/>
                  </a:cubicBezTo>
                  <a:cubicBezTo>
                    <a:pt x="263" y="71"/>
                    <a:pt x="264" y="69"/>
                    <a:pt x="262" y="71"/>
                  </a:cubicBezTo>
                  <a:cubicBezTo>
                    <a:pt x="259" y="73"/>
                    <a:pt x="260" y="73"/>
                    <a:pt x="258" y="74"/>
                  </a:cubicBezTo>
                  <a:cubicBezTo>
                    <a:pt x="257" y="74"/>
                    <a:pt x="256" y="73"/>
                    <a:pt x="256" y="73"/>
                  </a:cubicBezTo>
                  <a:cubicBezTo>
                    <a:pt x="257" y="71"/>
                    <a:pt x="258" y="70"/>
                    <a:pt x="258" y="70"/>
                  </a:cubicBezTo>
                  <a:cubicBezTo>
                    <a:pt x="258" y="70"/>
                    <a:pt x="258" y="69"/>
                    <a:pt x="259" y="68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7" name="Freeform 16"/>
            <p:cNvSpPr>
              <a:spLocks/>
            </p:cNvSpPr>
            <p:nvPr/>
          </p:nvSpPr>
          <p:spPr bwMode="auto">
            <a:xfrm>
              <a:off x="2874" y="1556"/>
              <a:ext cx="108" cy="70"/>
            </a:xfrm>
            <a:custGeom>
              <a:avLst/>
              <a:gdLst>
                <a:gd name="T0" fmla="*/ 11 w 145"/>
                <a:gd name="T1" fmla="*/ 71 h 93"/>
                <a:gd name="T2" fmla="*/ 17 w 145"/>
                <a:gd name="T3" fmla="*/ 75 h 93"/>
                <a:gd name="T4" fmla="*/ 23 w 145"/>
                <a:gd name="T5" fmla="*/ 76 h 93"/>
                <a:gd name="T6" fmla="*/ 25 w 145"/>
                <a:gd name="T7" fmla="*/ 83 h 93"/>
                <a:gd name="T8" fmla="*/ 31 w 145"/>
                <a:gd name="T9" fmla="*/ 85 h 93"/>
                <a:gd name="T10" fmla="*/ 36 w 145"/>
                <a:gd name="T11" fmla="*/ 92 h 93"/>
                <a:gd name="T12" fmla="*/ 42 w 145"/>
                <a:gd name="T13" fmla="*/ 93 h 93"/>
                <a:gd name="T14" fmla="*/ 46 w 145"/>
                <a:gd name="T15" fmla="*/ 92 h 93"/>
                <a:gd name="T16" fmla="*/ 50 w 145"/>
                <a:gd name="T17" fmla="*/ 90 h 93"/>
                <a:gd name="T18" fmla="*/ 58 w 145"/>
                <a:gd name="T19" fmla="*/ 85 h 93"/>
                <a:gd name="T20" fmla="*/ 64 w 145"/>
                <a:gd name="T21" fmla="*/ 84 h 93"/>
                <a:gd name="T22" fmla="*/ 70 w 145"/>
                <a:gd name="T23" fmla="*/ 84 h 93"/>
                <a:gd name="T24" fmla="*/ 74 w 145"/>
                <a:gd name="T25" fmla="*/ 79 h 93"/>
                <a:gd name="T26" fmla="*/ 75 w 145"/>
                <a:gd name="T27" fmla="*/ 74 h 93"/>
                <a:gd name="T28" fmla="*/ 76 w 145"/>
                <a:gd name="T29" fmla="*/ 70 h 93"/>
                <a:gd name="T30" fmla="*/ 79 w 145"/>
                <a:gd name="T31" fmla="*/ 66 h 93"/>
                <a:gd name="T32" fmla="*/ 87 w 145"/>
                <a:gd name="T33" fmla="*/ 62 h 93"/>
                <a:gd name="T34" fmla="*/ 92 w 145"/>
                <a:gd name="T35" fmla="*/ 54 h 93"/>
                <a:gd name="T36" fmla="*/ 98 w 145"/>
                <a:gd name="T37" fmla="*/ 51 h 93"/>
                <a:gd name="T38" fmla="*/ 107 w 145"/>
                <a:gd name="T39" fmla="*/ 47 h 93"/>
                <a:gd name="T40" fmla="*/ 113 w 145"/>
                <a:gd name="T41" fmla="*/ 46 h 93"/>
                <a:gd name="T42" fmla="*/ 120 w 145"/>
                <a:gd name="T43" fmla="*/ 42 h 93"/>
                <a:gd name="T44" fmla="*/ 127 w 145"/>
                <a:gd name="T45" fmla="*/ 37 h 93"/>
                <a:gd name="T46" fmla="*/ 134 w 145"/>
                <a:gd name="T47" fmla="*/ 34 h 93"/>
                <a:gd name="T48" fmla="*/ 140 w 145"/>
                <a:gd name="T49" fmla="*/ 32 h 93"/>
                <a:gd name="T50" fmla="*/ 144 w 145"/>
                <a:gd name="T51" fmla="*/ 28 h 93"/>
                <a:gd name="T52" fmla="*/ 128 w 145"/>
                <a:gd name="T53" fmla="*/ 20 h 93"/>
                <a:gd name="T54" fmla="*/ 123 w 145"/>
                <a:gd name="T55" fmla="*/ 13 h 93"/>
                <a:gd name="T56" fmla="*/ 116 w 145"/>
                <a:gd name="T57" fmla="*/ 12 h 93"/>
                <a:gd name="T58" fmla="*/ 108 w 145"/>
                <a:gd name="T59" fmla="*/ 11 h 93"/>
                <a:gd name="T60" fmla="*/ 104 w 145"/>
                <a:gd name="T61" fmla="*/ 10 h 93"/>
                <a:gd name="T62" fmla="*/ 98 w 145"/>
                <a:gd name="T63" fmla="*/ 12 h 93"/>
                <a:gd name="T64" fmla="*/ 92 w 145"/>
                <a:gd name="T65" fmla="*/ 14 h 93"/>
                <a:gd name="T66" fmla="*/ 92 w 145"/>
                <a:gd name="T67" fmla="*/ 14 h 93"/>
                <a:gd name="T68" fmla="*/ 92 w 145"/>
                <a:gd name="T69" fmla="*/ 14 h 93"/>
                <a:gd name="T70" fmla="*/ 87 w 145"/>
                <a:gd name="T71" fmla="*/ 10 h 93"/>
                <a:gd name="T72" fmla="*/ 79 w 145"/>
                <a:gd name="T73" fmla="*/ 11 h 93"/>
                <a:gd name="T74" fmla="*/ 75 w 145"/>
                <a:gd name="T75" fmla="*/ 12 h 93"/>
                <a:gd name="T76" fmla="*/ 64 w 145"/>
                <a:gd name="T77" fmla="*/ 3 h 93"/>
                <a:gd name="T78" fmla="*/ 59 w 145"/>
                <a:gd name="T79" fmla="*/ 6 h 93"/>
                <a:gd name="T80" fmla="*/ 51 w 145"/>
                <a:gd name="T81" fmla="*/ 5 h 93"/>
                <a:gd name="T82" fmla="*/ 46 w 145"/>
                <a:gd name="T83" fmla="*/ 3 h 93"/>
                <a:gd name="T84" fmla="*/ 41 w 145"/>
                <a:gd name="T85" fmla="*/ 2 h 93"/>
                <a:gd name="T86" fmla="*/ 31 w 145"/>
                <a:gd name="T87" fmla="*/ 7 h 93"/>
                <a:gd name="T88" fmla="*/ 26 w 145"/>
                <a:gd name="T89" fmla="*/ 5 h 93"/>
                <a:gd name="T90" fmla="*/ 15 w 145"/>
                <a:gd name="T91" fmla="*/ 7 h 93"/>
                <a:gd name="T92" fmla="*/ 20 w 145"/>
                <a:gd name="T93" fmla="*/ 13 h 93"/>
                <a:gd name="T94" fmla="*/ 23 w 145"/>
                <a:gd name="T95" fmla="*/ 18 h 93"/>
                <a:gd name="T96" fmla="*/ 25 w 145"/>
                <a:gd name="T97" fmla="*/ 24 h 93"/>
                <a:gd name="T98" fmla="*/ 22 w 145"/>
                <a:gd name="T99" fmla="*/ 27 h 93"/>
                <a:gd name="T100" fmla="*/ 19 w 145"/>
                <a:gd name="T101" fmla="*/ 34 h 93"/>
                <a:gd name="T102" fmla="*/ 14 w 145"/>
                <a:gd name="T103" fmla="*/ 41 h 93"/>
                <a:gd name="T104" fmla="*/ 15 w 145"/>
                <a:gd name="T105" fmla="*/ 45 h 93"/>
                <a:gd name="T106" fmla="*/ 10 w 145"/>
                <a:gd name="T107" fmla="*/ 48 h 93"/>
                <a:gd name="T108" fmla="*/ 8 w 145"/>
                <a:gd name="T109" fmla="*/ 53 h 93"/>
                <a:gd name="T110" fmla="*/ 7 w 145"/>
                <a:gd name="T111" fmla="*/ 59 h 93"/>
                <a:gd name="T112" fmla="*/ 0 w 145"/>
                <a:gd name="T113" fmla="*/ 71 h 93"/>
                <a:gd name="T114" fmla="*/ 2 w 145"/>
                <a:gd name="T115" fmla="*/ 72 h 93"/>
                <a:gd name="T116" fmla="*/ 11 w 145"/>
                <a:gd name="T117" fmla="*/ 71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5" h="93">
                  <a:moveTo>
                    <a:pt x="11" y="71"/>
                  </a:moveTo>
                  <a:cubicBezTo>
                    <a:pt x="15" y="71"/>
                    <a:pt x="13" y="73"/>
                    <a:pt x="17" y="75"/>
                  </a:cubicBezTo>
                  <a:cubicBezTo>
                    <a:pt x="18" y="76"/>
                    <a:pt x="23" y="76"/>
                    <a:pt x="23" y="76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31" y="85"/>
                    <a:pt x="31" y="85"/>
                    <a:pt x="31" y="85"/>
                  </a:cubicBezTo>
                  <a:cubicBezTo>
                    <a:pt x="31" y="85"/>
                    <a:pt x="34" y="87"/>
                    <a:pt x="36" y="92"/>
                  </a:cubicBezTo>
                  <a:cubicBezTo>
                    <a:pt x="37" y="93"/>
                    <a:pt x="42" y="93"/>
                    <a:pt x="42" y="93"/>
                  </a:cubicBezTo>
                  <a:cubicBezTo>
                    <a:pt x="46" y="92"/>
                    <a:pt x="46" y="92"/>
                    <a:pt x="46" y="92"/>
                  </a:cubicBezTo>
                  <a:cubicBezTo>
                    <a:pt x="46" y="92"/>
                    <a:pt x="48" y="93"/>
                    <a:pt x="50" y="90"/>
                  </a:cubicBezTo>
                  <a:cubicBezTo>
                    <a:pt x="52" y="87"/>
                    <a:pt x="53" y="88"/>
                    <a:pt x="58" y="85"/>
                  </a:cubicBezTo>
                  <a:cubicBezTo>
                    <a:pt x="58" y="85"/>
                    <a:pt x="62" y="84"/>
                    <a:pt x="64" y="84"/>
                  </a:cubicBezTo>
                  <a:cubicBezTo>
                    <a:pt x="65" y="83"/>
                    <a:pt x="66" y="85"/>
                    <a:pt x="70" y="84"/>
                  </a:cubicBezTo>
                  <a:cubicBezTo>
                    <a:pt x="72" y="83"/>
                    <a:pt x="73" y="81"/>
                    <a:pt x="74" y="79"/>
                  </a:cubicBezTo>
                  <a:cubicBezTo>
                    <a:pt x="76" y="76"/>
                    <a:pt x="74" y="77"/>
                    <a:pt x="75" y="74"/>
                  </a:cubicBezTo>
                  <a:cubicBezTo>
                    <a:pt x="77" y="70"/>
                    <a:pt x="75" y="74"/>
                    <a:pt x="76" y="70"/>
                  </a:cubicBezTo>
                  <a:cubicBezTo>
                    <a:pt x="77" y="66"/>
                    <a:pt x="79" y="66"/>
                    <a:pt x="79" y="66"/>
                  </a:cubicBezTo>
                  <a:cubicBezTo>
                    <a:pt x="79" y="66"/>
                    <a:pt x="84" y="64"/>
                    <a:pt x="87" y="62"/>
                  </a:cubicBezTo>
                  <a:cubicBezTo>
                    <a:pt x="89" y="59"/>
                    <a:pt x="89" y="59"/>
                    <a:pt x="92" y="54"/>
                  </a:cubicBezTo>
                  <a:cubicBezTo>
                    <a:pt x="92" y="54"/>
                    <a:pt x="96" y="53"/>
                    <a:pt x="98" y="51"/>
                  </a:cubicBezTo>
                  <a:cubicBezTo>
                    <a:pt x="100" y="50"/>
                    <a:pt x="104" y="49"/>
                    <a:pt x="107" y="47"/>
                  </a:cubicBezTo>
                  <a:cubicBezTo>
                    <a:pt x="109" y="45"/>
                    <a:pt x="111" y="47"/>
                    <a:pt x="113" y="46"/>
                  </a:cubicBezTo>
                  <a:cubicBezTo>
                    <a:pt x="114" y="45"/>
                    <a:pt x="118" y="42"/>
                    <a:pt x="120" y="42"/>
                  </a:cubicBezTo>
                  <a:cubicBezTo>
                    <a:pt x="121" y="41"/>
                    <a:pt x="124" y="38"/>
                    <a:pt x="127" y="37"/>
                  </a:cubicBezTo>
                  <a:cubicBezTo>
                    <a:pt x="130" y="36"/>
                    <a:pt x="130" y="36"/>
                    <a:pt x="134" y="34"/>
                  </a:cubicBezTo>
                  <a:cubicBezTo>
                    <a:pt x="138" y="32"/>
                    <a:pt x="138" y="33"/>
                    <a:pt x="140" y="32"/>
                  </a:cubicBezTo>
                  <a:cubicBezTo>
                    <a:pt x="142" y="30"/>
                    <a:pt x="143" y="31"/>
                    <a:pt x="144" y="28"/>
                  </a:cubicBezTo>
                  <a:cubicBezTo>
                    <a:pt x="145" y="25"/>
                    <a:pt x="137" y="26"/>
                    <a:pt x="128" y="20"/>
                  </a:cubicBezTo>
                  <a:cubicBezTo>
                    <a:pt x="127" y="19"/>
                    <a:pt x="125" y="18"/>
                    <a:pt x="123" y="13"/>
                  </a:cubicBezTo>
                  <a:cubicBezTo>
                    <a:pt x="123" y="13"/>
                    <a:pt x="118" y="13"/>
                    <a:pt x="116" y="12"/>
                  </a:cubicBezTo>
                  <a:cubicBezTo>
                    <a:pt x="115" y="11"/>
                    <a:pt x="108" y="11"/>
                    <a:pt x="108" y="11"/>
                  </a:cubicBezTo>
                  <a:cubicBezTo>
                    <a:pt x="108" y="11"/>
                    <a:pt x="106" y="11"/>
                    <a:pt x="104" y="10"/>
                  </a:cubicBezTo>
                  <a:cubicBezTo>
                    <a:pt x="102" y="9"/>
                    <a:pt x="98" y="12"/>
                    <a:pt x="98" y="12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2" y="14"/>
                    <a:pt x="92" y="14"/>
                    <a:pt x="92" y="14"/>
                  </a:cubicBezTo>
                  <a:cubicBezTo>
                    <a:pt x="91" y="11"/>
                    <a:pt x="92" y="14"/>
                    <a:pt x="87" y="10"/>
                  </a:cubicBezTo>
                  <a:cubicBezTo>
                    <a:pt x="85" y="9"/>
                    <a:pt x="83" y="11"/>
                    <a:pt x="79" y="11"/>
                  </a:cubicBezTo>
                  <a:cubicBezTo>
                    <a:pt x="76" y="12"/>
                    <a:pt x="77" y="12"/>
                    <a:pt x="75" y="12"/>
                  </a:cubicBezTo>
                  <a:cubicBezTo>
                    <a:pt x="72" y="12"/>
                    <a:pt x="68" y="8"/>
                    <a:pt x="64" y="3"/>
                  </a:cubicBezTo>
                  <a:cubicBezTo>
                    <a:pt x="61" y="0"/>
                    <a:pt x="59" y="6"/>
                    <a:pt x="59" y="6"/>
                  </a:cubicBezTo>
                  <a:cubicBezTo>
                    <a:pt x="51" y="5"/>
                    <a:pt x="51" y="5"/>
                    <a:pt x="51" y="5"/>
                  </a:cubicBezTo>
                  <a:cubicBezTo>
                    <a:pt x="51" y="5"/>
                    <a:pt x="50" y="4"/>
                    <a:pt x="46" y="3"/>
                  </a:cubicBezTo>
                  <a:cubicBezTo>
                    <a:pt x="43" y="2"/>
                    <a:pt x="42" y="3"/>
                    <a:pt x="41" y="2"/>
                  </a:cubicBezTo>
                  <a:cubicBezTo>
                    <a:pt x="39" y="1"/>
                    <a:pt x="32" y="7"/>
                    <a:pt x="31" y="7"/>
                  </a:cubicBezTo>
                  <a:cubicBezTo>
                    <a:pt x="29" y="6"/>
                    <a:pt x="26" y="5"/>
                    <a:pt x="26" y="5"/>
                  </a:cubicBezTo>
                  <a:cubicBezTo>
                    <a:pt x="26" y="5"/>
                    <a:pt x="20" y="8"/>
                    <a:pt x="15" y="7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5" y="22"/>
                    <a:pt x="25" y="24"/>
                  </a:cubicBezTo>
                  <a:cubicBezTo>
                    <a:pt x="25" y="26"/>
                    <a:pt x="22" y="27"/>
                    <a:pt x="22" y="27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4"/>
                    <a:pt x="17" y="37"/>
                    <a:pt x="14" y="41"/>
                  </a:cubicBezTo>
                  <a:cubicBezTo>
                    <a:pt x="15" y="45"/>
                    <a:pt x="15" y="45"/>
                    <a:pt x="15" y="45"/>
                  </a:cubicBezTo>
                  <a:cubicBezTo>
                    <a:pt x="14" y="43"/>
                    <a:pt x="10" y="48"/>
                    <a:pt x="10" y="48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72"/>
                    <a:pt x="5" y="72"/>
                    <a:pt x="11" y="7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8" name="Freeform 17"/>
            <p:cNvSpPr>
              <a:spLocks/>
            </p:cNvSpPr>
            <p:nvPr/>
          </p:nvSpPr>
          <p:spPr bwMode="auto">
            <a:xfrm>
              <a:off x="2941" y="1573"/>
              <a:ext cx="185" cy="99"/>
            </a:xfrm>
            <a:custGeom>
              <a:avLst/>
              <a:gdLst>
                <a:gd name="T0" fmla="*/ 237 w 249"/>
                <a:gd name="T1" fmla="*/ 104 h 134"/>
                <a:gd name="T2" fmla="*/ 249 w 249"/>
                <a:gd name="T3" fmla="*/ 100 h 134"/>
                <a:gd name="T4" fmla="*/ 238 w 249"/>
                <a:gd name="T5" fmla="*/ 90 h 134"/>
                <a:gd name="T6" fmla="*/ 226 w 249"/>
                <a:gd name="T7" fmla="*/ 83 h 134"/>
                <a:gd name="T8" fmla="*/ 209 w 249"/>
                <a:gd name="T9" fmla="*/ 76 h 134"/>
                <a:gd name="T10" fmla="*/ 204 w 249"/>
                <a:gd name="T11" fmla="*/ 62 h 134"/>
                <a:gd name="T12" fmla="*/ 193 w 249"/>
                <a:gd name="T13" fmla="*/ 41 h 134"/>
                <a:gd name="T14" fmla="*/ 186 w 249"/>
                <a:gd name="T15" fmla="*/ 24 h 134"/>
                <a:gd name="T16" fmla="*/ 200 w 249"/>
                <a:gd name="T17" fmla="*/ 14 h 134"/>
                <a:gd name="T18" fmla="*/ 191 w 249"/>
                <a:gd name="T19" fmla="*/ 1 h 134"/>
                <a:gd name="T20" fmla="*/ 167 w 249"/>
                <a:gd name="T21" fmla="*/ 7 h 134"/>
                <a:gd name="T22" fmla="*/ 181 w 249"/>
                <a:gd name="T23" fmla="*/ 20 h 134"/>
                <a:gd name="T24" fmla="*/ 166 w 249"/>
                <a:gd name="T25" fmla="*/ 16 h 134"/>
                <a:gd name="T26" fmla="*/ 151 w 249"/>
                <a:gd name="T27" fmla="*/ 19 h 134"/>
                <a:gd name="T28" fmla="*/ 157 w 249"/>
                <a:gd name="T29" fmla="*/ 38 h 134"/>
                <a:gd name="T30" fmla="*/ 158 w 249"/>
                <a:gd name="T31" fmla="*/ 53 h 134"/>
                <a:gd name="T32" fmla="*/ 149 w 249"/>
                <a:gd name="T33" fmla="*/ 46 h 134"/>
                <a:gd name="T34" fmla="*/ 140 w 249"/>
                <a:gd name="T35" fmla="*/ 31 h 134"/>
                <a:gd name="T36" fmla="*/ 127 w 249"/>
                <a:gd name="T37" fmla="*/ 21 h 134"/>
                <a:gd name="T38" fmla="*/ 118 w 249"/>
                <a:gd name="T39" fmla="*/ 25 h 134"/>
                <a:gd name="T40" fmla="*/ 125 w 249"/>
                <a:gd name="T41" fmla="*/ 33 h 134"/>
                <a:gd name="T42" fmla="*/ 111 w 249"/>
                <a:gd name="T43" fmla="*/ 36 h 134"/>
                <a:gd name="T44" fmla="*/ 110 w 249"/>
                <a:gd name="T45" fmla="*/ 29 h 134"/>
                <a:gd name="T46" fmla="*/ 96 w 249"/>
                <a:gd name="T47" fmla="*/ 24 h 134"/>
                <a:gd name="T48" fmla="*/ 83 w 249"/>
                <a:gd name="T49" fmla="*/ 22 h 134"/>
                <a:gd name="T50" fmla="*/ 77 w 249"/>
                <a:gd name="T51" fmla="*/ 30 h 134"/>
                <a:gd name="T52" fmla="*/ 66 w 249"/>
                <a:gd name="T53" fmla="*/ 30 h 134"/>
                <a:gd name="T54" fmla="*/ 72 w 249"/>
                <a:gd name="T55" fmla="*/ 16 h 134"/>
                <a:gd name="T56" fmla="*/ 57 w 249"/>
                <a:gd name="T57" fmla="*/ 14 h 134"/>
                <a:gd name="T58" fmla="*/ 42 w 249"/>
                <a:gd name="T59" fmla="*/ 18 h 134"/>
                <a:gd name="T60" fmla="*/ 29 w 249"/>
                <a:gd name="T61" fmla="*/ 24 h 134"/>
                <a:gd name="T62" fmla="*/ 14 w 249"/>
                <a:gd name="T63" fmla="*/ 32 h 134"/>
                <a:gd name="T64" fmla="*/ 11 w 249"/>
                <a:gd name="T65" fmla="*/ 44 h 134"/>
                <a:gd name="T66" fmla="*/ 2 w 249"/>
                <a:gd name="T67" fmla="*/ 55 h 134"/>
                <a:gd name="T68" fmla="*/ 16 w 249"/>
                <a:gd name="T69" fmla="*/ 60 h 134"/>
                <a:gd name="T70" fmla="*/ 35 w 249"/>
                <a:gd name="T71" fmla="*/ 60 h 134"/>
                <a:gd name="T72" fmla="*/ 44 w 249"/>
                <a:gd name="T73" fmla="*/ 63 h 134"/>
                <a:gd name="T74" fmla="*/ 22 w 249"/>
                <a:gd name="T75" fmla="*/ 68 h 134"/>
                <a:gd name="T76" fmla="*/ 27 w 249"/>
                <a:gd name="T77" fmla="*/ 83 h 134"/>
                <a:gd name="T78" fmla="*/ 51 w 249"/>
                <a:gd name="T79" fmla="*/ 82 h 134"/>
                <a:gd name="T80" fmla="*/ 81 w 249"/>
                <a:gd name="T81" fmla="*/ 83 h 134"/>
                <a:gd name="T82" fmla="*/ 81 w 249"/>
                <a:gd name="T83" fmla="*/ 88 h 134"/>
                <a:gd name="T84" fmla="*/ 52 w 249"/>
                <a:gd name="T85" fmla="*/ 90 h 134"/>
                <a:gd name="T86" fmla="*/ 27 w 249"/>
                <a:gd name="T87" fmla="*/ 95 h 134"/>
                <a:gd name="T88" fmla="*/ 43 w 249"/>
                <a:gd name="T89" fmla="*/ 113 h 134"/>
                <a:gd name="T90" fmla="*/ 65 w 249"/>
                <a:gd name="T91" fmla="*/ 116 h 134"/>
                <a:gd name="T92" fmla="*/ 77 w 249"/>
                <a:gd name="T93" fmla="*/ 122 h 134"/>
                <a:gd name="T94" fmla="*/ 83 w 249"/>
                <a:gd name="T95" fmla="*/ 131 h 134"/>
                <a:gd name="T96" fmla="*/ 104 w 249"/>
                <a:gd name="T97" fmla="*/ 133 h 134"/>
                <a:gd name="T98" fmla="*/ 137 w 249"/>
                <a:gd name="T99" fmla="*/ 129 h 134"/>
                <a:gd name="T100" fmla="*/ 159 w 249"/>
                <a:gd name="T101" fmla="*/ 121 h 134"/>
                <a:gd name="T102" fmla="*/ 173 w 249"/>
                <a:gd name="T103" fmla="*/ 111 h 134"/>
                <a:gd name="T104" fmla="*/ 187 w 249"/>
                <a:gd name="T105" fmla="*/ 117 h 134"/>
                <a:gd name="T106" fmla="*/ 201 w 249"/>
                <a:gd name="T107" fmla="*/ 124 h 134"/>
                <a:gd name="T108" fmla="*/ 226 w 249"/>
                <a:gd name="T109" fmla="*/ 124 h 134"/>
                <a:gd name="T110" fmla="*/ 238 w 249"/>
                <a:gd name="T111" fmla="*/ 119 h 134"/>
                <a:gd name="T112" fmla="*/ 227 w 249"/>
                <a:gd name="T113" fmla="*/ 110 h 134"/>
                <a:gd name="T114" fmla="*/ 222 w 249"/>
                <a:gd name="T115" fmla="*/ 110 h 134"/>
                <a:gd name="T116" fmla="*/ 226 w 249"/>
                <a:gd name="T117" fmla="*/ 107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49" h="134">
                  <a:moveTo>
                    <a:pt x="227" y="102"/>
                  </a:moveTo>
                  <a:cubicBezTo>
                    <a:pt x="229" y="102"/>
                    <a:pt x="230" y="102"/>
                    <a:pt x="231" y="102"/>
                  </a:cubicBezTo>
                  <a:cubicBezTo>
                    <a:pt x="233" y="102"/>
                    <a:pt x="234" y="100"/>
                    <a:pt x="235" y="102"/>
                  </a:cubicBezTo>
                  <a:cubicBezTo>
                    <a:pt x="235" y="103"/>
                    <a:pt x="235" y="103"/>
                    <a:pt x="237" y="104"/>
                  </a:cubicBezTo>
                  <a:cubicBezTo>
                    <a:pt x="238" y="105"/>
                    <a:pt x="238" y="103"/>
                    <a:pt x="240" y="103"/>
                  </a:cubicBezTo>
                  <a:cubicBezTo>
                    <a:pt x="242" y="104"/>
                    <a:pt x="245" y="104"/>
                    <a:pt x="246" y="105"/>
                  </a:cubicBezTo>
                  <a:cubicBezTo>
                    <a:pt x="247" y="105"/>
                    <a:pt x="248" y="106"/>
                    <a:pt x="249" y="104"/>
                  </a:cubicBezTo>
                  <a:cubicBezTo>
                    <a:pt x="249" y="103"/>
                    <a:pt x="249" y="101"/>
                    <a:pt x="249" y="100"/>
                  </a:cubicBezTo>
                  <a:cubicBezTo>
                    <a:pt x="249" y="99"/>
                    <a:pt x="249" y="95"/>
                    <a:pt x="249" y="95"/>
                  </a:cubicBezTo>
                  <a:cubicBezTo>
                    <a:pt x="248" y="95"/>
                    <a:pt x="247" y="94"/>
                    <a:pt x="245" y="93"/>
                  </a:cubicBezTo>
                  <a:cubicBezTo>
                    <a:pt x="242" y="93"/>
                    <a:pt x="240" y="93"/>
                    <a:pt x="240" y="92"/>
                  </a:cubicBezTo>
                  <a:cubicBezTo>
                    <a:pt x="239" y="92"/>
                    <a:pt x="239" y="91"/>
                    <a:pt x="238" y="90"/>
                  </a:cubicBezTo>
                  <a:cubicBezTo>
                    <a:pt x="237" y="89"/>
                    <a:pt x="239" y="88"/>
                    <a:pt x="236" y="88"/>
                  </a:cubicBezTo>
                  <a:cubicBezTo>
                    <a:pt x="234" y="89"/>
                    <a:pt x="230" y="89"/>
                    <a:pt x="230" y="89"/>
                  </a:cubicBezTo>
                  <a:cubicBezTo>
                    <a:pt x="230" y="89"/>
                    <a:pt x="230" y="87"/>
                    <a:pt x="229" y="87"/>
                  </a:cubicBezTo>
                  <a:cubicBezTo>
                    <a:pt x="227" y="86"/>
                    <a:pt x="229" y="83"/>
                    <a:pt x="226" y="83"/>
                  </a:cubicBezTo>
                  <a:cubicBezTo>
                    <a:pt x="223" y="83"/>
                    <a:pt x="224" y="81"/>
                    <a:pt x="222" y="81"/>
                  </a:cubicBezTo>
                  <a:cubicBezTo>
                    <a:pt x="220" y="80"/>
                    <a:pt x="223" y="77"/>
                    <a:pt x="220" y="79"/>
                  </a:cubicBezTo>
                  <a:cubicBezTo>
                    <a:pt x="217" y="82"/>
                    <a:pt x="216" y="82"/>
                    <a:pt x="214" y="81"/>
                  </a:cubicBezTo>
                  <a:cubicBezTo>
                    <a:pt x="211" y="80"/>
                    <a:pt x="209" y="76"/>
                    <a:pt x="209" y="76"/>
                  </a:cubicBezTo>
                  <a:cubicBezTo>
                    <a:pt x="209" y="76"/>
                    <a:pt x="208" y="71"/>
                    <a:pt x="206" y="72"/>
                  </a:cubicBezTo>
                  <a:cubicBezTo>
                    <a:pt x="204" y="72"/>
                    <a:pt x="200" y="72"/>
                    <a:pt x="200" y="69"/>
                  </a:cubicBezTo>
                  <a:cubicBezTo>
                    <a:pt x="200" y="66"/>
                    <a:pt x="200" y="64"/>
                    <a:pt x="201" y="64"/>
                  </a:cubicBezTo>
                  <a:cubicBezTo>
                    <a:pt x="202" y="64"/>
                    <a:pt x="204" y="64"/>
                    <a:pt x="204" y="62"/>
                  </a:cubicBezTo>
                  <a:cubicBezTo>
                    <a:pt x="203" y="60"/>
                    <a:pt x="205" y="56"/>
                    <a:pt x="203" y="55"/>
                  </a:cubicBezTo>
                  <a:cubicBezTo>
                    <a:pt x="201" y="54"/>
                    <a:pt x="201" y="52"/>
                    <a:pt x="199" y="51"/>
                  </a:cubicBezTo>
                  <a:cubicBezTo>
                    <a:pt x="197" y="49"/>
                    <a:pt x="196" y="45"/>
                    <a:pt x="195" y="45"/>
                  </a:cubicBezTo>
                  <a:cubicBezTo>
                    <a:pt x="194" y="44"/>
                    <a:pt x="194" y="43"/>
                    <a:pt x="193" y="41"/>
                  </a:cubicBezTo>
                  <a:cubicBezTo>
                    <a:pt x="191" y="40"/>
                    <a:pt x="190" y="39"/>
                    <a:pt x="190" y="36"/>
                  </a:cubicBezTo>
                  <a:cubicBezTo>
                    <a:pt x="189" y="32"/>
                    <a:pt x="188" y="31"/>
                    <a:pt x="188" y="29"/>
                  </a:cubicBezTo>
                  <a:cubicBezTo>
                    <a:pt x="189" y="28"/>
                    <a:pt x="189" y="26"/>
                    <a:pt x="187" y="26"/>
                  </a:cubicBezTo>
                  <a:cubicBezTo>
                    <a:pt x="186" y="25"/>
                    <a:pt x="185" y="24"/>
                    <a:pt x="186" y="24"/>
                  </a:cubicBezTo>
                  <a:cubicBezTo>
                    <a:pt x="187" y="24"/>
                    <a:pt x="191" y="24"/>
                    <a:pt x="191" y="24"/>
                  </a:cubicBezTo>
                  <a:cubicBezTo>
                    <a:pt x="191" y="24"/>
                    <a:pt x="192" y="23"/>
                    <a:pt x="193" y="22"/>
                  </a:cubicBezTo>
                  <a:cubicBezTo>
                    <a:pt x="195" y="20"/>
                    <a:pt x="194" y="19"/>
                    <a:pt x="196" y="17"/>
                  </a:cubicBezTo>
                  <a:cubicBezTo>
                    <a:pt x="198" y="16"/>
                    <a:pt x="200" y="15"/>
                    <a:pt x="200" y="14"/>
                  </a:cubicBezTo>
                  <a:cubicBezTo>
                    <a:pt x="200" y="12"/>
                    <a:pt x="201" y="14"/>
                    <a:pt x="200" y="10"/>
                  </a:cubicBezTo>
                  <a:cubicBezTo>
                    <a:pt x="199" y="7"/>
                    <a:pt x="198" y="5"/>
                    <a:pt x="198" y="5"/>
                  </a:cubicBezTo>
                  <a:cubicBezTo>
                    <a:pt x="198" y="5"/>
                    <a:pt x="199" y="3"/>
                    <a:pt x="197" y="3"/>
                  </a:cubicBezTo>
                  <a:cubicBezTo>
                    <a:pt x="195" y="3"/>
                    <a:pt x="194" y="0"/>
                    <a:pt x="191" y="1"/>
                  </a:cubicBezTo>
                  <a:cubicBezTo>
                    <a:pt x="188" y="1"/>
                    <a:pt x="183" y="1"/>
                    <a:pt x="181" y="2"/>
                  </a:cubicBezTo>
                  <a:cubicBezTo>
                    <a:pt x="179" y="2"/>
                    <a:pt x="180" y="0"/>
                    <a:pt x="176" y="2"/>
                  </a:cubicBezTo>
                  <a:cubicBezTo>
                    <a:pt x="173" y="3"/>
                    <a:pt x="173" y="3"/>
                    <a:pt x="171" y="4"/>
                  </a:cubicBezTo>
                  <a:cubicBezTo>
                    <a:pt x="169" y="6"/>
                    <a:pt x="168" y="5"/>
                    <a:pt x="167" y="7"/>
                  </a:cubicBezTo>
                  <a:cubicBezTo>
                    <a:pt x="166" y="8"/>
                    <a:pt x="168" y="9"/>
                    <a:pt x="171" y="10"/>
                  </a:cubicBezTo>
                  <a:cubicBezTo>
                    <a:pt x="173" y="10"/>
                    <a:pt x="175" y="11"/>
                    <a:pt x="177" y="13"/>
                  </a:cubicBezTo>
                  <a:cubicBezTo>
                    <a:pt x="179" y="15"/>
                    <a:pt x="180" y="13"/>
                    <a:pt x="180" y="16"/>
                  </a:cubicBezTo>
                  <a:cubicBezTo>
                    <a:pt x="180" y="19"/>
                    <a:pt x="183" y="20"/>
                    <a:pt x="181" y="20"/>
                  </a:cubicBezTo>
                  <a:cubicBezTo>
                    <a:pt x="178" y="21"/>
                    <a:pt x="178" y="18"/>
                    <a:pt x="176" y="18"/>
                  </a:cubicBezTo>
                  <a:cubicBezTo>
                    <a:pt x="174" y="18"/>
                    <a:pt x="173" y="16"/>
                    <a:pt x="173" y="16"/>
                  </a:cubicBezTo>
                  <a:cubicBezTo>
                    <a:pt x="172" y="15"/>
                    <a:pt x="168" y="12"/>
                    <a:pt x="168" y="12"/>
                  </a:cubicBezTo>
                  <a:cubicBezTo>
                    <a:pt x="165" y="13"/>
                    <a:pt x="167" y="16"/>
                    <a:pt x="166" y="16"/>
                  </a:cubicBezTo>
                  <a:cubicBezTo>
                    <a:pt x="162" y="14"/>
                    <a:pt x="160" y="13"/>
                    <a:pt x="158" y="13"/>
                  </a:cubicBezTo>
                  <a:cubicBezTo>
                    <a:pt x="157" y="13"/>
                    <a:pt x="159" y="10"/>
                    <a:pt x="156" y="12"/>
                  </a:cubicBezTo>
                  <a:cubicBezTo>
                    <a:pt x="152" y="14"/>
                    <a:pt x="152" y="13"/>
                    <a:pt x="152" y="15"/>
                  </a:cubicBezTo>
                  <a:cubicBezTo>
                    <a:pt x="151" y="17"/>
                    <a:pt x="151" y="17"/>
                    <a:pt x="151" y="19"/>
                  </a:cubicBezTo>
                  <a:cubicBezTo>
                    <a:pt x="150" y="21"/>
                    <a:pt x="150" y="26"/>
                    <a:pt x="151" y="27"/>
                  </a:cubicBezTo>
                  <a:cubicBezTo>
                    <a:pt x="151" y="27"/>
                    <a:pt x="152" y="28"/>
                    <a:pt x="152" y="29"/>
                  </a:cubicBezTo>
                  <a:cubicBezTo>
                    <a:pt x="152" y="30"/>
                    <a:pt x="152" y="32"/>
                    <a:pt x="153" y="34"/>
                  </a:cubicBezTo>
                  <a:cubicBezTo>
                    <a:pt x="153" y="35"/>
                    <a:pt x="157" y="36"/>
                    <a:pt x="157" y="38"/>
                  </a:cubicBezTo>
                  <a:cubicBezTo>
                    <a:pt x="157" y="39"/>
                    <a:pt x="160" y="39"/>
                    <a:pt x="160" y="42"/>
                  </a:cubicBezTo>
                  <a:cubicBezTo>
                    <a:pt x="159" y="44"/>
                    <a:pt x="160" y="47"/>
                    <a:pt x="160" y="48"/>
                  </a:cubicBezTo>
                  <a:cubicBezTo>
                    <a:pt x="160" y="49"/>
                    <a:pt x="162" y="52"/>
                    <a:pt x="162" y="52"/>
                  </a:cubicBezTo>
                  <a:cubicBezTo>
                    <a:pt x="161" y="54"/>
                    <a:pt x="159" y="53"/>
                    <a:pt x="158" y="53"/>
                  </a:cubicBezTo>
                  <a:cubicBezTo>
                    <a:pt x="157" y="54"/>
                    <a:pt x="157" y="54"/>
                    <a:pt x="155" y="55"/>
                  </a:cubicBezTo>
                  <a:cubicBezTo>
                    <a:pt x="154" y="56"/>
                    <a:pt x="154" y="54"/>
                    <a:pt x="152" y="54"/>
                  </a:cubicBezTo>
                  <a:cubicBezTo>
                    <a:pt x="151" y="54"/>
                    <a:pt x="150" y="52"/>
                    <a:pt x="150" y="51"/>
                  </a:cubicBezTo>
                  <a:cubicBezTo>
                    <a:pt x="149" y="49"/>
                    <a:pt x="151" y="46"/>
                    <a:pt x="149" y="46"/>
                  </a:cubicBezTo>
                  <a:cubicBezTo>
                    <a:pt x="148" y="46"/>
                    <a:pt x="146" y="44"/>
                    <a:pt x="146" y="43"/>
                  </a:cubicBezTo>
                  <a:cubicBezTo>
                    <a:pt x="145" y="41"/>
                    <a:pt x="146" y="39"/>
                    <a:pt x="145" y="38"/>
                  </a:cubicBezTo>
                  <a:cubicBezTo>
                    <a:pt x="143" y="36"/>
                    <a:pt x="144" y="35"/>
                    <a:pt x="143" y="34"/>
                  </a:cubicBezTo>
                  <a:cubicBezTo>
                    <a:pt x="142" y="34"/>
                    <a:pt x="142" y="32"/>
                    <a:pt x="140" y="31"/>
                  </a:cubicBezTo>
                  <a:cubicBezTo>
                    <a:pt x="139" y="31"/>
                    <a:pt x="137" y="29"/>
                    <a:pt x="137" y="29"/>
                  </a:cubicBezTo>
                  <a:cubicBezTo>
                    <a:pt x="136" y="29"/>
                    <a:pt x="131" y="26"/>
                    <a:pt x="131" y="26"/>
                  </a:cubicBezTo>
                  <a:cubicBezTo>
                    <a:pt x="129" y="23"/>
                    <a:pt x="129" y="23"/>
                    <a:pt x="129" y="23"/>
                  </a:cubicBezTo>
                  <a:cubicBezTo>
                    <a:pt x="127" y="21"/>
                    <a:pt x="127" y="21"/>
                    <a:pt x="127" y="21"/>
                  </a:cubicBezTo>
                  <a:cubicBezTo>
                    <a:pt x="127" y="21"/>
                    <a:pt x="123" y="21"/>
                    <a:pt x="122" y="21"/>
                  </a:cubicBezTo>
                  <a:cubicBezTo>
                    <a:pt x="122" y="21"/>
                    <a:pt x="121" y="21"/>
                    <a:pt x="120" y="21"/>
                  </a:cubicBezTo>
                  <a:cubicBezTo>
                    <a:pt x="117" y="22"/>
                    <a:pt x="117" y="20"/>
                    <a:pt x="117" y="22"/>
                  </a:cubicBezTo>
                  <a:cubicBezTo>
                    <a:pt x="116" y="24"/>
                    <a:pt x="116" y="24"/>
                    <a:pt x="118" y="25"/>
                  </a:cubicBezTo>
                  <a:cubicBezTo>
                    <a:pt x="120" y="26"/>
                    <a:pt x="123" y="28"/>
                    <a:pt x="123" y="28"/>
                  </a:cubicBezTo>
                  <a:cubicBezTo>
                    <a:pt x="123" y="28"/>
                    <a:pt x="124" y="29"/>
                    <a:pt x="125" y="29"/>
                  </a:cubicBezTo>
                  <a:cubicBezTo>
                    <a:pt x="126" y="30"/>
                    <a:pt x="128" y="31"/>
                    <a:pt x="127" y="32"/>
                  </a:cubicBezTo>
                  <a:cubicBezTo>
                    <a:pt x="126" y="33"/>
                    <a:pt x="126" y="33"/>
                    <a:pt x="125" y="33"/>
                  </a:cubicBezTo>
                  <a:cubicBezTo>
                    <a:pt x="124" y="32"/>
                    <a:pt x="122" y="31"/>
                    <a:pt x="122" y="32"/>
                  </a:cubicBezTo>
                  <a:cubicBezTo>
                    <a:pt x="121" y="34"/>
                    <a:pt x="118" y="34"/>
                    <a:pt x="118" y="34"/>
                  </a:cubicBezTo>
                  <a:cubicBezTo>
                    <a:pt x="116" y="33"/>
                    <a:pt x="116" y="33"/>
                    <a:pt x="116" y="33"/>
                  </a:cubicBezTo>
                  <a:cubicBezTo>
                    <a:pt x="113" y="36"/>
                    <a:pt x="112" y="34"/>
                    <a:pt x="111" y="36"/>
                  </a:cubicBezTo>
                  <a:cubicBezTo>
                    <a:pt x="110" y="38"/>
                    <a:pt x="109" y="38"/>
                    <a:pt x="108" y="38"/>
                  </a:cubicBezTo>
                  <a:cubicBezTo>
                    <a:pt x="107" y="39"/>
                    <a:pt x="105" y="38"/>
                    <a:pt x="105" y="38"/>
                  </a:cubicBezTo>
                  <a:cubicBezTo>
                    <a:pt x="107" y="35"/>
                    <a:pt x="107" y="35"/>
                    <a:pt x="109" y="33"/>
                  </a:cubicBezTo>
                  <a:cubicBezTo>
                    <a:pt x="111" y="31"/>
                    <a:pt x="110" y="30"/>
                    <a:pt x="110" y="29"/>
                  </a:cubicBezTo>
                  <a:cubicBezTo>
                    <a:pt x="109" y="29"/>
                    <a:pt x="107" y="28"/>
                    <a:pt x="107" y="28"/>
                  </a:cubicBezTo>
                  <a:cubicBezTo>
                    <a:pt x="107" y="28"/>
                    <a:pt x="102" y="25"/>
                    <a:pt x="101" y="26"/>
                  </a:cubicBezTo>
                  <a:cubicBezTo>
                    <a:pt x="100" y="26"/>
                    <a:pt x="101" y="25"/>
                    <a:pt x="99" y="25"/>
                  </a:cubicBezTo>
                  <a:cubicBezTo>
                    <a:pt x="97" y="25"/>
                    <a:pt x="97" y="24"/>
                    <a:pt x="96" y="24"/>
                  </a:cubicBezTo>
                  <a:cubicBezTo>
                    <a:pt x="94" y="24"/>
                    <a:pt x="92" y="22"/>
                    <a:pt x="91" y="22"/>
                  </a:cubicBezTo>
                  <a:cubicBezTo>
                    <a:pt x="90" y="23"/>
                    <a:pt x="90" y="23"/>
                    <a:pt x="88" y="23"/>
                  </a:cubicBezTo>
                  <a:cubicBezTo>
                    <a:pt x="87" y="22"/>
                    <a:pt x="88" y="22"/>
                    <a:pt x="86" y="22"/>
                  </a:cubicBezTo>
                  <a:cubicBezTo>
                    <a:pt x="84" y="22"/>
                    <a:pt x="84" y="20"/>
                    <a:pt x="83" y="22"/>
                  </a:cubicBezTo>
                  <a:cubicBezTo>
                    <a:pt x="81" y="23"/>
                    <a:pt x="82" y="22"/>
                    <a:pt x="80" y="23"/>
                  </a:cubicBezTo>
                  <a:cubicBezTo>
                    <a:pt x="79" y="25"/>
                    <a:pt x="79" y="25"/>
                    <a:pt x="77" y="27"/>
                  </a:cubicBezTo>
                  <a:cubicBezTo>
                    <a:pt x="76" y="28"/>
                    <a:pt x="73" y="29"/>
                    <a:pt x="75" y="29"/>
                  </a:cubicBezTo>
                  <a:cubicBezTo>
                    <a:pt x="77" y="30"/>
                    <a:pt x="77" y="29"/>
                    <a:pt x="77" y="30"/>
                  </a:cubicBezTo>
                  <a:cubicBezTo>
                    <a:pt x="75" y="32"/>
                    <a:pt x="74" y="32"/>
                    <a:pt x="73" y="32"/>
                  </a:cubicBezTo>
                  <a:cubicBezTo>
                    <a:pt x="71" y="32"/>
                    <a:pt x="72" y="30"/>
                    <a:pt x="70" y="32"/>
                  </a:cubicBezTo>
                  <a:cubicBezTo>
                    <a:pt x="68" y="34"/>
                    <a:pt x="65" y="33"/>
                    <a:pt x="65" y="32"/>
                  </a:cubicBezTo>
                  <a:cubicBezTo>
                    <a:pt x="66" y="31"/>
                    <a:pt x="66" y="31"/>
                    <a:pt x="66" y="30"/>
                  </a:cubicBezTo>
                  <a:cubicBezTo>
                    <a:pt x="69" y="28"/>
                    <a:pt x="70" y="27"/>
                    <a:pt x="70" y="27"/>
                  </a:cubicBezTo>
                  <a:cubicBezTo>
                    <a:pt x="70" y="27"/>
                    <a:pt x="71" y="26"/>
                    <a:pt x="71" y="25"/>
                  </a:cubicBezTo>
                  <a:cubicBezTo>
                    <a:pt x="71" y="24"/>
                    <a:pt x="73" y="19"/>
                    <a:pt x="73" y="19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6"/>
                    <a:pt x="71" y="13"/>
                    <a:pt x="70" y="12"/>
                  </a:cubicBezTo>
                  <a:cubicBezTo>
                    <a:pt x="68" y="11"/>
                    <a:pt x="67" y="10"/>
                    <a:pt x="65" y="10"/>
                  </a:cubicBezTo>
                  <a:cubicBezTo>
                    <a:pt x="64" y="11"/>
                    <a:pt x="61" y="12"/>
                    <a:pt x="60" y="13"/>
                  </a:cubicBezTo>
                  <a:cubicBezTo>
                    <a:pt x="59" y="13"/>
                    <a:pt x="60" y="13"/>
                    <a:pt x="57" y="14"/>
                  </a:cubicBezTo>
                  <a:cubicBezTo>
                    <a:pt x="55" y="16"/>
                    <a:pt x="54" y="15"/>
                    <a:pt x="53" y="16"/>
                  </a:cubicBezTo>
                  <a:cubicBezTo>
                    <a:pt x="52" y="16"/>
                    <a:pt x="51" y="14"/>
                    <a:pt x="49" y="16"/>
                  </a:cubicBezTo>
                  <a:cubicBezTo>
                    <a:pt x="47" y="17"/>
                    <a:pt x="48" y="16"/>
                    <a:pt x="46" y="17"/>
                  </a:cubicBezTo>
                  <a:cubicBezTo>
                    <a:pt x="44" y="19"/>
                    <a:pt x="44" y="17"/>
                    <a:pt x="42" y="18"/>
                  </a:cubicBezTo>
                  <a:cubicBezTo>
                    <a:pt x="40" y="20"/>
                    <a:pt x="41" y="18"/>
                    <a:pt x="39" y="19"/>
                  </a:cubicBezTo>
                  <a:cubicBezTo>
                    <a:pt x="37" y="21"/>
                    <a:pt x="37" y="18"/>
                    <a:pt x="35" y="20"/>
                  </a:cubicBezTo>
                  <a:cubicBezTo>
                    <a:pt x="34" y="21"/>
                    <a:pt x="35" y="19"/>
                    <a:pt x="33" y="21"/>
                  </a:cubicBezTo>
                  <a:cubicBezTo>
                    <a:pt x="30" y="23"/>
                    <a:pt x="30" y="23"/>
                    <a:pt x="29" y="24"/>
                  </a:cubicBezTo>
                  <a:cubicBezTo>
                    <a:pt x="28" y="25"/>
                    <a:pt x="29" y="24"/>
                    <a:pt x="26" y="25"/>
                  </a:cubicBezTo>
                  <a:cubicBezTo>
                    <a:pt x="24" y="26"/>
                    <a:pt x="23" y="24"/>
                    <a:pt x="21" y="26"/>
                  </a:cubicBezTo>
                  <a:cubicBezTo>
                    <a:pt x="20" y="27"/>
                    <a:pt x="21" y="26"/>
                    <a:pt x="18" y="28"/>
                  </a:cubicBezTo>
                  <a:cubicBezTo>
                    <a:pt x="15" y="31"/>
                    <a:pt x="15" y="30"/>
                    <a:pt x="14" y="32"/>
                  </a:cubicBezTo>
                  <a:cubicBezTo>
                    <a:pt x="10" y="35"/>
                    <a:pt x="10" y="36"/>
                    <a:pt x="10" y="36"/>
                  </a:cubicBezTo>
                  <a:cubicBezTo>
                    <a:pt x="13" y="39"/>
                    <a:pt x="10" y="37"/>
                    <a:pt x="13" y="39"/>
                  </a:cubicBezTo>
                  <a:cubicBezTo>
                    <a:pt x="15" y="41"/>
                    <a:pt x="17" y="41"/>
                    <a:pt x="17" y="41"/>
                  </a:cubicBezTo>
                  <a:cubicBezTo>
                    <a:pt x="17" y="41"/>
                    <a:pt x="12" y="44"/>
                    <a:pt x="11" y="44"/>
                  </a:cubicBezTo>
                  <a:cubicBezTo>
                    <a:pt x="8" y="45"/>
                    <a:pt x="10" y="44"/>
                    <a:pt x="8" y="45"/>
                  </a:cubicBezTo>
                  <a:cubicBezTo>
                    <a:pt x="5" y="46"/>
                    <a:pt x="5" y="45"/>
                    <a:pt x="4" y="48"/>
                  </a:cubicBezTo>
                  <a:cubicBezTo>
                    <a:pt x="3" y="50"/>
                    <a:pt x="4" y="47"/>
                    <a:pt x="3" y="51"/>
                  </a:cubicBezTo>
                  <a:cubicBezTo>
                    <a:pt x="2" y="55"/>
                    <a:pt x="0" y="54"/>
                    <a:pt x="2" y="55"/>
                  </a:cubicBezTo>
                  <a:cubicBezTo>
                    <a:pt x="5" y="57"/>
                    <a:pt x="0" y="58"/>
                    <a:pt x="6" y="57"/>
                  </a:cubicBezTo>
                  <a:cubicBezTo>
                    <a:pt x="13" y="57"/>
                    <a:pt x="14" y="56"/>
                    <a:pt x="14" y="57"/>
                  </a:cubicBezTo>
                  <a:cubicBezTo>
                    <a:pt x="15" y="57"/>
                    <a:pt x="20" y="55"/>
                    <a:pt x="20" y="57"/>
                  </a:cubicBezTo>
                  <a:cubicBezTo>
                    <a:pt x="19" y="59"/>
                    <a:pt x="17" y="60"/>
                    <a:pt x="16" y="60"/>
                  </a:cubicBezTo>
                  <a:cubicBezTo>
                    <a:pt x="16" y="60"/>
                    <a:pt x="17" y="62"/>
                    <a:pt x="19" y="62"/>
                  </a:cubicBezTo>
                  <a:cubicBezTo>
                    <a:pt x="20" y="63"/>
                    <a:pt x="20" y="64"/>
                    <a:pt x="23" y="63"/>
                  </a:cubicBezTo>
                  <a:cubicBezTo>
                    <a:pt x="26" y="62"/>
                    <a:pt x="29" y="62"/>
                    <a:pt x="29" y="62"/>
                  </a:cubicBezTo>
                  <a:cubicBezTo>
                    <a:pt x="33" y="61"/>
                    <a:pt x="33" y="60"/>
                    <a:pt x="35" y="60"/>
                  </a:cubicBezTo>
                  <a:cubicBezTo>
                    <a:pt x="37" y="61"/>
                    <a:pt x="42" y="60"/>
                    <a:pt x="43" y="59"/>
                  </a:cubicBezTo>
                  <a:cubicBezTo>
                    <a:pt x="44" y="59"/>
                    <a:pt x="47" y="58"/>
                    <a:pt x="49" y="59"/>
                  </a:cubicBezTo>
                  <a:cubicBezTo>
                    <a:pt x="50" y="60"/>
                    <a:pt x="53" y="57"/>
                    <a:pt x="51" y="59"/>
                  </a:cubicBezTo>
                  <a:cubicBezTo>
                    <a:pt x="50" y="61"/>
                    <a:pt x="47" y="62"/>
                    <a:pt x="44" y="63"/>
                  </a:cubicBezTo>
                  <a:cubicBezTo>
                    <a:pt x="41" y="63"/>
                    <a:pt x="40" y="64"/>
                    <a:pt x="37" y="65"/>
                  </a:cubicBezTo>
                  <a:cubicBezTo>
                    <a:pt x="35" y="66"/>
                    <a:pt x="35" y="65"/>
                    <a:pt x="32" y="66"/>
                  </a:cubicBezTo>
                  <a:cubicBezTo>
                    <a:pt x="30" y="67"/>
                    <a:pt x="28" y="67"/>
                    <a:pt x="26" y="68"/>
                  </a:cubicBezTo>
                  <a:cubicBezTo>
                    <a:pt x="24" y="68"/>
                    <a:pt x="26" y="67"/>
                    <a:pt x="22" y="68"/>
                  </a:cubicBezTo>
                  <a:cubicBezTo>
                    <a:pt x="18" y="70"/>
                    <a:pt x="17" y="68"/>
                    <a:pt x="15" y="71"/>
                  </a:cubicBezTo>
                  <a:cubicBezTo>
                    <a:pt x="12" y="73"/>
                    <a:pt x="11" y="74"/>
                    <a:pt x="12" y="76"/>
                  </a:cubicBezTo>
                  <a:cubicBezTo>
                    <a:pt x="13" y="77"/>
                    <a:pt x="16" y="77"/>
                    <a:pt x="19" y="79"/>
                  </a:cubicBezTo>
                  <a:cubicBezTo>
                    <a:pt x="22" y="81"/>
                    <a:pt x="27" y="83"/>
                    <a:pt x="27" y="83"/>
                  </a:cubicBezTo>
                  <a:cubicBezTo>
                    <a:pt x="27" y="83"/>
                    <a:pt x="29" y="83"/>
                    <a:pt x="31" y="83"/>
                  </a:cubicBezTo>
                  <a:cubicBezTo>
                    <a:pt x="33" y="83"/>
                    <a:pt x="35" y="83"/>
                    <a:pt x="37" y="82"/>
                  </a:cubicBezTo>
                  <a:cubicBezTo>
                    <a:pt x="39" y="82"/>
                    <a:pt x="38" y="81"/>
                    <a:pt x="42" y="81"/>
                  </a:cubicBezTo>
                  <a:cubicBezTo>
                    <a:pt x="46" y="81"/>
                    <a:pt x="50" y="82"/>
                    <a:pt x="51" y="82"/>
                  </a:cubicBezTo>
                  <a:cubicBezTo>
                    <a:pt x="52" y="82"/>
                    <a:pt x="56" y="81"/>
                    <a:pt x="57" y="82"/>
                  </a:cubicBezTo>
                  <a:cubicBezTo>
                    <a:pt x="58" y="82"/>
                    <a:pt x="64" y="82"/>
                    <a:pt x="65" y="82"/>
                  </a:cubicBezTo>
                  <a:cubicBezTo>
                    <a:pt x="66" y="81"/>
                    <a:pt x="70" y="80"/>
                    <a:pt x="72" y="80"/>
                  </a:cubicBezTo>
                  <a:cubicBezTo>
                    <a:pt x="74" y="81"/>
                    <a:pt x="79" y="82"/>
                    <a:pt x="81" y="83"/>
                  </a:cubicBezTo>
                  <a:cubicBezTo>
                    <a:pt x="83" y="83"/>
                    <a:pt x="91" y="83"/>
                    <a:pt x="92" y="84"/>
                  </a:cubicBezTo>
                  <a:cubicBezTo>
                    <a:pt x="94" y="84"/>
                    <a:pt x="98" y="86"/>
                    <a:pt x="96" y="87"/>
                  </a:cubicBezTo>
                  <a:cubicBezTo>
                    <a:pt x="94" y="88"/>
                    <a:pt x="91" y="90"/>
                    <a:pt x="89" y="90"/>
                  </a:cubicBezTo>
                  <a:cubicBezTo>
                    <a:pt x="87" y="89"/>
                    <a:pt x="86" y="88"/>
                    <a:pt x="81" y="88"/>
                  </a:cubicBezTo>
                  <a:cubicBezTo>
                    <a:pt x="77" y="89"/>
                    <a:pt x="74" y="89"/>
                    <a:pt x="71" y="90"/>
                  </a:cubicBezTo>
                  <a:cubicBezTo>
                    <a:pt x="68" y="90"/>
                    <a:pt x="68" y="89"/>
                    <a:pt x="65" y="90"/>
                  </a:cubicBezTo>
                  <a:cubicBezTo>
                    <a:pt x="62" y="90"/>
                    <a:pt x="60" y="90"/>
                    <a:pt x="57" y="91"/>
                  </a:cubicBezTo>
                  <a:cubicBezTo>
                    <a:pt x="55" y="91"/>
                    <a:pt x="57" y="89"/>
                    <a:pt x="52" y="90"/>
                  </a:cubicBezTo>
                  <a:cubicBezTo>
                    <a:pt x="47" y="91"/>
                    <a:pt x="44" y="91"/>
                    <a:pt x="41" y="91"/>
                  </a:cubicBezTo>
                  <a:cubicBezTo>
                    <a:pt x="38" y="92"/>
                    <a:pt x="38" y="90"/>
                    <a:pt x="35" y="92"/>
                  </a:cubicBezTo>
                  <a:cubicBezTo>
                    <a:pt x="32" y="93"/>
                    <a:pt x="32" y="91"/>
                    <a:pt x="30" y="93"/>
                  </a:cubicBezTo>
                  <a:cubicBezTo>
                    <a:pt x="28" y="95"/>
                    <a:pt x="27" y="93"/>
                    <a:pt x="27" y="95"/>
                  </a:cubicBezTo>
                  <a:cubicBezTo>
                    <a:pt x="27" y="96"/>
                    <a:pt x="25" y="95"/>
                    <a:pt x="27" y="99"/>
                  </a:cubicBezTo>
                  <a:cubicBezTo>
                    <a:pt x="30" y="102"/>
                    <a:pt x="30" y="104"/>
                    <a:pt x="30" y="105"/>
                  </a:cubicBezTo>
                  <a:cubicBezTo>
                    <a:pt x="34" y="109"/>
                    <a:pt x="39" y="111"/>
                    <a:pt x="40" y="111"/>
                  </a:cubicBezTo>
                  <a:cubicBezTo>
                    <a:pt x="41" y="111"/>
                    <a:pt x="42" y="112"/>
                    <a:pt x="43" y="113"/>
                  </a:cubicBezTo>
                  <a:cubicBezTo>
                    <a:pt x="44" y="114"/>
                    <a:pt x="43" y="114"/>
                    <a:pt x="47" y="115"/>
                  </a:cubicBezTo>
                  <a:cubicBezTo>
                    <a:pt x="50" y="116"/>
                    <a:pt x="54" y="115"/>
                    <a:pt x="55" y="116"/>
                  </a:cubicBezTo>
                  <a:cubicBezTo>
                    <a:pt x="56" y="116"/>
                    <a:pt x="61" y="119"/>
                    <a:pt x="62" y="118"/>
                  </a:cubicBezTo>
                  <a:cubicBezTo>
                    <a:pt x="63" y="117"/>
                    <a:pt x="64" y="115"/>
                    <a:pt x="65" y="116"/>
                  </a:cubicBezTo>
                  <a:cubicBezTo>
                    <a:pt x="66" y="117"/>
                    <a:pt x="68" y="117"/>
                    <a:pt x="70" y="117"/>
                  </a:cubicBezTo>
                  <a:cubicBezTo>
                    <a:pt x="72" y="117"/>
                    <a:pt x="72" y="116"/>
                    <a:pt x="74" y="116"/>
                  </a:cubicBezTo>
                  <a:cubicBezTo>
                    <a:pt x="75" y="117"/>
                    <a:pt x="76" y="118"/>
                    <a:pt x="76" y="118"/>
                  </a:cubicBezTo>
                  <a:cubicBezTo>
                    <a:pt x="77" y="119"/>
                    <a:pt x="77" y="121"/>
                    <a:pt x="77" y="122"/>
                  </a:cubicBezTo>
                  <a:cubicBezTo>
                    <a:pt x="76" y="124"/>
                    <a:pt x="77" y="125"/>
                    <a:pt x="77" y="127"/>
                  </a:cubicBezTo>
                  <a:cubicBezTo>
                    <a:pt x="76" y="129"/>
                    <a:pt x="76" y="127"/>
                    <a:pt x="77" y="128"/>
                  </a:cubicBezTo>
                  <a:cubicBezTo>
                    <a:pt x="78" y="129"/>
                    <a:pt x="78" y="128"/>
                    <a:pt x="80" y="129"/>
                  </a:cubicBezTo>
                  <a:cubicBezTo>
                    <a:pt x="81" y="130"/>
                    <a:pt x="83" y="131"/>
                    <a:pt x="83" y="131"/>
                  </a:cubicBezTo>
                  <a:cubicBezTo>
                    <a:pt x="83" y="132"/>
                    <a:pt x="86" y="131"/>
                    <a:pt x="87" y="133"/>
                  </a:cubicBezTo>
                  <a:cubicBezTo>
                    <a:pt x="88" y="134"/>
                    <a:pt x="93" y="133"/>
                    <a:pt x="93" y="133"/>
                  </a:cubicBezTo>
                  <a:cubicBezTo>
                    <a:pt x="93" y="133"/>
                    <a:pt x="94" y="131"/>
                    <a:pt x="96" y="132"/>
                  </a:cubicBezTo>
                  <a:cubicBezTo>
                    <a:pt x="98" y="133"/>
                    <a:pt x="104" y="133"/>
                    <a:pt x="104" y="133"/>
                  </a:cubicBezTo>
                  <a:cubicBezTo>
                    <a:pt x="104" y="133"/>
                    <a:pt x="104" y="131"/>
                    <a:pt x="106" y="132"/>
                  </a:cubicBezTo>
                  <a:cubicBezTo>
                    <a:pt x="109" y="132"/>
                    <a:pt x="103" y="130"/>
                    <a:pt x="112" y="131"/>
                  </a:cubicBezTo>
                  <a:cubicBezTo>
                    <a:pt x="121" y="131"/>
                    <a:pt x="128" y="129"/>
                    <a:pt x="128" y="129"/>
                  </a:cubicBezTo>
                  <a:cubicBezTo>
                    <a:pt x="137" y="129"/>
                    <a:pt x="137" y="129"/>
                    <a:pt x="137" y="129"/>
                  </a:cubicBezTo>
                  <a:cubicBezTo>
                    <a:pt x="137" y="129"/>
                    <a:pt x="142" y="127"/>
                    <a:pt x="143" y="126"/>
                  </a:cubicBezTo>
                  <a:cubicBezTo>
                    <a:pt x="144" y="126"/>
                    <a:pt x="146" y="124"/>
                    <a:pt x="147" y="124"/>
                  </a:cubicBezTo>
                  <a:cubicBezTo>
                    <a:pt x="150" y="123"/>
                    <a:pt x="150" y="124"/>
                    <a:pt x="154" y="123"/>
                  </a:cubicBezTo>
                  <a:cubicBezTo>
                    <a:pt x="159" y="121"/>
                    <a:pt x="157" y="122"/>
                    <a:pt x="159" y="121"/>
                  </a:cubicBezTo>
                  <a:cubicBezTo>
                    <a:pt x="160" y="121"/>
                    <a:pt x="164" y="120"/>
                    <a:pt x="164" y="120"/>
                  </a:cubicBezTo>
                  <a:cubicBezTo>
                    <a:pt x="167" y="117"/>
                    <a:pt x="167" y="117"/>
                    <a:pt x="167" y="117"/>
                  </a:cubicBezTo>
                  <a:cubicBezTo>
                    <a:pt x="167" y="117"/>
                    <a:pt x="168" y="114"/>
                    <a:pt x="169" y="113"/>
                  </a:cubicBezTo>
                  <a:cubicBezTo>
                    <a:pt x="170" y="113"/>
                    <a:pt x="172" y="111"/>
                    <a:pt x="173" y="111"/>
                  </a:cubicBezTo>
                  <a:cubicBezTo>
                    <a:pt x="175" y="113"/>
                    <a:pt x="177" y="111"/>
                    <a:pt x="176" y="114"/>
                  </a:cubicBezTo>
                  <a:cubicBezTo>
                    <a:pt x="175" y="116"/>
                    <a:pt x="175" y="117"/>
                    <a:pt x="176" y="117"/>
                  </a:cubicBezTo>
                  <a:cubicBezTo>
                    <a:pt x="177" y="118"/>
                    <a:pt x="181" y="117"/>
                    <a:pt x="182" y="117"/>
                  </a:cubicBezTo>
                  <a:cubicBezTo>
                    <a:pt x="182" y="118"/>
                    <a:pt x="187" y="117"/>
                    <a:pt x="187" y="117"/>
                  </a:cubicBezTo>
                  <a:cubicBezTo>
                    <a:pt x="189" y="119"/>
                    <a:pt x="190" y="118"/>
                    <a:pt x="191" y="120"/>
                  </a:cubicBezTo>
                  <a:cubicBezTo>
                    <a:pt x="192" y="123"/>
                    <a:pt x="195" y="124"/>
                    <a:pt x="195" y="124"/>
                  </a:cubicBezTo>
                  <a:cubicBezTo>
                    <a:pt x="196" y="125"/>
                    <a:pt x="196" y="125"/>
                    <a:pt x="198" y="125"/>
                  </a:cubicBezTo>
                  <a:cubicBezTo>
                    <a:pt x="200" y="124"/>
                    <a:pt x="200" y="124"/>
                    <a:pt x="201" y="124"/>
                  </a:cubicBezTo>
                  <a:cubicBezTo>
                    <a:pt x="202" y="124"/>
                    <a:pt x="204" y="123"/>
                    <a:pt x="205" y="124"/>
                  </a:cubicBezTo>
                  <a:cubicBezTo>
                    <a:pt x="206" y="125"/>
                    <a:pt x="205" y="123"/>
                    <a:pt x="208" y="125"/>
                  </a:cubicBezTo>
                  <a:cubicBezTo>
                    <a:pt x="211" y="126"/>
                    <a:pt x="219" y="125"/>
                    <a:pt x="221" y="125"/>
                  </a:cubicBezTo>
                  <a:cubicBezTo>
                    <a:pt x="222" y="125"/>
                    <a:pt x="226" y="124"/>
                    <a:pt x="226" y="124"/>
                  </a:cubicBezTo>
                  <a:cubicBezTo>
                    <a:pt x="226" y="124"/>
                    <a:pt x="228" y="124"/>
                    <a:pt x="229" y="124"/>
                  </a:cubicBezTo>
                  <a:cubicBezTo>
                    <a:pt x="231" y="124"/>
                    <a:pt x="232" y="122"/>
                    <a:pt x="232" y="122"/>
                  </a:cubicBezTo>
                  <a:cubicBezTo>
                    <a:pt x="233" y="121"/>
                    <a:pt x="233" y="121"/>
                    <a:pt x="235" y="120"/>
                  </a:cubicBezTo>
                  <a:cubicBezTo>
                    <a:pt x="237" y="119"/>
                    <a:pt x="238" y="120"/>
                    <a:pt x="238" y="119"/>
                  </a:cubicBezTo>
                  <a:cubicBezTo>
                    <a:pt x="238" y="118"/>
                    <a:pt x="238" y="117"/>
                    <a:pt x="238" y="117"/>
                  </a:cubicBezTo>
                  <a:cubicBezTo>
                    <a:pt x="235" y="117"/>
                    <a:pt x="234" y="114"/>
                    <a:pt x="234" y="114"/>
                  </a:cubicBezTo>
                  <a:cubicBezTo>
                    <a:pt x="233" y="112"/>
                    <a:pt x="232" y="111"/>
                    <a:pt x="232" y="111"/>
                  </a:cubicBezTo>
                  <a:cubicBezTo>
                    <a:pt x="232" y="111"/>
                    <a:pt x="229" y="109"/>
                    <a:pt x="227" y="110"/>
                  </a:cubicBezTo>
                  <a:cubicBezTo>
                    <a:pt x="226" y="111"/>
                    <a:pt x="227" y="109"/>
                    <a:pt x="225" y="111"/>
                  </a:cubicBezTo>
                  <a:cubicBezTo>
                    <a:pt x="223" y="113"/>
                    <a:pt x="222" y="114"/>
                    <a:pt x="222" y="114"/>
                  </a:cubicBezTo>
                  <a:cubicBezTo>
                    <a:pt x="222" y="114"/>
                    <a:pt x="221" y="113"/>
                    <a:pt x="222" y="112"/>
                  </a:cubicBezTo>
                  <a:cubicBezTo>
                    <a:pt x="222" y="111"/>
                    <a:pt x="224" y="110"/>
                    <a:pt x="222" y="110"/>
                  </a:cubicBezTo>
                  <a:cubicBezTo>
                    <a:pt x="221" y="109"/>
                    <a:pt x="219" y="108"/>
                    <a:pt x="219" y="108"/>
                  </a:cubicBezTo>
                  <a:cubicBezTo>
                    <a:pt x="219" y="108"/>
                    <a:pt x="220" y="107"/>
                    <a:pt x="222" y="108"/>
                  </a:cubicBezTo>
                  <a:cubicBezTo>
                    <a:pt x="224" y="109"/>
                    <a:pt x="226" y="109"/>
                    <a:pt x="226" y="108"/>
                  </a:cubicBezTo>
                  <a:cubicBezTo>
                    <a:pt x="226" y="107"/>
                    <a:pt x="225" y="109"/>
                    <a:pt x="226" y="107"/>
                  </a:cubicBezTo>
                  <a:cubicBezTo>
                    <a:pt x="226" y="105"/>
                    <a:pt x="225" y="103"/>
                    <a:pt x="227" y="10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9" name="Freeform 18"/>
            <p:cNvSpPr>
              <a:spLocks noEditPoints="1"/>
            </p:cNvSpPr>
            <p:nvPr/>
          </p:nvSpPr>
          <p:spPr bwMode="auto">
            <a:xfrm>
              <a:off x="3217" y="1367"/>
              <a:ext cx="310" cy="160"/>
            </a:xfrm>
            <a:custGeom>
              <a:avLst/>
              <a:gdLst>
                <a:gd name="T0" fmla="*/ 15 w 417"/>
                <a:gd name="T1" fmla="*/ 57 h 215"/>
                <a:gd name="T2" fmla="*/ 20 w 417"/>
                <a:gd name="T3" fmla="*/ 66 h 215"/>
                <a:gd name="T4" fmla="*/ 57 w 417"/>
                <a:gd name="T5" fmla="*/ 83 h 215"/>
                <a:gd name="T6" fmla="*/ 73 w 417"/>
                <a:gd name="T7" fmla="*/ 79 h 215"/>
                <a:gd name="T8" fmla="*/ 109 w 417"/>
                <a:gd name="T9" fmla="*/ 83 h 215"/>
                <a:gd name="T10" fmla="*/ 149 w 417"/>
                <a:gd name="T11" fmla="*/ 80 h 215"/>
                <a:gd name="T12" fmla="*/ 199 w 417"/>
                <a:gd name="T13" fmla="*/ 59 h 215"/>
                <a:gd name="T14" fmla="*/ 191 w 417"/>
                <a:gd name="T15" fmla="*/ 76 h 215"/>
                <a:gd name="T16" fmla="*/ 147 w 417"/>
                <a:gd name="T17" fmla="*/ 89 h 215"/>
                <a:gd name="T18" fmla="*/ 141 w 417"/>
                <a:gd name="T19" fmla="*/ 107 h 215"/>
                <a:gd name="T20" fmla="*/ 133 w 417"/>
                <a:gd name="T21" fmla="*/ 109 h 215"/>
                <a:gd name="T22" fmla="*/ 92 w 417"/>
                <a:gd name="T23" fmla="*/ 93 h 215"/>
                <a:gd name="T24" fmla="*/ 75 w 417"/>
                <a:gd name="T25" fmla="*/ 108 h 215"/>
                <a:gd name="T26" fmla="*/ 120 w 417"/>
                <a:gd name="T27" fmla="*/ 134 h 215"/>
                <a:gd name="T28" fmla="*/ 126 w 417"/>
                <a:gd name="T29" fmla="*/ 139 h 215"/>
                <a:gd name="T30" fmla="*/ 91 w 417"/>
                <a:gd name="T31" fmla="*/ 136 h 215"/>
                <a:gd name="T32" fmla="*/ 65 w 417"/>
                <a:gd name="T33" fmla="*/ 158 h 215"/>
                <a:gd name="T34" fmla="*/ 94 w 417"/>
                <a:gd name="T35" fmla="*/ 150 h 215"/>
                <a:gd name="T36" fmla="*/ 92 w 417"/>
                <a:gd name="T37" fmla="*/ 165 h 215"/>
                <a:gd name="T38" fmla="*/ 121 w 417"/>
                <a:gd name="T39" fmla="*/ 164 h 215"/>
                <a:gd name="T40" fmla="*/ 81 w 417"/>
                <a:gd name="T41" fmla="*/ 172 h 215"/>
                <a:gd name="T42" fmla="*/ 57 w 417"/>
                <a:gd name="T43" fmla="*/ 181 h 215"/>
                <a:gd name="T44" fmla="*/ 33 w 417"/>
                <a:gd name="T45" fmla="*/ 203 h 215"/>
                <a:gd name="T46" fmla="*/ 56 w 417"/>
                <a:gd name="T47" fmla="*/ 206 h 215"/>
                <a:gd name="T48" fmla="*/ 84 w 417"/>
                <a:gd name="T49" fmla="*/ 209 h 215"/>
                <a:gd name="T50" fmla="*/ 99 w 417"/>
                <a:gd name="T51" fmla="*/ 207 h 215"/>
                <a:gd name="T52" fmla="*/ 116 w 417"/>
                <a:gd name="T53" fmla="*/ 205 h 215"/>
                <a:gd name="T54" fmla="*/ 136 w 417"/>
                <a:gd name="T55" fmla="*/ 207 h 215"/>
                <a:gd name="T56" fmla="*/ 145 w 417"/>
                <a:gd name="T57" fmla="*/ 206 h 215"/>
                <a:gd name="T58" fmla="*/ 165 w 417"/>
                <a:gd name="T59" fmla="*/ 211 h 215"/>
                <a:gd name="T60" fmla="*/ 191 w 417"/>
                <a:gd name="T61" fmla="*/ 198 h 215"/>
                <a:gd name="T62" fmla="*/ 172 w 417"/>
                <a:gd name="T63" fmla="*/ 187 h 215"/>
                <a:gd name="T64" fmla="*/ 189 w 417"/>
                <a:gd name="T65" fmla="*/ 163 h 215"/>
                <a:gd name="T66" fmla="*/ 220 w 417"/>
                <a:gd name="T67" fmla="*/ 158 h 215"/>
                <a:gd name="T68" fmla="*/ 232 w 417"/>
                <a:gd name="T69" fmla="*/ 144 h 215"/>
                <a:gd name="T70" fmla="*/ 233 w 417"/>
                <a:gd name="T71" fmla="*/ 133 h 215"/>
                <a:gd name="T72" fmla="*/ 209 w 417"/>
                <a:gd name="T73" fmla="*/ 118 h 215"/>
                <a:gd name="T74" fmla="*/ 243 w 417"/>
                <a:gd name="T75" fmla="*/ 119 h 215"/>
                <a:gd name="T76" fmla="*/ 260 w 417"/>
                <a:gd name="T77" fmla="*/ 112 h 215"/>
                <a:gd name="T78" fmla="*/ 287 w 417"/>
                <a:gd name="T79" fmla="*/ 98 h 215"/>
                <a:gd name="T80" fmla="*/ 303 w 417"/>
                <a:gd name="T81" fmla="*/ 89 h 215"/>
                <a:gd name="T82" fmla="*/ 372 w 417"/>
                <a:gd name="T83" fmla="*/ 54 h 215"/>
                <a:gd name="T84" fmla="*/ 345 w 417"/>
                <a:gd name="T85" fmla="*/ 53 h 215"/>
                <a:gd name="T86" fmla="*/ 397 w 417"/>
                <a:gd name="T87" fmla="*/ 40 h 215"/>
                <a:gd name="T88" fmla="*/ 389 w 417"/>
                <a:gd name="T89" fmla="*/ 22 h 215"/>
                <a:gd name="T90" fmla="*/ 327 w 417"/>
                <a:gd name="T91" fmla="*/ 17 h 215"/>
                <a:gd name="T92" fmla="*/ 334 w 417"/>
                <a:gd name="T93" fmla="*/ 8 h 215"/>
                <a:gd name="T94" fmla="*/ 294 w 417"/>
                <a:gd name="T95" fmla="*/ 2 h 215"/>
                <a:gd name="T96" fmla="*/ 274 w 417"/>
                <a:gd name="T97" fmla="*/ 6 h 215"/>
                <a:gd name="T98" fmla="*/ 249 w 417"/>
                <a:gd name="T99" fmla="*/ 10 h 215"/>
                <a:gd name="T100" fmla="*/ 201 w 417"/>
                <a:gd name="T101" fmla="*/ 3 h 215"/>
                <a:gd name="T102" fmla="*/ 212 w 417"/>
                <a:gd name="T103" fmla="*/ 20 h 215"/>
                <a:gd name="T104" fmla="*/ 179 w 417"/>
                <a:gd name="T105" fmla="*/ 8 h 215"/>
                <a:gd name="T106" fmla="*/ 161 w 417"/>
                <a:gd name="T107" fmla="*/ 15 h 215"/>
                <a:gd name="T108" fmla="*/ 143 w 417"/>
                <a:gd name="T109" fmla="*/ 18 h 215"/>
                <a:gd name="T110" fmla="*/ 133 w 417"/>
                <a:gd name="T111" fmla="*/ 30 h 215"/>
                <a:gd name="T112" fmla="*/ 155 w 417"/>
                <a:gd name="T113" fmla="*/ 37 h 215"/>
                <a:gd name="T114" fmla="*/ 125 w 417"/>
                <a:gd name="T115" fmla="*/ 36 h 215"/>
                <a:gd name="T116" fmla="*/ 84 w 417"/>
                <a:gd name="T117" fmla="*/ 27 h 215"/>
                <a:gd name="T118" fmla="*/ 94 w 417"/>
                <a:gd name="T119" fmla="*/ 41 h 215"/>
                <a:gd name="T120" fmla="*/ 49 w 417"/>
                <a:gd name="T121" fmla="*/ 35 h 215"/>
                <a:gd name="T122" fmla="*/ 8 w 417"/>
                <a:gd name="T123" fmla="*/ 46 h 215"/>
                <a:gd name="T124" fmla="*/ 202 w 417"/>
                <a:gd name="T125" fmla="*/ 118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7" h="215">
                  <a:moveTo>
                    <a:pt x="2" y="52"/>
                  </a:moveTo>
                  <a:cubicBezTo>
                    <a:pt x="5" y="53"/>
                    <a:pt x="5" y="54"/>
                    <a:pt x="8" y="54"/>
                  </a:cubicBezTo>
                  <a:cubicBezTo>
                    <a:pt x="10" y="54"/>
                    <a:pt x="10" y="55"/>
                    <a:pt x="12" y="53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5" y="51"/>
                    <a:pt x="18" y="50"/>
                    <a:pt x="19" y="50"/>
                  </a:cubicBezTo>
                  <a:cubicBezTo>
                    <a:pt x="19" y="50"/>
                    <a:pt x="25" y="49"/>
                    <a:pt x="26" y="49"/>
                  </a:cubicBezTo>
                  <a:cubicBezTo>
                    <a:pt x="26" y="49"/>
                    <a:pt x="29" y="48"/>
                    <a:pt x="28" y="49"/>
                  </a:cubicBezTo>
                  <a:cubicBezTo>
                    <a:pt x="27" y="50"/>
                    <a:pt x="28" y="50"/>
                    <a:pt x="26" y="51"/>
                  </a:cubicBezTo>
                  <a:cubicBezTo>
                    <a:pt x="25" y="52"/>
                    <a:pt x="25" y="51"/>
                    <a:pt x="22" y="52"/>
                  </a:cubicBezTo>
                  <a:cubicBezTo>
                    <a:pt x="18" y="54"/>
                    <a:pt x="17" y="54"/>
                    <a:pt x="16" y="55"/>
                  </a:cubicBezTo>
                  <a:cubicBezTo>
                    <a:pt x="15" y="56"/>
                    <a:pt x="14" y="56"/>
                    <a:pt x="15" y="57"/>
                  </a:cubicBezTo>
                  <a:cubicBezTo>
                    <a:pt x="16" y="58"/>
                    <a:pt x="16" y="59"/>
                    <a:pt x="20" y="59"/>
                  </a:cubicBezTo>
                  <a:cubicBezTo>
                    <a:pt x="23" y="59"/>
                    <a:pt x="23" y="59"/>
                    <a:pt x="24" y="59"/>
                  </a:cubicBezTo>
                  <a:cubicBezTo>
                    <a:pt x="25" y="59"/>
                    <a:pt x="28" y="57"/>
                    <a:pt x="29" y="57"/>
                  </a:cubicBezTo>
                  <a:cubicBezTo>
                    <a:pt x="29" y="56"/>
                    <a:pt x="33" y="55"/>
                    <a:pt x="33" y="55"/>
                  </a:cubicBezTo>
                  <a:cubicBezTo>
                    <a:pt x="34" y="55"/>
                    <a:pt x="37" y="54"/>
                    <a:pt x="38" y="54"/>
                  </a:cubicBezTo>
                  <a:cubicBezTo>
                    <a:pt x="38" y="54"/>
                    <a:pt x="40" y="55"/>
                    <a:pt x="40" y="55"/>
                  </a:cubicBezTo>
                  <a:cubicBezTo>
                    <a:pt x="39" y="55"/>
                    <a:pt x="39" y="56"/>
                    <a:pt x="34" y="57"/>
                  </a:cubicBezTo>
                  <a:cubicBezTo>
                    <a:pt x="30" y="58"/>
                    <a:pt x="31" y="57"/>
                    <a:pt x="29" y="59"/>
                  </a:cubicBezTo>
                  <a:cubicBezTo>
                    <a:pt x="27" y="60"/>
                    <a:pt x="28" y="59"/>
                    <a:pt x="26" y="61"/>
                  </a:cubicBezTo>
                  <a:cubicBezTo>
                    <a:pt x="24" y="63"/>
                    <a:pt x="24" y="63"/>
                    <a:pt x="23" y="64"/>
                  </a:cubicBezTo>
                  <a:cubicBezTo>
                    <a:pt x="21" y="65"/>
                    <a:pt x="21" y="65"/>
                    <a:pt x="20" y="66"/>
                  </a:cubicBezTo>
                  <a:cubicBezTo>
                    <a:pt x="19" y="66"/>
                    <a:pt x="20" y="68"/>
                    <a:pt x="21" y="69"/>
                  </a:cubicBezTo>
                  <a:cubicBezTo>
                    <a:pt x="23" y="69"/>
                    <a:pt x="22" y="70"/>
                    <a:pt x="24" y="70"/>
                  </a:cubicBezTo>
                  <a:cubicBezTo>
                    <a:pt x="26" y="71"/>
                    <a:pt x="26" y="72"/>
                    <a:pt x="28" y="71"/>
                  </a:cubicBezTo>
                  <a:cubicBezTo>
                    <a:pt x="30" y="71"/>
                    <a:pt x="30" y="71"/>
                    <a:pt x="31" y="71"/>
                  </a:cubicBezTo>
                  <a:cubicBezTo>
                    <a:pt x="32" y="71"/>
                    <a:pt x="34" y="70"/>
                    <a:pt x="35" y="71"/>
                  </a:cubicBezTo>
                  <a:cubicBezTo>
                    <a:pt x="35" y="72"/>
                    <a:pt x="34" y="72"/>
                    <a:pt x="34" y="74"/>
                  </a:cubicBezTo>
                  <a:cubicBezTo>
                    <a:pt x="34" y="75"/>
                    <a:pt x="35" y="76"/>
                    <a:pt x="36" y="76"/>
                  </a:cubicBezTo>
                  <a:cubicBezTo>
                    <a:pt x="37" y="77"/>
                    <a:pt x="40" y="78"/>
                    <a:pt x="40" y="78"/>
                  </a:cubicBezTo>
                  <a:cubicBezTo>
                    <a:pt x="40" y="78"/>
                    <a:pt x="49" y="81"/>
                    <a:pt x="50" y="81"/>
                  </a:cubicBezTo>
                  <a:cubicBezTo>
                    <a:pt x="51" y="81"/>
                    <a:pt x="52" y="81"/>
                    <a:pt x="53" y="82"/>
                  </a:cubicBezTo>
                  <a:cubicBezTo>
                    <a:pt x="54" y="83"/>
                    <a:pt x="55" y="83"/>
                    <a:pt x="57" y="83"/>
                  </a:cubicBezTo>
                  <a:cubicBezTo>
                    <a:pt x="58" y="83"/>
                    <a:pt x="64" y="83"/>
                    <a:pt x="64" y="83"/>
                  </a:cubicBezTo>
                  <a:cubicBezTo>
                    <a:pt x="65" y="82"/>
                    <a:pt x="66" y="80"/>
                    <a:pt x="66" y="80"/>
                  </a:cubicBezTo>
                  <a:cubicBezTo>
                    <a:pt x="66" y="80"/>
                    <a:pt x="69" y="77"/>
                    <a:pt x="69" y="77"/>
                  </a:cubicBezTo>
                  <a:cubicBezTo>
                    <a:pt x="70" y="76"/>
                    <a:pt x="70" y="76"/>
                    <a:pt x="71" y="75"/>
                  </a:cubicBezTo>
                  <a:cubicBezTo>
                    <a:pt x="72" y="74"/>
                    <a:pt x="71" y="75"/>
                    <a:pt x="73" y="73"/>
                  </a:cubicBezTo>
                  <a:cubicBezTo>
                    <a:pt x="76" y="72"/>
                    <a:pt x="79" y="72"/>
                    <a:pt x="80" y="72"/>
                  </a:cubicBezTo>
                  <a:cubicBezTo>
                    <a:pt x="80" y="72"/>
                    <a:pt x="82" y="71"/>
                    <a:pt x="83" y="71"/>
                  </a:cubicBezTo>
                  <a:cubicBezTo>
                    <a:pt x="84" y="71"/>
                    <a:pt x="86" y="70"/>
                    <a:pt x="83" y="72"/>
                  </a:cubicBezTo>
                  <a:cubicBezTo>
                    <a:pt x="80" y="74"/>
                    <a:pt x="79" y="76"/>
                    <a:pt x="79" y="76"/>
                  </a:cubicBezTo>
                  <a:cubicBezTo>
                    <a:pt x="78" y="77"/>
                    <a:pt x="76" y="77"/>
                    <a:pt x="75" y="78"/>
                  </a:cubicBezTo>
                  <a:cubicBezTo>
                    <a:pt x="74" y="79"/>
                    <a:pt x="74" y="78"/>
                    <a:pt x="73" y="79"/>
                  </a:cubicBezTo>
                  <a:cubicBezTo>
                    <a:pt x="72" y="81"/>
                    <a:pt x="73" y="78"/>
                    <a:pt x="72" y="81"/>
                  </a:cubicBezTo>
                  <a:cubicBezTo>
                    <a:pt x="70" y="84"/>
                    <a:pt x="69" y="85"/>
                    <a:pt x="72" y="85"/>
                  </a:cubicBezTo>
                  <a:cubicBezTo>
                    <a:pt x="75" y="85"/>
                    <a:pt x="73" y="86"/>
                    <a:pt x="76" y="85"/>
                  </a:cubicBezTo>
                  <a:cubicBezTo>
                    <a:pt x="79" y="85"/>
                    <a:pt x="88" y="86"/>
                    <a:pt x="89" y="86"/>
                  </a:cubicBezTo>
                  <a:cubicBezTo>
                    <a:pt x="89" y="87"/>
                    <a:pt x="90" y="86"/>
                    <a:pt x="91" y="87"/>
                  </a:cubicBezTo>
                  <a:cubicBezTo>
                    <a:pt x="93" y="87"/>
                    <a:pt x="93" y="87"/>
                    <a:pt x="95" y="87"/>
                  </a:cubicBezTo>
                  <a:cubicBezTo>
                    <a:pt x="96" y="87"/>
                    <a:pt x="96" y="87"/>
                    <a:pt x="98" y="87"/>
                  </a:cubicBezTo>
                  <a:cubicBezTo>
                    <a:pt x="100" y="87"/>
                    <a:pt x="103" y="87"/>
                    <a:pt x="103" y="87"/>
                  </a:cubicBezTo>
                  <a:cubicBezTo>
                    <a:pt x="104" y="87"/>
                    <a:pt x="106" y="86"/>
                    <a:pt x="106" y="86"/>
                  </a:cubicBezTo>
                  <a:cubicBezTo>
                    <a:pt x="107" y="86"/>
                    <a:pt x="108" y="86"/>
                    <a:pt x="109" y="85"/>
                  </a:cubicBezTo>
                  <a:cubicBezTo>
                    <a:pt x="109" y="84"/>
                    <a:pt x="108" y="84"/>
                    <a:pt x="109" y="83"/>
                  </a:cubicBezTo>
                  <a:cubicBezTo>
                    <a:pt x="111" y="82"/>
                    <a:pt x="112" y="80"/>
                    <a:pt x="112" y="79"/>
                  </a:cubicBezTo>
                  <a:cubicBezTo>
                    <a:pt x="112" y="79"/>
                    <a:pt x="114" y="78"/>
                    <a:pt x="115" y="78"/>
                  </a:cubicBezTo>
                  <a:cubicBezTo>
                    <a:pt x="115" y="78"/>
                    <a:pt x="117" y="76"/>
                    <a:pt x="116" y="79"/>
                  </a:cubicBezTo>
                  <a:cubicBezTo>
                    <a:pt x="115" y="83"/>
                    <a:pt x="115" y="82"/>
                    <a:pt x="116" y="84"/>
                  </a:cubicBezTo>
                  <a:cubicBezTo>
                    <a:pt x="117" y="85"/>
                    <a:pt x="117" y="85"/>
                    <a:pt x="118" y="85"/>
                  </a:cubicBezTo>
                  <a:cubicBezTo>
                    <a:pt x="119" y="85"/>
                    <a:pt x="125" y="85"/>
                    <a:pt x="128" y="85"/>
                  </a:cubicBezTo>
                  <a:cubicBezTo>
                    <a:pt x="130" y="85"/>
                    <a:pt x="132" y="85"/>
                    <a:pt x="133" y="85"/>
                  </a:cubicBezTo>
                  <a:cubicBezTo>
                    <a:pt x="135" y="85"/>
                    <a:pt x="139" y="84"/>
                    <a:pt x="139" y="84"/>
                  </a:cubicBezTo>
                  <a:cubicBezTo>
                    <a:pt x="141" y="83"/>
                    <a:pt x="141" y="83"/>
                    <a:pt x="141" y="83"/>
                  </a:cubicBezTo>
                  <a:cubicBezTo>
                    <a:pt x="144" y="83"/>
                    <a:pt x="144" y="83"/>
                    <a:pt x="144" y="83"/>
                  </a:cubicBezTo>
                  <a:cubicBezTo>
                    <a:pt x="144" y="83"/>
                    <a:pt x="147" y="81"/>
                    <a:pt x="149" y="80"/>
                  </a:cubicBezTo>
                  <a:cubicBezTo>
                    <a:pt x="151" y="80"/>
                    <a:pt x="159" y="79"/>
                    <a:pt x="161" y="78"/>
                  </a:cubicBezTo>
                  <a:cubicBezTo>
                    <a:pt x="162" y="78"/>
                    <a:pt x="165" y="77"/>
                    <a:pt x="166" y="76"/>
                  </a:cubicBezTo>
                  <a:cubicBezTo>
                    <a:pt x="167" y="76"/>
                    <a:pt x="168" y="76"/>
                    <a:pt x="168" y="75"/>
                  </a:cubicBezTo>
                  <a:cubicBezTo>
                    <a:pt x="169" y="74"/>
                    <a:pt x="170" y="73"/>
                    <a:pt x="170" y="73"/>
                  </a:cubicBezTo>
                  <a:cubicBezTo>
                    <a:pt x="170" y="73"/>
                    <a:pt x="168" y="75"/>
                    <a:pt x="171" y="71"/>
                  </a:cubicBezTo>
                  <a:cubicBezTo>
                    <a:pt x="174" y="68"/>
                    <a:pt x="173" y="68"/>
                    <a:pt x="174" y="68"/>
                  </a:cubicBezTo>
                  <a:cubicBezTo>
                    <a:pt x="176" y="68"/>
                    <a:pt x="178" y="68"/>
                    <a:pt x="179" y="67"/>
                  </a:cubicBezTo>
                  <a:cubicBezTo>
                    <a:pt x="180" y="66"/>
                    <a:pt x="180" y="67"/>
                    <a:pt x="181" y="65"/>
                  </a:cubicBezTo>
                  <a:cubicBezTo>
                    <a:pt x="182" y="64"/>
                    <a:pt x="182" y="64"/>
                    <a:pt x="184" y="63"/>
                  </a:cubicBezTo>
                  <a:cubicBezTo>
                    <a:pt x="185" y="62"/>
                    <a:pt x="181" y="64"/>
                    <a:pt x="187" y="61"/>
                  </a:cubicBezTo>
                  <a:cubicBezTo>
                    <a:pt x="193" y="58"/>
                    <a:pt x="203" y="58"/>
                    <a:pt x="199" y="59"/>
                  </a:cubicBezTo>
                  <a:cubicBezTo>
                    <a:pt x="196" y="59"/>
                    <a:pt x="187" y="64"/>
                    <a:pt x="184" y="66"/>
                  </a:cubicBezTo>
                  <a:cubicBezTo>
                    <a:pt x="182" y="67"/>
                    <a:pt x="182" y="66"/>
                    <a:pt x="180" y="69"/>
                  </a:cubicBezTo>
                  <a:cubicBezTo>
                    <a:pt x="178" y="71"/>
                    <a:pt x="177" y="72"/>
                    <a:pt x="176" y="72"/>
                  </a:cubicBezTo>
                  <a:cubicBezTo>
                    <a:pt x="176" y="73"/>
                    <a:pt x="176" y="73"/>
                    <a:pt x="176" y="74"/>
                  </a:cubicBezTo>
                  <a:cubicBezTo>
                    <a:pt x="176" y="75"/>
                    <a:pt x="178" y="75"/>
                    <a:pt x="179" y="75"/>
                  </a:cubicBezTo>
                  <a:cubicBezTo>
                    <a:pt x="180" y="75"/>
                    <a:pt x="181" y="76"/>
                    <a:pt x="183" y="76"/>
                  </a:cubicBezTo>
                  <a:cubicBezTo>
                    <a:pt x="185" y="76"/>
                    <a:pt x="185" y="75"/>
                    <a:pt x="187" y="75"/>
                  </a:cubicBezTo>
                  <a:cubicBezTo>
                    <a:pt x="188" y="75"/>
                    <a:pt x="189" y="75"/>
                    <a:pt x="190" y="75"/>
                  </a:cubicBezTo>
                  <a:cubicBezTo>
                    <a:pt x="192" y="75"/>
                    <a:pt x="194" y="74"/>
                    <a:pt x="197" y="75"/>
                  </a:cubicBezTo>
                  <a:cubicBezTo>
                    <a:pt x="200" y="76"/>
                    <a:pt x="201" y="76"/>
                    <a:pt x="197" y="76"/>
                  </a:cubicBezTo>
                  <a:cubicBezTo>
                    <a:pt x="194" y="76"/>
                    <a:pt x="193" y="76"/>
                    <a:pt x="191" y="76"/>
                  </a:cubicBezTo>
                  <a:cubicBezTo>
                    <a:pt x="189" y="76"/>
                    <a:pt x="188" y="77"/>
                    <a:pt x="186" y="77"/>
                  </a:cubicBezTo>
                  <a:cubicBezTo>
                    <a:pt x="184" y="77"/>
                    <a:pt x="184" y="77"/>
                    <a:pt x="182" y="77"/>
                  </a:cubicBezTo>
                  <a:cubicBezTo>
                    <a:pt x="179" y="78"/>
                    <a:pt x="179" y="77"/>
                    <a:pt x="177" y="78"/>
                  </a:cubicBezTo>
                  <a:cubicBezTo>
                    <a:pt x="175" y="78"/>
                    <a:pt x="174" y="78"/>
                    <a:pt x="173" y="79"/>
                  </a:cubicBezTo>
                  <a:cubicBezTo>
                    <a:pt x="172" y="80"/>
                    <a:pt x="172" y="80"/>
                    <a:pt x="170" y="80"/>
                  </a:cubicBezTo>
                  <a:cubicBezTo>
                    <a:pt x="168" y="81"/>
                    <a:pt x="167" y="82"/>
                    <a:pt x="165" y="82"/>
                  </a:cubicBezTo>
                  <a:cubicBezTo>
                    <a:pt x="164" y="83"/>
                    <a:pt x="166" y="81"/>
                    <a:pt x="163" y="83"/>
                  </a:cubicBezTo>
                  <a:cubicBezTo>
                    <a:pt x="160" y="85"/>
                    <a:pt x="160" y="85"/>
                    <a:pt x="158" y="86"/>
                  </a:cubicBezTo>
                  <a:cubicBezTo>
                    <a:pt x="157" y="87"/>
                    <a:pt x="157" y="87"/>
                    <a:pt x="155" y="87"/>
                  </a:cubicBezTo>
                  <a:cubicBezTo>
                    <a:pt x="153" y="88"/>
                    <a:pt x="153" y="88"/>
                    <a:pt x="151" y="89"/>
                  </a:cubicBezTo>
                  <a:cubicBezTo>
                    <a:pt x="149" y="89"/>
                    <a:pt x="151" y="89"/>
                    <a:pt x="147" y="89"/>
                  </a:cubicBezTo>
                  <a:cubicBezTo>
                    <a:pt x="143" y="89"/>
                    <a:pt x="140" y="90"/>
                    <a:pt x="139" y="90"/>
                  </a:cubicBezTo>
                  <a:cubicBezTo>
                    <a:pt x="137" y="90"/>
                    <a:pt x="135" y="89"/>
                    <a:pt x="134" y="90"/>
                  </a:cubicBezTo>
                  <a:cubicBezTo>
                    <a:pt x="132" y="90"/>
                    <a:pt x="131" y="89"/>
                    <a:pt x="129" y="90"/>
                  </a:cubicBezTo>
                  <a:cubicBezTo>
                    <a:pt x="128" y="90"/>
                    <a:pt x="127" y="90"/>
                    <a:pt x="126" y="90"/>
                  </a:cubicBezTo>
                  <a:cubicBezTo>
                    <a:pt x="124" y="91"/>
                    <a:pt x="124" y="91"/>
                    <a:pt x="122" y="92"/>
                  </a:cubicBezTo>
                  <a:cubicBezTo>
                    <a:pt x="121" y="92"/>
                    <a:pt x="120" y="92"/>
                    <a:pt x="121" y="93"/>
                  </a:cubicBezTo>
                  <a:cubicBezTo>
                    <a:pt x="122" y="94"/>
                    <a:pt x="123" y="97"/>
                    <a:pt x="124" y="98"/>
                  </a:cubicBezTo>
                  <a:cubicBezTo>
                    <a:pt x="125" y="98"/>
                    <a:pt x="127" y="98"/>
                    <a:pt x="128" y="100"/>
                  </a:cubicBezTo>
                  <a:cubicBezTo>
                    <a:pt x="129" y="101"/>
                    <a:pt x="130" y="102"/>
                    <a:pt x="131" y="102"/>
                  </a:cubicBezTo>
                  <a:cubicBezTo>
                    <a:pt x="132" y="103"/>
                    <a:pt x="137" y="105"/>
                    <a:pt x="138" y="105"/>
                  </a:cubicBezTo>
                  <a:cubicBezTo>
                    <a:pt x="139" y="106"/>
                    <a:pt x="141" y="106"/>
                    <a:pt x="141" y="107"/>
                  </a:cubicBezTo>
                  <a:cubicBezTo>
                    <a:pt x="140" y="108"/>
                    <a:pt x="139" y="109"/>
                    <a:pt x="139" y="110"/>
                  </a:cubicBezTo>
                  <a:cubicBezTo>
                    <a:pt x="139" y="110"/>
                    <a:pt x="139" y="111"/>
                    <a:pt x="141" y="111"/>
                  </a:cubicBezTo>
                  <a:cubicBezTo>
                    <a:pt x="142" y="111"/>
                    <a:pt x="144" y="112"/>
                    <a:pt x="145" y="112"/>
                  </a:cubicBezTo>
                  <a:cubicBezTo>
                    <a:pt x="145" y="111"/>
                    <a:pt x="149" y="112"/>
                    <a:pt x="150" y="112"/>
                  </a:cubicBezTo>
                  <a:cubicBezTo>
                    <a:pt x="151" y="112"/>
                    <a:pt x="151" y="111"/>
                    <a:pt x="155" y="112"/>
                  </a:cubicBezTo>
                  <a:cubicBezTo>
                    <a:pt x="160" y="112"/>
                    <a:pt x="163" y="112"/>
                    <a:pt x="162" y="112"/>
                  </a:cubicBezTo>
                  <a:cubicBezTo>
                    <a:pt x="161" y="112"/>
                    <a:pt x="157" y="113"/>
                    <a:pt x="154" y="113"/>
                  </a:cubicBezTo>
                  <a:cubicBezTo>
                    <a:pt x="152" y="113"/>
                    <a:pt x="146" y="113"/>
                    <a:pt x="146" y="113"/>
                  </a:cubicBezTo>
                  <a:cubicBezTo>
                    <a:pt x="145" y="113"/>
                    <a:pt x="144" y="113"/>
                    <a:pt x="141" y="113"/>
                  </a:cubicBezTo>
                  <a:cubicBezTo>
                    <a:pt x="139" y="113"/>
                    <a:pt x="138" y="113"/>
                    <a:pt x="136" y="112"/>
                  </a:cubicBezTo>
                  <a:cubicBezTo>
                    <a:pt x="135" y="111"/>
                    <a:pt x="136" y="112"/>
                    <a:pt x="133" y="109"/>
                  </a:cubicBezTo>
                  <a:cubicBezTo>
                    <a:pt x="130" y="105"/>
                    <a:pt x="131" y="104"/>
                    <a:pt x="130" y="104"/>
                  </a:cubicBezTo>
                  <a:cubicBezTo>
                    <a:pt x="128" y="104"/>
                    <a:pt x="124" y="103"/>
                    <a:pt x="124" y="103"/>
                  </a:cubicBezTo>
                  <a:cubicBezTo>
                    <a:pt x="123" y="103"/>
                    <a:pt x="123" y="102"/>
                    <a:pt x="122" y="101"/>
                  </a:cubicBezTo>
                  <a:cubicBezTo>
                    <a:pt x="121" y="101"/>
                    <a:pt x="122" y="101"/>
                    <a:pt x="119" y="100"/>
                  </a:cubicBezTo>
                  <a:cubicBezTo>
                    <a:pt x="116" y="99"/>
                    <a:pt x="116" y="98"/>
                    <a:pt x="115" y="98"/>
                  </a:cubicBezTo>
                  <a:cubicBezTo>
                    <a:pt x="113" y="97"/>
                    <a:pt x="114" y="97"/>
                    <a:pt x="112" y="96"/>
                  </a:cubicBezTo>
                  <a:cubicBezTo>
                    <a:pt x="110" y="95"/>
                    <a:pt x="110" y="95"/>
                    <a:pt x="109" y="94"/>
                  </a:cubicBezTo>
                  <a:cubicBezTo>
                    <a:pt x="107" y="94"/>
                    <a:pt x="105" y="94"/>
                    <a:pt x="104" y="94"/>
                  </a:cubicBezTo>
                  <a:cubicBezTo>
                    <a:pt x="103" y="94"/>
                    <a:pt x="103" y="93"/>
                    <a:pt x="101" y="93"/>
                  </a:cubicBezTo>
                  <a:cubicBezTo>
                    <a:pt x="99" y="93"/>
                    <a:pt x="98" y="93"/>
                    <a:pt x="96" y="93"/>
                  </a:cubicBezTo>
                  <a:cubicBezTo>
                    <a:pt x="94" y="93"/>
                    <a:pt x="96" y="92"/>
                    <a:pt x="92" y="93"/>
                  </a:cubicBezTo>
                  <a:cubicBezTo>
                    <a:pt x="88" y="93"/>
                    <a:pt x="89" y="94"/>
                    <a:pt x="88" y="94"/>
                  </a:cubicBezTo>
                  <a:cubicBezTo>
                    <a:pt x="87" y="94"/>
                    <a:pt x="86" y="92"/>
                    <a:pt x="85" y="92"/>
                  </a:cubicBezTo>
                  <a:cubicBezTo>
                    <a:pt x="83" y="92"/>
                    <a:pt x="83" y="92"/>
                    <a:pt x="81" y="92"/>
                  </a:cubicBezTo>
                  <a:cubicBezTo>
                    <a:pt x="79" y="92"/>
                    <a:pt x="78" y="91"/>
                    <a:pt x="75" y="92"/>
                  </a:cubicBezTo>
                  <a:cubicBezTo>
                    <a:pt x="73" y="93"/>
                    <a:pt x="74" y="91"/>
                    <a:pt x="72" y="93"/>
                  </a:cubicBezTo>
                  <a:cubicBezTo>
                    <a:pt x="70" y="95"/>
                    <a:pt x="70" y="94"/>
                    <a:pt x="70" y="97"/>
                  </a:cubicBezTo>
                  <a:cubicBezTo>
                    <a:pt x="69" y="99"/>
                    <a:pt x="69" y="99"/>
                    <a:pt x="70" y="100"/>
                  </a:cubicBezTo>
                  <a:cubicBezTo>
                    <a:pt x="72" y="102"/>
                    <a:pt x="72" y="102"/>
                    <a:pt x="73" y="103"/>
                  </a:cubicBezTo>
                  <a:cubicBezTo>
                    <a:pt x="75" y="104"/>
                    <a:pt x="75" y="104"/>
                    <a:pt x="75" y="105"/>
                  </a:cubicBezTo>
                  <a:cubicBezTo>
                    <a:pt x="75" y="105"/>
                    <a:pt x="75" y="105"/>
                    <a:pt x="75" y="106"/>
                  </a:cubicBezTo>
                  <a:cubicBezTo>
                    <a:pt x="74" y="107"/>
                    <a:pt x="74" y="108"/>
                    <a:pt x="75" y="108"/>
                  </a:cubicBezTo>
                  <a:cubicBezTo>
                    <a:pt x="76" y="109"/>
                    <a:pt x="77" y="109"/>
                    <a:pt x="79" y="110"/>
                  </a:cubicBezTo>
                  <a:cubicBezTo>
                    <a:pt x="80" y="111"/>
                    <a:pt x="82" y="112"/>
                    <a:pt x="84" y="112"/>
                  </a:cubicBezTo>
                  <a:cubicBezTo>
                    <a:pt x="86" y="112"/>
                    <a:pt x="92" y="114"/>
                    <a:pt x="94" y="115"/>
                  </a:cubicBezTo>
                  <a:cubicBezTo>
                    <a:pt x="96" y="116"/>
                    <a:pt x="96" y="118"/>
                    <a:pt x="97" y="119"/>
                  </a:cubicBezTo>
                  <a:cubicBezTo>
                    <a:pt x="98" y="120"/>
                    <a:pt x="99" y="120"/>
                    <a:pt x="99" y="121"/>
                  </a:cubicBezTo>
                  <a:cubicBezTo>
                    <a:pt x="100" y="122"/>
                    <a:pt x="101" y="122"/>
                    <a:pt x="102" y="123"/>
                  </a:cubicBezTo>
                  <a:cubicBezTo>
                    <a:pt x="103" y="124"/>
                    <a:pt x="103" y="124"/>
                    <a:pt x="104" y="125"/>
                  </a:cubicBezTo>
                  <a:cubicBezTo>
                    <a:pt x="106" y="126"/>
                    <a:pt x="112" y="130"/>
                    <a:pt x="113" y="131"/>
                  </a:cubicBezTo>
                  <a:cubicBezTo>
                    <a:pt x="113" y="131"/>
                    <a:pt x="114" y="132"/>
                    <a:pt x="115" y="133"/>
                  </a:cubicBezTo>
                  <a:cubicBezTo>
                    <a:pt x="116" y="133"/>
                    <a:pt x="116" y="133"/>
                    <a:pt x="118" y="133"/>
                  </a:cubicBezTo>
                  <a:cubicBezTo>
                    <a:pt x="119" y="134"/>
                    <a:pt x="119" y="134"/>
                    <a:pt x="120" y="134"/>
                  </a:cubicBezTo>
                  <a:cubicBezTo>
                    <a:pt x="121" y="134"/>
                    <a:pt x="123" y="134"/>
                    <a:pt x="123" y="134"/>
                  </a:cubicBezTo>
                  <a:cubicBezTo>
                    <a:pt x="123" y="134"/>
                    <a:pt x="124" y="135"/>
                    <a:pt x="124" y="135"/>
                  </a:cubicBezTo>
                  <a:cubicBezTo>
                    <a:pt x="125" y="134"/>
                    <a:pt x="126" y="134"/>
                    <a:pt x="127" y="134"/>
                  </a:cubicBezTo>
                  <a:cubicBezTo>
                    <a:pt x="129" y="134"/>
                    <a:pt x="131" y="134"/>
                    <a:pt x="131" y="134"/>
                  </a:cubicBezTo>
                  <a:cubicBezTo>
                    <a:pt x="132" y="134"/>
                    <a:pt x="134" y="133"/>
                    <a:pt x="135" y="133"/>
                  </a:cubicBezTo>
                  <a:cubicBezTo>
                    <a:pt x="135" y="133"/>
                    <a:pt x="137" y="132"/>
                    <a:pt x="138" y="132"/>
                  </a:cubicBezTo>
                  <a:cubicBezTo>
                    <a:pt x="139" y="133"/>
                    <a:pt x="139" y="132"/>
                    <a:pt x="139" y="133"/>
                  </a:cubicBezTo>
                  <a:cubicBezTo>
                    <a:pt x="138" y="135"/>
                    <a:pt x="138" y="135"/>
                    <a:pt x="136" y="135"/>
                  </a:cubicBezTo>
                  <a:cubicBezTo>
                    <a:pt x="133" y="136"/>
                    <a:pt x="129" y="138"/>
                    <a:pt x="128" y="138"/>
                  </a:cubicBezTo>
                  <a:cubicBezTo>
                    <a:pt x="128" y="138"/>
                    <a:pt x="123" y="138"/>
                    <a:pt x="123" y="138"/>
                  </a:cubicBezTo>
                  <a:cubicBezTo>
                    <a:pt x="123" y="139"/>
                    <a:pt x="124" y="138"/>
                    <a:pt x="126" y="139"/>
                  </a:cubicBezTo>
                  <a:cubicBezTo>
                    <a:pt x="128" y="140"/>
                    <a:pt x="128" y="140"/>
                    <a:pt x="129" y="141"/>
                  </a:cubicBezTo>
                  <a:cubicBezTo>
                    <a:pt x="130" y="142"/>
                    <a:pt x="130" y="143"/>
                    <a:pt x="130" y="144"/>
                  </a:cubicBezTo>
                  <a:cubicBezTo>
                    <a:pt x="129" y="144"/>
                    <a:pt x="129" y="145"/>
                    <a:pt x="128" y="145"/>
                  </a:cubicBezTo>
                  <a:cubicBezTo>
                    <a:pt x="127" y="145"/>
                    <a:pt x="125" y="145"/>
                    <a:pt x="125" y="145"/>
                  </a:cubicBezTo>
                  <a:cubicBezTo>
                    <a:pt x="125" y="145"/>
                    <a:pt x="123" y="144"/>
                    <a:pt x="122" y="144"/>
                  </a:cubicBezTo>
                  <a:cubicBezTo>
                    <a:pt x="120" y="144"/>
                    <a:pt x="120" y="142"/>
                    <a:pt x="117" y="141"/>
                  </a:cubicBezTo>
                  <a:cubicBezTo>
                    <a:pt x="115" y="140"/>
                    <a:pt x="115" y="139"/>
                    <a:pt x="113" y="138"/>
                  </a:cubicBezTo>
                  <a:cubicBezTo>
                    <a:pt x="111" y="138"/>
                    <a:pt x="113" y="137"/>
                    <a:pt x="111" y="137"/>
                  </a:cubicBezTo>
                  <a:cubicBezTo>
                    <a:pt x="108" y="137"/>
                    <a:pt x="103" y="137"/>
                    <a:pt x="102" y="137"/>
                  </a:cubicBezTo>
                  <a:cubicBezTo>
                    <a:pt x="101" y="137"/>
                    <a:pt x="97" y="136"/>
                    <a:pt x="95" y="136"/>
                  </a:cubicBezTo>
                  <a:cubicBezTo>
                    <a:pt x="93" y="136"/>
                    <a:pt x="93" y="136"/>
                    <a:pt x="91" y="136"/>
                  </a:cubicBezTo>
                  <a:cubicBezTo>
                    <a:pt x="89" y="135"/>
                    <a:pt x="89" y="135"/>
                    <a:pt x="88" y="135"/>
                  </a:cubicBezTo>
                  <a:cubicBezTo>
                    <a:pt x="86" y="136"/>
                    <a:pt x="90" y="136"/>
                    <a:pt x="88" y="136"/>
                  </a:cubicBezTo>
                  <a:cubicBezTo>
                    <a:pt x="86" y="136"/>
                    <a:pt x="83" y="135"/>
                    <a:pt x="81" y="137"/>
                  </a:cubicBezTo>
                  <a:cubicBezTo>
                    <a:pt x="79" y="138"/>
                    <a:pt x="81" y="138"/>
                    <a:pt x="77" y="138"/>
                  </a:cubicBezTo>
                  <a:cubicBezTo>
                    <a:pt x="74" y="139"/>
                    <a:pt x="77" y="137"/>
                    <a:pt x="73" y="138"/>
                  </a:cubicBezTo>
                  <a:cubicBezTo>
                    <a:pt x="68" y="140"/>
                    <a:pt x="68" y="141"/>
                    <a:pt x="66" y="142"/>
                  </a:cubicBezTo>
                  <a:cubicBezTo>
                    <a:pt x="65" y="143"/>
                    <a:pt x="63" y="145"/>
                    <a:pt x="62" y="146"/>
                  </a:cubicBezTo>
                  <a:cubicBezTo>
                    <a:pt x="61" y="148"/>
                    <a:pt x="60" y="149"/>
                    <a:pt x="60" y="151"/>
                  </a:cubicBezTo>
                  <a:cubicBezTo>
                    <a:pt x="59" y="153"/>
                    <a:pt x="59" y="154"/>
                    <a:pt x="60" y="155"/>
                  </a:cubicBezTo>
                  <a:cubicBezTo>
                    <a:pt x="60" y="155"/>
                    <a:pt x="62" y="157"/>
                    <a:pt x="63" y="157"/>
                  </a:cubicBezTo>
                  <a:cubicBezTo>
                    <a:pt x="63" y="157"/>
                    <a:pt x="65" y="157"/>
                    <a:pt x="65" y="158"/>
                  </a:cubicBezTo>
                  <a:cubicBezTo>
                    <a:pt x="65" y="159"/>
                    <a:pt x="65" y="160"/>
                    <a:pt x="66" y="160"/>
                  </a:cubicBezTo>
                  <a:cubicBezTo>
                    <a:pt x="67" y="160"/>
                    <a:pt x="70" y="159"/>
                    <a:pt x="70" y="159"/>
                  </a:cubicBezTo>
                  <a:cubicBezTo>
                    <a:pt x="71" y="158"/>
                    <a:pt x="73" y="156"/>
                    <a:pt x="73" y="156"/>
                  </a:cubicBezTo>
                  <a:cubicBezTo>
                    <a:pt x="74" y="156"/>
                    <a:pt x="75" y="154"/>
                    <a:pt x="76" y="155"/>
                  </a:cubicBezTo>
                  <a:cubicBezTo>
                    <a:pt x="77" y="156"/>
                    <a:pt x="77" y="155"/>
                    <a:pt x="77" y="157"/>
                  </a:cubicBezTo>
                  <a:cubicBezTo>
                    <a:pt x="77" y="160"/>
                    <a:pt x="78" y="159"/>
                    <a:pt x="79" y="160"/>
                  </a:cubicBezTo>
                  <a:cubicBezTo>
                    <a:pt x="81" y="160"/>
                    <a:pt x="83" y="160"/>
                    <a:pt x="84" y="160"/>
                  </a:cubicBezTo>
                  <a:cubicBezTo>
                    <a:pt x="85" y="160"/>
                    <a:pt x="86" y="160"/>
                    <a:pt x="87" y="159"/>
                  </a:cubicBezTo>
                  <a:cubicBezTo>
                    <a:pt x="88" y="159"/>
                    <a:pt x="93" y="155"/>
                    <a:pt x="93" y="155"/>
                  </a:cubicBezTo>
                  <a:cubicBezTo>
                    <a:pt x="93" y="155"/>
                    <a:pt x="92" y="155"/>
                    <a:pt x="93" y="154"/>
                  </a:cubicBezTo>
                  <a:cubicBezTo>
                    <a:pt x="93" y="153"/>
                    <a:pt x="94" y="151"/>
                    <a:pt x="94" y="150"/>
                  </a:cubicBezTo>
                  <a:cubicBezTo>
                    <a:pt x="94" y="150"/>
                    <a:pt x="94" y="148"/>
                    <a:pt x="95" y="148"/>
                  </a:cubicBezTo>
                  <a:cubicBezTo>
                    <a:pt x="96" y="148"/>
                    <a:pt x="98" y="147"/>
                    <a:pt x="97" y="148"/>
                  </a:cubicBezTo>
                  <a:cubicBezTo>
                    <a:pt x="97" y="149"/>
                    <a:pt x="97" y="150"/>
                    <a:pt x="97" y="152"/>
                  </a:cubicBezTo>
                  <a:cubicBezTo>
                    <a:pt x="97" y="154"/>
                    <a:pt x="97" y="155"/>
                    <a:pt x="99" y="155"/>
                  </a:cubicBezTo>
                  <a:cubicBezTo>
                    <a:pt x="102" y="156"/>
                    <a:pt x="103" y="157"/>
                    <a:pt x="103" y="158"/>
                  </a:cubicBezTo>
                  <a:cubicBezTo>
                    <a:pt x="103" y="159"/>
                    <a:pt x="104" y="158"/>
                    <a:pt x="100" y="159"/>
                  </a:cubicBezTo>
                  <a:cubicBezTo>
                    <a:pt x="96" y="160"/>
                    <a:pt x="95" y="160"/>
                    <a:pt x="94" y="160"/>
                  </a:cubicBezTo>
                  <a:cubicBezTo>
                    <a:pt x="93" y="160"/>
                    <a:pt x="92" y="160"/>
                    <a:pt x="90" y="161"/>
                  </a:cubicBezTo>
                  <a:cubicBezTo>
                    <a:pt x="88" y="163"/>
                    <a:pt x="87" y="163"/>
                    <a:pt x="86" y="164"/>
                  </a:cubicBezTo>
                  <a:cubicBezTo>
                    <a:pt x="85" y="165"/>
                    <a:pt x="88" y="166"/>
                    <a:pt x="89" y="166"/>
                  </a:cubicBezTo>
                  <a:cubicBezTo>
                    <a:pt x="90" y="166"/>
                    <a:pt x="91" y="165"/>
                    <a:pt x="92" y="165"/>
                  </a:cubicBezTo>
                  <a:cubicBezTo>
                    <a:pt x="94" y="165"/>
                    <a:pt x="94" y="166"/>
                    <a:pt x="94" y="167"/>
                  </a:cubicBezTo>
                  <a:cubicBezTo>
                    <a:pt x="94" y="167"/>
                    <a:pt x="94" y="168"/>
                    <a:pt x="93" y="169"/>
                  </a:cubicBezTo>
                  <a:cubicBezTo>
                    <a:pt x="91" y="171"/>
                    <a:pt x="90" y="171"/>
                    <a:pt x="90" y="172"/>
                  </a:cubicBezTo>
                  <a:cubicBezTo>
                    <a:pt x="90" y="173"/>
                    <a:pt x="89" y="172"/>
                    <a:pt x="90" y="173"/>
                  </a:cubicBezTo>
                  <a:cubicBezTo>
                    <a:pt x="91" y="175"/>
                    <a:pt x="96" y="174"/>
                    <a:pt x="97" y="174"/>
                  </a:cubicBezTo>
                  <a:cubicBezTo>
                    <a:pt x="98" y="174"/>
                    <a:pt x="99" y="174"/>
                    <a:pt x="100" y="175"/>
                  </a:cubicBezTo>
                  <a:cubicBezTo>
                    <a:pt x="101" y="176"/>
                    <a:pt x="112" y="175"/>
                    <a:pt x="112" y="175"/>
                  </a:cubicBezTo>
                  <a:cubicBezTo>
                    <a:pt x="113" y="175"/>
                    <a:pt x="114" y="175"/>
                    <a:pt x="116" y="173"/>
                  </a:cubicBezTo>
                  <a:cubicBezTo>
                    <a:pt x="117" y="171"/>
                    <a:pt x="117" y="172"/>
                    <a:pt x="118" y="170"/>
                  </a:cubicBezTo>
                  <a:cubicBezTo>
                    <a:pt x="118" y="168"/>
                    <a:pt x="120" y="166"/>
                    <a:pt x="120" y="166"/>
                  </a:cubicBezTo>
                  <a:cubicBezTo>
                    <a:pt x="121" y="165"/>
                    <a:pt x="119" y="165"/>
                    <a:pt x="121" y="164"/>
                  </a:cubicBezTo>
                  <a:cubicBezTo>
                    <a:pt x="124" y="163"/>
                    <a:pt x="126" y="163"/>
                    <a:pt x="126" y="163"/>
                  </a:cubicBezTo>
                  <a:cubicBezTo>
                    <a:pt x="126" y="163"/>
                    <a:pt x="127" y="164"/>
                    <a:pt x="127" y="164"/>
                  </a:cubicBezTo>
                  <a:cubicBezTo>
                    <a:pt x="126" y="165"/>
                    <a:pt x="121" y="171"/>
                    <a:pt x="120" y="172"/>
                  </a:cubicBezTo>
                  <a:cubicBezTo>
                    <a:pt x="120" y="173"/>
                    <a:pt x="120" y="173"/>
                    <a:pt x="118" y="175"/>
                  </a:cubicBezTo>
                  <a:cubicBezTo>
                    <a:pt x="117" y="176"/>
                    <a:pt x="117" y="176"/>
                    <a:pt x="115" y="177"/>
                  </a:cubicBezTo>
                  <a:cubicBezTo>
                    <a:pt x="112" y="179"/>
                    <a:pt x="110" y="179"/>
                    <a:pt x="108" y="180"/>
                  </a:cubicBezTo>
                  <a:cubicBezTo>
                    <a:pt x="105" y="180"/>
                    <a:pt x="103" y="180"/>
                    <a:pt x="100" y="180"/>
                  </a:cubicBezTo>
                  <a:cubicBezTo>
                    <a:pt x="97" y="181"/>
                    <a:pt x="96" y="181"/>
                    <a:pt x="96" y="181"/>
                  </a:cubicBezTo>
                  <a:cubicBezTo>
                    <a:pt x="96" y="181"/>
                    <a:pt x="95" y="181"/>
                    <a:pt x="92" y="180"/>
                  </a:cubicBezTo>
                  <a:cubicBezTo>
                    <a:pt x="89" y="180"/>
                    <a:pt x="90" y="179"/>
                    <a:pt x="88" y="179"/>
                  </a:cubicBezTo>
                  <a:cubicBezTo>
                    <a:pt x="87" y="178"/>
                    <a:pt x="86" y="174"/>
                    <a:pt x="81" y="172"/>
                  </a:cubicBezTo>
                  <a:cubicBezTo>
                    <a:pt x="76" y="170"/>
                    <a:pt x="72" y="168"/>
                    <a:pt x="72" y="167"/>
                  </a:cubicBezTo>
                  <a:cubicBezTo>
                    <a:pt x="72" y="167"/>
                    <a:pt x="71" y="166"/>
                    <a:pt x="70" y="166"/>
                  </a:cubicBezTo>
                  <a:cubicBezTo>
                    <a:pt x="69" y="166"/>
                    <a:pt x="70" y="166"/>
                    <a:pt x="67" y="166"/>
                  </a:cubicBezTo>
                  <a:cubicBezTo>
                    <a:pt x="64" y="166"/>
                    <a:pt x="62" y="165"/>
                    <a:pt x="60" y="165"/>
                  </a:cubicBezTo>
                  <a:cubicBezTo>
                    <a:pt x="58" y="166"/>
                    <a:pt x="58" y="165"/>
                    <a:pt x="56" y="166"/>
                  </a:cubicBezTo>
                  <a:cubicBezTo>
                    <a:pt x="55" y="167"/>
                    <a:pt x="55" y="166"/>
                    <a:pt x="54" y="167"/>
                  </a:cubicBezTo>
                  <a:cubicBezTo>
                    <a:pt x="53" y="168"/>
                    <a:pt x="53" y="167"/>
                    <a:pt x="52" y="169"/>
                  </a:cubicBezTo>
                  <a:cubicBezTo>
                    <a:pt x="51" y="172"/>
                    <a:pt x="52" y="173"/>
                    <a:pt x="52" y="174"/>
                  </a:cubicBezTo>
                  <a:cubicBezTo>
                    <a:pt x="53" y="175"/>
                    <a:pt x="53" y="175"/>
                    <a:pt x="54" y="176"/>
                  </a:cubicBezTo>
                  <a:cubicBezTo>
                    <a:pt x="55" y="177"/>
                    <a:pt x="55" y="177"/>
                    <a:pt x="56" y="179"/>
                  </a:cubicBezTo>
                  <a:cubicBezTo>
                    <a:pt x="56" y="180"/>
                    <a:pt x="56" y="181"/>
                    <a:pt x="57" y="181"/>
                  </a:cubicBezTo>
                  <a:cubicBezTo>
                    <a:pt x="58" y="182"/>
                    <a:pt x="59" y="181"/>
                    <a:pt x="61" y="182"/>
                  </a:cubicBezTo>
                  <a:cubicBezTo>
                    <a:pt x="63" y="183"/>
                    <a:pt x="65" y="183"/>
                    <a:pt x="65" y="184"/>
                  </a:cubicBezTo>
                  <a:cubicBezTo>
                    <a:pt x="66" y="184"/>
                    <a:pt x="66" y="187"/>
                    <a:pt x="65" y="187"/>
                  </a:cubicBezTo>
                  <a:cubicBezTo>
                    <a:pt x="65" y="187"/>
                    <a:pt x="61" y="187"/>
                    <a:pt x="59" y="187"/>
                  </a:cubicBezTo>
                  <a:cubicBezTo>
                    <a:pt x="57" y="187"/>
                    <a:pt x="54" y="186"/>
                    <a:pt x="52" y="187"/>
                  </a:cubicBezTo>
                  <a:cubicBezTo>
                    <a:pt x="49" y="187"/>
                    <a:pt x="47" y="187"/>
                    <a:pt x="46" y="188"/>
                  </a:cubicBezTo>
                  <a:cubicBezTo>
                    <a:pt x="45" y="188"/>
                    <a:pt x="48" y="188"/>
                    <a:pt x="44" y="189"/>
                  </a:cubicBezTo>
                  <a:cubicBezTo>
                    <a:pt x="40" y="191"/>
                    <a:pt x="41" y="190"/>
                    <a:pt x="39" y="192"/>
                  </a:cubicBezTo>
                  <a:cubicBezTo>
                    <a:pt x="37" y="193"/>
                    <a:pt x="36" y="194"/>
                    <a:pt x="34" y="195"/>
                  </a:cubicBezTo>
                  <a:cubicBezTo>
                    <a:pt x="32" y="196"/>
                    <a:pt x="32" y="195"/>
                    <a:pt x="32" y="197"/>
                  </a:cubicBezTo>
                  <a:cubicBezTo>
                    <a:pt x="32" y="199"/>
                    <a:pt x="30" y="199"/>
                    <a:pt x="33" y="203"/>
                  </a:cubicBezTo>
                  <a:cubicBezTo>
                    <a:pt x="35" y="207"/>
                    <a:pt x="36" y="207"/>
                    <a:pt x="37" y="207"/>
                  </a:cubicBezTo>
                  <a:cubicBezTo>
                    <a:pt x="38" y="207"/>
                    <a:pt x="40" y="208"/>
                    <a:pt x="41" y="207"/>
                  </a:cubicBezTo>
                  <a:cubicBezTo>
                    <a:pt x="41" y="206"/>
                    <a:pt x="43" y="205"/>
                    <a:pt x="43" y="205"/>
                  </a:cubicBezTo>
                  <a:cubicBezTo>
                    <a:pt x="43" y="204"/>
                    <a:pt x="44" y="200"/>
                    <a:pt x="44" y="200"/>
                  </a:cubicBezTo>
                  <a:cubicBezTo>
                    <a:pt x="44" y="200"/>
                    <a:pt x="46" y="200"/>
                    <a:pt x="46" y="201"/>
                  </a:cubicBezTo>
                  <a:cubicBezTo>
                    <a:pt x="46" y="201"/>
                    <a:pt x="45" y="202"/>
                    <a:pt x="45" y="203"/>
                  </a:cubicBezTo>
                  <a:cubicBezTo>
                    <a:pt x="45" y="205"/>
                    <a:pt x="45" y="204"/>
                    <a:pt x="45" y="206"/>
                  </a:cubicBezTo>
                  <a:cubicBezTo>
                    <a:pt x="46" y="207"/>
                    <a:pt x="48" y="208"/>
                    <a:pt x="49" y="208"/>
                  </a:cubicBezTo>
                  <a:cubicBezTo>
                    <a:pt x="50" y="209"/>
                    <a:pt x="52" y="209"/>
                    <a:pt x="52" y="209"/>
                  </a:cubicBezTo>
                  <a:cubicBezTo>
                    <a:pt x="53" y="208"/>
                    <a:pt x="54" y="208"/>
                    <a:pt x="54" y="207"/>
                  </a:cubicBezTo>
                  <a:cubicBezTo>
                    <a:pt x="55" y="207"/>
                    <a:pt x="56" y="206"/>
                    <a:pt x="56" y="206"/>
                  </a:cubicBezTo>
                  <a:cubicBezTo>
                    <a:pt x="56" y="206"/>
                    <a:pt x="56" y="204"/>
                    <a:pt x="58" y="205"/>
                  </a:cubicBezTo>
                  <a:cubicBezTo>
                    <a:pt x="59" y="206"/>
                    <a:pt x="60" y="206"/>
                    <a:pt x="60" y="207"/>
                  </a:cubicBezTo>
                  <a:cubicBezTo>
                    <a:pt x="61" y="208"/>
                    <a:pt x="61" y="208"/>
                    <a:pt x="62" y="208"/>
                  </a:cubicBezTo>
                  <a:cubicBezTo>
                    <a:pt x="63" y="209"/>
                    <a:pt x="65" y="208"/>
                    <a:pt x="65" y="208"/>
                  </a:cubicBezTo>
                  <a:cubicBezTo>
                    <a:pt x="65" y="209"/>
                    <a:pt x="72" y="209"/>
                    <a:pt x="72" y="208"/>
                  </a:cubicBezTo>
                  <a:cubicBezTo>
                    <a:pt x="73" y="208"/>
                    <a:pt x="73" y="206"/>
                    <a:pt x="74" y="205"/>
                  </a:cubicBezTo>
                  <a:cubicBezTo>
                    <a:pt x="75" y="204"/>
                    <a:pt x="76" y="205"/>
                    <a:pt x="76" y="205"/>
                  </a:cubicBezTo>
                  <a:cubicBezTo>
                    <a:pt x="76" y="206"/>
                    <a:pt x="76" y="207"/>
                    <a:pt x="76" y="207"/>
                  </a:cubicBezTo>
                  <a:cubicBezTo>
                    <a:pt x="76" y="208"/>
                    <a:pt x="77" y="209"/>
                    <a:pt x="79" y="209"/>
                  </a:cubicBezTo>
                  <a:cubicBezTo>
                    <a:pt x="79" y="209"/>
                    <a:pt x="82" y="209"/>
                    <a:pt x="83" y="209"/>
                  </a:cubicBezTo>
                  <a:cubicBezTo>
                    <a:pt x="83" y="209"/>
                    <a:pt x="84" y="209"/>
                    <a:pt x="84" y="209"/>
                  </a:cubicBezTo>
                  <a:cubicBezTo>
                    <a:pt x="84" y="210"/>
                    <a:pt x="85" y="210"/>
                    <a:pt x="85" y="211"/>
                  </a:cubicBezTo>
                  <a:cubicBezTo>
                    <a:pt x="88" y="210"/>
                    <a:pt x="88" y="210"/>
                    <a:pt x="88" y="210"/>
                  </a:cubicBezTo>
                  <a:cubicBezTo>
                    <a:pt x="90" y="210"/>
                    <a:pt x="91" y="210"/>
                    <a:pt x="91" y="210"/>
                  </a:cubicBezTo>
                  <a:cubicBezTo>
                    <a:pt x="91" y="211"/>
                    <a:pt x="92" y="210"/>
                    <a:pt x="93" y="210"/>
                  </a:cubicBezTo>
                  <a:cubicBezTo>
                    <a:pt x="93" y="211"/>
                    <a:pt x="94" y="210"/>
                    <a:pt x="95" y="210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5" y="209"/>
                    <a:pt x="95" y="209"/>
                    <a:pt x="95" y="208"/>
                  </a:cubicBezTo>
                  <a:cubicBezTo>
                    <a:pt x="95" y="207"/>
                    <a:pt x="94" y="207"/>
                    <a:pt x="94" y="206"/>
                  </a:cubicBezTo>
                  <a:cubicBezTo>
                    <a:pt x="94" y="206"/>
                    <a:pt x="95" y="205"/>
                    <a:pt x="95" y="205"/>
                  </a:cubicBezTo>
                  <a:cubicBezTo>
                    <a:pt x="96" y="206"/>
                    <a:pt x="97" y="206"/>
                    <a:pt x="97" y="206"/>
                  </a:cubicBezTo>
                  <a:cubicBezTo>
                    <a:pt x="97" y="207"/>
                    <a:pt x="99" y="206"/>
                    <a:pt x="99" y="207"/>
                  </a:cubicBezTo>
                  <a:cubicBezTo>
                    <a:pt x="99" y="207"/>
                    <a:pt x="101" y="207"/>
                    <a:pt x="101" y="208"/>
                  </a:cubicBezTo>
                  <a:cubicBezTo>
                    <a:pt x="102" y="208"/>
                    <a:pt x="102" y="208"/>
                    <a:pt x="103" y="207"/>
                  </a:cubicBezTo>
                  <a:cubicBezTo>
                    <a:pt x="103" y="207"/>
                    <a:pt x="104" y="206"/>
                    <a:pt x="104" y="206"/>
                  </a:cubicBezTo>
                  <a:cubicBezTo>
                    <a:pt x="104" y="205"/>
                    <a:pt x="104" y="203"/>
                    <a:pt x="104" y="203"/>
                  </a:cubicBezTo>
                  <a:cubicBezTo>
                    <a:pt x="104" y="202"/>
                    <a:pt x="105" y="202"/>
                    <a:pt x="106" y="202"/>
                  </a:cubicBezTo>
                  <a:cubicBezTo>
                    <a:pt x="106" y="203"/>
                    <a:pt x="108" y="204"/>
                    <a:pt x="107" y="205"/>
                  </a:cubicBezTo>
                  <a:cubicBezTo>
                    <a:pt x="107" y="205"/>
                    <a:pt x="104" y="203"/>
                    <a:pt x="108" y="205"/>
                  </a:cubicBezTo>
                  <a:cubicBezTo>
                    <a:pt x="111" y="208"/>
                    <a:pt x="110" y="206"/>
                    <a:pt x="111" y="206"/>
                  </a:cubicBezTo>
                  <a:cubicBezTo>
                    <a:pt x="111" y="207"/>
                    <a:pt x="114" y="207"/>
                    <a:pt x="114" y="207"/>
                  </a:cubicBezTo>
                  <a:cubicBezTo>
                    <a:pt x="115" y="206"/>
                    <a:pt x="115" y="206"/>
                    <a:pt x="115" y="206"/>
                  </a:cubicBezTo>
                  <a:cubicBezTo>
                    <a:pt x="116" y="205"/>
                    <a:pt x="116" y="205"/>
                    <a:pt x="116" y="205"/>
                  </a:cubicBezTo>
                  <a:cubicBezTo>
                    <a:pt x="116" y="206"/>
                    <a:pt x="118" y="206"/>
                    <a:pt x="118" y="207"/>
                  </a:cubicBezTo>
                  <a:cubicBezTo>
                    <a:pt x="119" y="207"/>
                    <a:pt x="120" y="207"/>
                    <a:pt x="120" y="207"/>
                  </a:cubicBezTo>
                  <a:cubicBezTo>
                    <a:pt x="120" y="208"/>
                    <a:pt x="121" y="208"/>
                    <a:pt x="121" y="209"/>
                  </a:cubicBezTo>
                  <a:cubicBezTo>
                    <a:pt x="122" y="210"/>
                    <a:pt x="121" y="208"/>
                    <a:pt x="122" y="210"/>
                  </a:cubicBezTo>
                  <a:cubicBezTo>
                    <a:pt x="123" y="211"/>
                    <a:pt x="124" y="211"/>
                    <a:pt x="124" y="211"/>
                  </a:cubicBezTo>
                  <a:cubicBezTo>
                    <a:pt x="124" y="212"/>
                    <a:pt x="125" y="212"/>
                    <a:pt x="126" y="212"/>
                  </a:cubicBezTo>
                  <a:cubicBezTo>
                    <a:pt x="126" y="213"/>
                    <a:pt x="128" y="213"/>
                    <a:pt x="128" y="213"/>
                  </a:cubicBezTo>
                  <a:cubicBezTo>
                    <a:pt x="128" y="213"/>
                    <a:pt x="130" y="213"/>
                    <a:pt x="131" y="213"/>
                  </a:cubicBezTo>
                  <a:cubicBezTo>
                    <a:pt x="131" y="213"/>
                    <a:pt x="132" y="212"/>
                    <a:pt x="132" y="212"/>
                  </a:cubicBezTo>
                  <a:cubicBezTo>
                    <a:pt x="133" y="212"/>
                    <a:pt x="133" y="211"/>
                    <a:pt x="134" y="211"/>
                  </a:cubicBezTo>
                  <a:cubicBezTo>
                    <a:pt x="135" y="211"/>
                    <a:pt x="136" y="208"/>
                    <a:pt x="136" y="207"/>
                  </a:cubicBezTo>
                  <a:cubicBezTo>
                    <a:pt x="136" y="207"/>
                    <a:pt x="137" y="207"/>
                    <a:pt x="136" y="206"/>
                  </a:cubicBezTo>
                  <a:cubicBezTo>
                    <a:pt x="135" y="205"/>
                    <a:pt x="135" y="204"/>
                    <a:pt x="134" y="204"/>
                  </a:cubicBezTo>
                  <a:cubicBezTo>
                    <a:pt x="133" y="204"/>
                    <a:pt x="133" y="204"/>
                    <a:pt x="132" y="203"/>
                  </a:cubicBezTo>
                  <a:cubicBezTo>
                    <a:pt x="131" y="202"/>
                    <a:pt x="130" y="202"/>
                    <a:pt x="130" y="201"/>
                  </a:cubicBezTo>
                  <a:cubicBezTo>
                    <a:pt x="131" y="200"/>
                    <a:pt x="132" y="200"/>
                    <a:pt x="132" y="200"/>
                  </a:cubicBezTo>
                  <a:cubicBezTo>
                    <a:pt x="133" y="200"/>
                    <a:pt x="135" y="201"/>
                    <a:pt x="135" y="202"/>
                  </a:cubicBezTo>
                  <a:cubicBezTo>
                    <a:pt x="135" y="203"/>
                    <a:pt x="137" y="205"/>
                    <a:pt x="137" y="205"/>
                  </a:cubicBezTo>
                  <a:cubicBezTo>
                    <a:pt x="137" y="205"/>
                    <a:pt x="139" y="205"/>
                    <a:pt x="139" y="205"/>
                  </a:cubicBezTo>
                  <a:cubicBezTo>
                    <a:pt x="140" y="205"/>
                    <a:pt x="141" y="206"/>
                    <a:pt x="141" y="206"/>
                  </a:cubicBezTo>
                  <a:cubicBezTo>
                    <a:pt x="142" y="206"/>
                    <a:pt x="141" y="206"/>
                    <a:pt x="143" y="206"/>
                  </a:cubicBezTo>
                  <a:cubicBezTo>
                    <a:pt x="144" y="206"/>
                    <a:pt x="145" y="206"/>
                    <a:pt x="145" y="206"/>
                  </a:cubicBezTo>
                  <a:cubicBezTo>
                    <a:pt x="146" y="206"/>
                    <a:pt x="147" y="206"/>
                    <a:pt x="148" y="206"/>
                  </a:cubicBezTo>
                  <a:cubicBezTo>
                    <a:pt x="148" y="206"/>
                    <a:pt x="150" y="207"/>
                    <a:pt x="150" y="207"/>
                  </a:cubicBezTo>
                  <a:cubicBezTo>
                    <a:pt x="149" y="208"/>
                    <a:pt x="149" y="209"/>
                    <a:pt x="148" y="210"/>
                  </a:cubicBezTo>
                  <a:cubicBezTo>
                    <a:pt x="148" y="212"/>
                    <a:pt x="148" y="212"/>
                    <a:pt x="147" y="212"/>
                  </a:cubicBezTo>
                  <a:cubicBezTo>
                    <a:pt x="147" y="213"/>
                    <a:pt x="148" y="214"/>
                    <a:pt x="148" y="214"/>
                  </a:cubicBezTo>
                  <a:cubicBezTo>
                    <a:pt x="149" y="215"/>
                    <a:pt x="152" y="215"/>
                    <a:pt x="152" y="215"/>
                  </a:cubicBezTo>
                  <a:cubicBezTo>
                    <a:pt x="155" y="214"/>
                    <a:pt x="155" y="214"/>
                    <a:pt x="155" y="214"/>
                  </a:cubicBezTo>
                  <a:cubicBezTo>
                    <a:pt x="156" y="214"/>
                    <a:pt x="157" y="213"/>
                    <a:pt x="158" y="213"/>
                  </a:cubicBezTo>
                  <a:cubicBezTo>
                    <a:pt x="158" y="212"/>
                    <a:pt x="159" y="212"/>
                    <a:pt x="160" y="212"/>
                  </a:cubicBezTo>
                  <a:cubicBezTo>
                    <a:pt x="160" y="211"/>
                    <a:pt x="162" y="211"/>
                    <a:pt x="162" y="211"/>
                  </a:cubicBezTo>
                  <a:cubicBezTo>
                    <a:pt x="163" y="211"/>
                    <a:pt x="164" y="211"/>
                    <a:pt x="165" y="211"/>
                  </a:cubicBezTo>
                  <a:cubicBezTo>
                    <a:pt x="165" y="211"/>
                    <a:pt x="165" y="211"/>
                    <a:pt x="167" y="210"/>
                  </a:cubicBezTo>
                  <a:cubicBezTo>
                    <a:pt x="168" y="210"/>
                    <a:pt x="171" y="209"/>
                    <a:pt x="171" y="209"/>
                  </a:cubicBezTo>
                  <a:cubicBezTo>
                    <a:pt x="172" y="209"/>
                    <a:pt x="174" y="207"/>
                    <a:pt x="175" y="207"/>
                  </a:cubicBezTo>
                  <a:cubicBezTo>
                    <a:pt x="175" y="206"/>
                    <a:pt x="177" y="206"/>
                    <a:pt x="177" y="205"/>
                  </a:cubicBezTo>
                  <a:cubicBezTo>
                    <a:pt x="177" y="205"/>
                    <a:pt x="176" y="204"/>
                    <a:pt x="177" y="204"/>
                  </a:cubicBezTo>
                  <a:cubicBezTo>
                    <a:pt x="178" y="203"/>
                    <a:pt x="178" y="203"/>
                    <a:pt x="179" y="203"/>
                  </a:cubicBezTo>
                  <a:cubicBezTo>
                    <a:pt x="180" y="204"/>
                    <a:pt x="180" y="203"/>
                    <a:pt x="180" y="204"/>
                  </a:cubicBezTo>
                  <a:cubicBezTo>
                    <a:pt x="180" y="206"/>
                    <a:pt x="181" y="206"/>
                    <a:pt x="181" y="206"/>
                  </a:cubicBezTo>
                  <a:cubicBezTo>
                    <a:pt x="181" y="206"/>
                    <a:pt x="189" y="203"/>
                    <a:pt x="189" y="203"/>
                  </a:cubicBezTo>
                  <a:cubicBezTo>
                    <a:pt x="189" y="202"/>
                    <a:pt x="190" y="201"/>
                    <a:pt x="190" y="201"/>
                  </a:cubicBezTo>
                  <a:cubicBezTo>
                    <a:pt x="190" y="200"/>
                    <a:pt x="191" y="198"/>
                    <a:pt x="191" y="198"/>
                  </a:cubicBezTo>
                  <a:cubicBezTo>
                    <a:pt x="191" y="198"/>
                    <a:pt x="191" y="197"/>
                    <a:pt x="190" y="196"/>
                  </a:cubicBezTo>
                  <a:cubicBezTo>
                    <a:pt x="190" y="194"/>
                    <a:pt x="186" y="189"/>
                    <a:pt x="186" y="189"/>
                  </a:cubicBezTo>
                  <a:cubicBezTo>
                    <a:pt x="184" y="190"/>
                    <a:pt x="184" y="190"/>
                    <a:pt x="184" y="190"/>
                  </a:cubicBezTo>
                  <a:cubicBezTo>
                    <a:pt x="184" y="190"/>
                    <a:pt x="184" y="189"/>
                    <a:pt x="183" y="190"/>
                  </a:cubicBezTo>
                  <a:cubicBezTo>
                    <a:pt x="183" y="190"/>
                    <a:pt x="181" y="191"/>
                    <a:pt x="180" y="192"/>
                  </a:cubicBezTo>
                  <a:cubicBezTo>
                    <a:pt x="179" y="194"/>
                    <a:pt x="179" y="194"/>
                    <a:pt x="178" y="194"/>
                  </a:cubicBezTo>
                  <a:cubicBezTo>
                    <a:pt x="178" y="194"/>
                    <a:pt x="176" y="194"/>
                    <a:pt x="175" y="193"/>
                  </a:cubicBezTo>
                  <a:cubicBezTo>
                    <a:pt x="172" y="192"/>
                    <a:pt x="171" y="192"/>
                    <a:pt x="170" y="192"/>
                  </a:cubicBezTo>
                  <a:cubicBezTo>
                    <a:pt x="170" y="192"/>
                    <a:pt x="168" y="192"/>
                    <a:pt x="169" y="191"/>
                  </a:cubicBezTo>
                  <a:cubicBezTo>
                    <a:pt x="170" y="190"/>
                    <a:pt x="172" y="189"/>
                    <a:pt x="172" y="188"/>
                  </a:cubicBezTo>
                  <a:cubicBezTo>
                    <a:pt x="172" y="188"/>
                    <a:pt x="172" y="187"/>
                    <a:pt x="172" y="187"/>
                  </a:cubicBezTo>
                  <a:cubicBezTo>
                    <a:pt x="172" y="186"/>
                    <a:pt x="172" y="185"/>
                    <a:pt x="172" y="185"/>
                  </a:cubicBezTo>
                  <a:cubicBezTo>
                    <a:pt x="172" y="184"/>
                    <a:pt x="173" y="183"/>
                    <a:pt x="174" y="183"/>
                  </a:cubicBezTo>
                  <a:cubicBezTo>
                    <a:pt x="174" y="183"/>
                    <a:pt x="175" y="182"/>
                    <a:pt x="176" y="182"/>
                  </a:cubicBezTo>
                  <a:cubicBezTo>
                    <a:pt x="178" y="181"/>
                    <a:pt x="176" y="181"/>
                    <a:pt x="178" y="181"/>
                  </a:cubicBezTo>
                  <a:cubicBezTo>
                    <a:pt x="180" y="182"/>
                    <a:pt x="181" y="182"/>
                    <a:pt x="182" y="181"/>
                  </a:cubicBezTo>
                  <a:cubicBezTo>
                    <a:pt x="183" y="180"/>
                    <a:pt x="188" y="176"/>
                    <a:pt x="188" y="176"/>
                  </a:cubicBezTo>
                  <a:cubicBezTo>
                    <a:pt x="188" y="176"/>
                    <a:pt x="190" y="175"/>
                    <a:pt x="190" y="174"/>
                  </a:cubicBezTo>
                  <a:cubicBezTo>
                    <a:pt x="189" y="174"/>
                    <a:pt x="191" y="176"/>
                    <a:pt x="189" y="172"/>
                  </a:cubicBezTo>
                  <a:cubicBezTo>
                    <a:pt x="186" y="168"/>
                    <a:pt x="186" y="167"/>
                    <a:pt x="185" y="166"/>
                  </a:cubicBezTo>
                  <a:cubicBezTo>
                    <a:pt x="185" y="166"/>
                    <a:pt x="185" y="165"/>
                    <a:pt x="185" y="164"/>
                  </a:cubicBezTo>
                  <a:cubicBezTo>
                    <a:pt x="185" y="164"/>
                    <a:pt x="189" y="163"/>
                    <a:pt x="189" y="163"/>
                  </a:cubicBezTo>
                  <a:cubicBezTo>
                    <a:pt x="189" y="164"/>
                    <a:pt x="192" y="164"/>
                    <a:pt x="192" y="164"/>
                  </a:cubicBezTo>
                  <a:cubicBezTo>
                    <a:pt x="192" y="165"/>
                    <a:pt x="193" y="165"/>
                    <a:pt x="194" y="165"/>
                  </a:cubicBezTo>
                  <a:cubicBezTo>
                    <a:pt x="195" y="165"/>
                    <a:pt x="197" y="165"/>
                    <a:pt x="198" y="165"/>
                  </a:cubicBezTo>
                  <a:cubicBezTo>
                    <a:pt x="200" y="165"/>
                    <a:pt x="201" y="164"/>
                    <a:pt x="201" y="164"/>
                  </a:cubicBezTo>
                  <a:cubicBezTo>
                    <a:pt x="202" y="165"/>
                    <a:pt x="202" y="165"/>
                    <a:pt x="204" y="165"/>
                  </a:cubicBezTo>
                  <a:cubicBezTo>
                    <a:pt x="205" y="165"/>
                    <a:pt x="208" y="165"/>
                    <a:pt x="208" y="165"/>
                  </a:cubicBezTo>
                  <a:cubicBezTo>
                    <a:pt x="209" y="165"/>
                    <a:pt x="211" y="164"/>
                    <a:pt x="212" y="164"/>
                  </a:cubicBezTo>
                  <a:cubicBezTo>
                    <a:pt x="212" y="164"/>
                    <a:pt x="213" y="163"/>
                    <a:pt x="214" y="163"/>
                  </a:cubicBezTo>
                  <a:cubicBezTo>
                    <a:pt x="214" y="163"/>
                    <a:pt x="218" y="163"/>
                    <a:pt x="218" y="163"/>
                  </a:cubicBezTo>
                  <a:cubicBezTo>
                    <a:pt x="220" y="161"/>
                    <a:pt x="220" y="161"/>
                    <a:pt x="220" y="161"/>
                  </a:cubicBezTo>
                  <a:cubicBezTo>
                    <a:pt x="220" y="161"/>
                    <a:pt x="221" y="159"/>
                    <a:pt x="220" y="158"/>
                  </a:cubicBezTo>
                  <a:cubicBezTo>
                    <a:pt x="220" y="157"/>
                    <a:pt x="220" y="156"/>
                    <a:pt x="220" y="155"/>
                  </a:cubicBezTo>
                  <a:cubicBezTo>
                    <a:pt x="221" y="155"/>
                    <a:pt x="222" y="155"/>
                    <a:pt x="223" y="154"/>
                  </a:cubicBezTo>
                  <a:cubicBezTo>
                    <a:pt x="224" y="153"/>
                    <a:pt x="225" y="153"/>
                    <a:pt x="226" y="152"/>
                  </a:cubicBezTo>
                  <a:cubicBezTo>
                    <a:pt x="226" y="151"/>
                    <a:pt x="223" y="149"/>
                    <a:pt x="222" y="149"/>
                  </a:cubicBezTo>
                  <a:cubicBezTo>
                    <a:pt x="222" y="149"/>
                    <a:pt x="221" y="148"/>
                    <a:pt x="219" y="148"/>
                  </a:cubicBezTo>
                  <a:cubicBezTo>
                    <a:pt x="218" y="148"/>
                    <a:pt x="218" y="147"/>
                    <a:pt x="219" y="147"/>
                  </a:cubicBezTo>
                  <a:cubicBezTo>
                    <a:pt x="220" y="147"/>
                    <a:pt x="220" y="146"/>
                    <a:pt x="222" y="146"/>
                  </a:cubicBezTo>
                  <a:cubicBezTo>
                    <a:pt x="224" y="147"/>
                    <a:pt x="226" y="146"/>
                    <a:pt x="227" y="146"/>
                  </a:cubicBezTo>
                  <a:cubicBezTo>
                    <a:pt x="228" y="146"/>
                    <a:pt x="228" y="146"/>
                    <a:pt x="229" y="146"/>
                  </a:cubicBezTo>
                  <a:cubicBezTo>
                    <a:pt x="230" y="146"/>
                    <a:pt x="231" y="145"/>
                    <a:pt x="232" y="145"/>
                  </a:cubicBezTo>
                  <a:cubicBezTo>
                    <a:pt x="232" y="144"/>
                    <a:pt x="232" y="144"/>
                    <a:pt x="232" y="144"/>
                  </a:cubicBezTo>
                  <a:cubicBezTo>
                    <a:pt x="232" y="142"/>
                    <a:pt x="232" y="142"/>
                    <a:pt x="232" y="142"/>
                  </a:cubicBezTo>
                  <a:cubicBezTo>
                    <a:pt x="232" y="142"/>
                    <a:pt x="233" y="141"/>
                    <a:pt x="234" y="141"/>
                  </a:cubicBezTo>
                  <a:cubicBezTo>
                    <a:pt x="234" y="141"/>
                    <a:pt x="237" y="140"/>
                    <a:pt x="236" y="140"/>
                  </a:cubicBezTo>
                  <a:cubicBezTo>
                    <a:pt x="235" y="140"/>
                    <a:pt x="232" y="139"/>
                    <a:pt x="231" y="139"/>
                  </a:cubicBezTo>
                  <a:cubicBezTo>
                    <a:pt x="230" y="138"/>
                    <a:pt x="230" y="137"/>
                    <a:pt x="228" y="137"/>
                  </a:cubicBezTo>
                  <a:cubicBezTo>
                    <a:pt x="226" y="136"/>
                    <a:pt x="227" y="135"/>
                    <a:pt x="225" y="135"/>
                  </a:cubicBezTo>
                  <a:cubicBezTo>
                    <a:pt x="223" y="136"/>
                    <a:pt x="217" y="132"/>
                    <a:pt x="217" y="132"/>
                  </a:cubicBezTo>
                  <a:cubicBezTo>
                    <a:pt x="220" y="132"/>
                    <a:pt x="220" y="132"/>
                    <a:pt x="220" y="132"/>
                  </a:cubicBezTo>
                  <a:cubicBezTo>
                    <a:pt x="220" y="133"/>
                    <a:pt x="225" y="132"/>
                    <a:pt x="226" y="132"/>
                  </a:cubicBezTo>
                  <a:cubicBezTo>
                    <a:pt x="227" y="132"/>
                    <a:pt x="229" y="133"/>
                    <a:pt x="230" y="133"/>
                  </a:cubicBezTo>
                  <a:cubicBezTo>
                    <a:pt x="230" y="133"/>
                    <a:pt x="233" y="133"/>
                    <a:pt x="233" y="133"/>
                  </a:cubicBezTo>
                  <a:cubicBezTo>
                    <a:pt x="234" y="133"/>
                    <a:pt x="233" y="128"/>
                    <a:pt x="233" y="128"/>
                  </a:cubicBezTo>
                  <a:cubicBezTo>
                    <a:pt x="233" y="127"/>
                    <a:pt x="234" y="125"/>
                    <a:pt x="233" y="125"/>
                  </a:cubicBezTo>
                  <a:cubicBezTo>
                    <a:pt x="232" y="125"/>
                    <a:pt x="230" y="124"/>
                    <a:pt x="229" y="124"/>
                  </a:cubicBezTo>
                  <a:cubicBezTo>
                    <a:pt x="228" y="123"/>
                    <a:pt x="227" y="123"/>
                    <a:pt x="224" y="124"/>
                  </a:cubicBezTo>
                  <a:cubicBezTo>
                    <a:pt x="222" y="124"/>
                    <a:pt x="221" y="123"/>
                    <a:pt x="220" y="123"/>
                  </a:cubicBezTo>
                  <a:cubicBezTo>
                    <a:pt x="218" y="124"/>
                    <a:pt x="219" y="124"/>
                    <a:pt x="217" y="124"/>
                  </a:cubicBezTo>
                  <a:cubicBezTo>
                    <a:pt x="216" y="124"/>
                    <a:pt x="215" y="123"/>
                    <a:pt x="214" y="123"/>
                  </a:cubicBezTo>
                  <a:cubicBezTo>
                    <a:pt x="214" y="123"/>
                    <a:pt x="213" y="122"/>
                    <a:pt x="212" y="122"/>
                  </a:cubicBezTo>
                  <a:cubicBezTo>
                    <a:pt x="210" y="122"/>
                    <a:pt x="209" y="122"/>
                    <a:pt x="209" y="121"/>
                  </a:cubicBezTo>
                  <a:cubicBezTo>
                    <a:pt x="209" y="120"/>
                    <a:pt x="211" y="120"/>
                    <a:pt x="209" y="120"/>
                  </a:cubicBezTo>
                  <a:cubicBezTo>
                    <a:pt x="208" y="119"/>
                    <a:pt x="209" y="118"/>
                    <a:pt x="209" y="118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11" y="119"/>
                    <a:pt x="213" y="118"/>
                    <a:pt x="213" y="119"/>
                  </a:cubicBezTo>
                  <a:cubicBezTo>
                    <a:pt x="214" y="119"/>
                    <a:pt x="214" y="119"/>
                    <a:pt x="215" y="120"/>
                  </a:cubicBezTo>
                  <a:cubicBezTo>
                    <a:pt x="216" y="121"/>
                    <a:pt x="218" y="121"/>
                    <a:pt x="219" y="121"/>
                  </a:cubicBezTo>
                  <a:cubicBezTo>
                    <a:pt x="219" y="121"/>
                    <a:pt x="221" y="121"/>
                    <a:pt x="222" y="121"/>
                  </a:cubicBezTo>
                  <a:cubicBezTo>
                    <a:pt x="223" y="121"/>
                    <a:pt x="226" y="121"/>
                    <a:pt x="226" y="121"/>
                  </a:cubicBezTo>
                  <a:cubicBezTo>
                    <a:pt x="230" y="121"/>
                    <a:pt x="230" y="121"/>
                    <a:pt x="230" y="121"/>
                  </a:cubicBezTo>
                  <a:cubicBezTo>
                    <a:pt x="234" y="119"/>
                    <a:pt x="234" y="119"/>
                    <a:pt x="234" y="119"/>
                  </a:cubicBezTo>
                  <a:cubicBezTo>
                    <a:pt x="234" y="119"/>
                    <a:pt x="236" y="120"/>
                    <a:pt x="237" y="120"/>
                  </a:cubicBezTo>
                  <a:cubicBezTo>
                    <a:pt x="238" y="120"/>
                    <a:pt x="239" y="119"/>
                    <a:pt x="240" y="119"/>
                  </a:cubicBezTo>
                  <a:cubicBezTo>
                    <a:pt x="240" y="119"/>
                    <a:pt x="243" y="119"/>
                    <a:pt x="243" y="119"/>
                  </a:cubicBezTo>
                  <a:cubicBezTo>
                    <a:pt x="244" y="118"/>
                    <a:pt x="247" y="117"/>
                    <a:pt x="247" y="117"/>
                  </a:cubicBezTo>
                  <a:cubicBezTo>
                    <a:pt x="248" y="117"/>
                    <a:pt x="249" y="117"/>
                    <a:pt x="250" y="117"/>
                  </a:cubicBezTo>
                  <a:cubicBezTo>
                    <a:pt x="251" y="117"/>
                    <a:pt x="252" y="117"/>
                    <a:pt x="253" y="116"/>
                  </a:cubicBezTo>
                  <a:cubicBezTo>
                    <a:pt x="253" y="115"/>
                    <a:pt x="254" y="115"/>
                    <a:pt x="254" y="114"/>
                  </a:cubicBezTo>
                  <a:cubicBezTo>
                    <a:pt x="253" y="113"/>
                    <a:pt x="252" y="112"/>
                    <a:pt x="251" y="111"/>
                  </a:cubicBezTo>
                  <a:cubicBezTo>
                    <a:pt x="250" y="111"/>
                    <a:pt x="250" y="110"/>
                    <a:pt x="249" y="110"/>
                  </a:cubicBezTo>
                  <a:cubicBezTo>
                    <a:pt x="249" y="109"/>
                    <a:pt x="246" y="108"/>
                    <a:pt x="247" y="108"/>
                  </a:cubicBezTo>
                  <a:cubicBezTo>
                    <a:pt x="247" y="108"/>
                    <a:pt x="251" y="108"/>
                    <a:pt x="251" y="109"/>
                  </a:cubicBezTo>
                  <a:cubicBezTo>
                    <a:pt x="252" y="109"/>
                    <a:pt x="253" y="109"/>
                    <a:pt x="254" y="109"/>
                  </a:cubicBezTo>
                  <a:cubicBezTo>
                    <a:pt x="255" y="110"/>
                    <a:pt x="255" y="110"/>
                    <a:pt x="256" y="111"/>
                  </a:cubicBezTo>
                  <a:cubicBezTo>
                    <a:pt x="258" y="111"/>
                    <a:pt x="259" y="112"/>
                    <a:pt x="260" y="112"/>
                  </a:cubicBezTo>
                  <a:cubicBezTo>
                    <a:pt x="261" y="112"/>
                    <a:pt x="265" y="111"/>
                    <a:pt x="266" y="112"/>
                  </a:cubicBezTo>
                  <a:cubicBezTo>
                    <a:pt x="266" y="112"/>
                    <a:pt x="268" y="112"/>
                    <a:pt x="269" y="112"/>
                  </a:cubicBezTo>
                  <a:cubicBezTo>
                    <a:pt x="269" y="112"/>
                    <a:pt x="271" y="112"/>
                    <a:pt x="272" y="112"/>
                  </a:cubicBezTo>
                  <a:cubicBezTo>
                    <a:pt x="273" y="112"/>
                    <a:pt x="274" y="111"/>
                    <a:pt x="275" y="111"/>
                  </a:cubicBezTo>
                  <a:cubicBezTo>
                    <a:pt x="275" y="111"/>
                    <a:pt x="279" y="110"/>
                    <a:pt x="279" y="110"/>
                  </a:cubicBezTo>
                  <a:cubicBezTo>
                    <a:pt x="279" y="110"/>
                    <a:pt x="283" y="106"/>
                    <a:pt x="283" y="105"/>
                  </a:cubicBezTo>
                  <a:cubicBezTo>
                    <a:pt x="284" y="105"/>
                    <a:pt x="284" y="104"/>
                    <a:pt x="284" y="103"/>
                  </a:cubicBezTo>
                  <a:cubicBezTo>
                    <a:pt x="283" y="103"/>
                    <a:pt x="283" y="102"/>
                    <a:pt x="283" y="102"/>
                  </a:cubicBezTo>
                  <a:cubicBezTo>
                    <a:pt x="283" y="101"/>
                    <a:pt x="282" y="100"/>
                    <a:pt x="282" y="100"/>
                  </a:cubicBezTo>
                  <a:cubicBezTo>
                    <a:pt x="283" y="99"/>
                    <a:pt x="288" y="99"/>
                    <a:pt x="288" y="99"/>
                  </a:cubicBezTo>
                  <a:cubicBezTo>
                    <a:pt x="288" y="99"/>
                    <a:pt x="289" y="98"/>
                    <a:pt x="287" y="98"/>
                  </a:cubicBezTo>
                  <a:cubicBezTo>
                    <a:pt x="285" y="98"/>
                    <a:pt x="285" y="96"/>
                    <a:pt x="282" y="97"/>
                  </a:cubicBezTo>
                  <a:cubicBezTo>
                    <a:pt x="279" y="98"/>
                    <a:pt x="281" y="97"/>
                    <a:pt x="279" y="98"/>
                  </a:cubicBezTo>
                  <a:cubicBezTo>
                    <a:pt x="277" y="98"/>
                    <a:pt x="275" y="98"/>
                    <a:pt x="277" y="97"/>
                  </a:cubicBezTo>
                  <a:cubicBezTo>
                    <a:pt x="279" y="97"/>
                    <a:pt x="287" y="95"/>
                    <a:pt x="287" y="95"/>
                  </a:cubicBezTo>
                  <a:cubicBezTo>
                    <a:pt x="287" y="95"/>
                    <a:pt x="291" y="95"/>
                    <a:pt x="292" y="95"/>
                  </a:cubicBezTo>
                  <a:cubicBezTo>
                    <a:pt x="292" y="95"/>
                    <a:pt x="293" y="94"/>
                    <a:pt x="293" y="94"/>
                  </a:cubicBezTo>
                  <a:cubicBezTo>
                    <a:pt x="294" y="93"/>
                    <a:pt x="294" y="93"/>
                    <a:pt x="294" y="93"/>
                  </a:cubicBezTo>
                  <a:cubicBezTo>
                    <a:pt x="294" y="93"/>
                    <a:pt x="292" y="90"/>
                    <a:pt x="291" y="90"/>
                  </a:cubicBezTo>
                  <a:cubicBezTo>
                    <a:pt x="291" y="90"/>
                    <a:pt x="293" y="89"/>
                    <a:pt x="294" y="89"/>
                  </a:cubicBezTo>
                  <a:cubicBezTo>
                    <a:pt x="296" y="89"/>
                    <a:pt x="298" y="89"/>
                    <a:pt x="299" y="89"/>
                  </a:cubicBezTo>
                  <a:cubicBezTo>
                    <a:pt x="300" y="89"/>
                    <a:pt x="302" y="88"/>
                    <a:pt x="303" y="89"/>
                  </a:cubicBezTo>
                  <a:cubicBezTo>
                    <a:pt x="304" y="89"/>
                    <a:pt x="307" y="87"/>
                    <a:pt x="307" y="87"/>
                  </a:cubicBezTo>
                  <a:cubicBezTo>
                    <a:pt x="313" y="83"/>
                    <a:pt x="313" y="83"/>
                    <a:pt x="313" y="83"/>
                  </a:cubicBezTo>
                  <a:cubicBezTo>
                    <a:pt x="313" y="83"/>
                    <a:pt x="325" y="73"/>
                    <a:pt x="325" y="73"/>
                  </a:cubicBezTo>
                  <a:cubicBezTo>
                    <a:pt x="325" y="74"/>
                    <a:pt x="329" y="74"/>
                    <a:pt x="329" y="73"/>
                  </a:cubicBezTo>
                  <a:cubicBezTo>
                    <a:pt x="330" y="73"/>
                    <a:pt x="333" y="71"/>
                    <a:pt x="334" y="71"/>
                  </a:cubicBezTo>
                  <a:cubicBezTo>
                    <a:pt x="335" y="71"/>
                    <a:pt x="337" y="70"/>
                    <a:pt x="338" y="70"/>
                  </a:cubicBezTo>
                  <a:cubicBezTo>
                    <a:pt x="339" y="70"/>
                    <a:pt x="341" y="69"/>
                    <a:pt x="342" y="68"/>
                  </a:cubicBezTo>
                  <a:cubicBezTo>
                    <a:pt x="342" y="68"/>
                    <a:pt x="346" y="66"/>
                    <a:pt x="346" y="66"/>
                  </a:cubicBezTo>
                  <a:cubicBezTo>
                    <a:pt x="346" y="66"/>
                    <a:pt x="348" y="65"/>
                    <a:pt x="349" y="65"/>
                  </a:cubicBezTo>
                  <a:cubicBezTo>
                    <a:pt x="350" y="64"/>
                    <a:pt x="349" y="65"/>
                    <a:pt x="352" y="63"/>
                  </a:cubicBezTo>
                  <a:cubicBezTo>
                    <a:pt x="355" y="62"/>
                    <a:pt x="372" y="54"/>
                    <a:pt x="372" y="54"/>
                  </a:cubicBezTo>
                  <a:cubicBezTo>
                    <a:pt x="372" y="54"/>
                    <a:pt x="372" y="54"/>
                    <a:pt x="372" y="54"/>
                  </a:cubicBezTo>
                  <a:cubicBezTo>
                    <a:pt x="373" y="54"/>
                    <a:pt x="374" y="53"/>
                    <a:pt x="373" y="53"/>
                  </a:cubicBezTo>
                  <a:cubicBezTo>
                    <a:pt x="373" y="53"/>
                    <a:pt x="372" y="51"/>
                    <a:pt x="369" y="51"/>
                  </a:cubicBezTo>
                  <a:cubicBezTo>
                    <a:pt x="367" y="52"/>
                    <a:pt x="363" y="53"/>
                    <a:pt x="363" y="53"/>
                  </a:cubicBezTo>
                  <a:cubicBezTo>
                    <a:pt x="355" y="54"/>
                    <a:pt x="355" y="54"/>
                    <a:pt x="355" y="54"/>
                  </a:cubicBezTo>
                  <a:cubicBezTo>
                    <a:pt x="355" y="54"/>
                    <a:pt x="352" y="54"/>
                    <a:pt x="351" y="55"/>
                  </a:cubicBezTo>
                  <a:cubicBezTo>
                    <a:pt x="350" y="55"/>
                    <a:pt x="348" y="55"/>
                    <a:pt x="347" y="56"/>
                  </a:cubicBezTo>
                  <a:cubicBezTo>
                    <a:pt x="345" y="57"/>
                    <a:pt x="342" y="58"/>
                    <a:pt x="341" y="58"/>
                  </a:cubicBezTo>
                  <a:cubicBezTo>
                    <a:pt x="339" y="58"/>
                    <a:pt x="337" y="57"/>
                    <a:pt x="336" y="57"/>
                  </a:cubicBezTo>
                  <a:cubicBezTo>
                    <a:pt x="335" y="57"/>
                    <a:pt x="336" y="56"/>
                    <a:pt x="339" y="55"/>
                  </a:cubicBezTo>
                  <a:cubicBezTo>
                    <a:pt x="341" y="55"/>
                    <a:pt x="344" y="54"/>
                    <a:pt x="345" y="53"/>
                  </a:cubicBezTo>
                  <a:cubicBezTo>
                    <a:pt x="347" y="53"/>
                    <a:pt x="343" y="53"/>
                    <a:pt x="350" y="52"/>
                  </a:cubicBezTo>
                  <a:cubicBezTo>
                    <a:pt x="358" y="50"/>
                    <a:pt x="360" y="50"/>
                    <a:pt x="362" y="49"/>
                  </a:cubicBezTo>
                  <a:cubicBezTo>
                    <a:pt x="365" y="49"/>
                    <a:pt x="364" y="49"/>
                    <a:pt x="367" y="48"/>
                  </a:cubicBezTo>
                  <a:cubicBezTo>
                    <a:pt x="370" y="47"/>
                    <a:pt x="373" y="46"/>
                    <a:pt x="373" y="46"/>
                  </a:cubicBezTo>
                  <a:cubicBezTo>
                    <a:pt x="374" y="46"/>
                    <a:pt x="374" y="46"/>
                    <a:pt x="375" y="45"/>
                  </a:cubicBezTo>
                  <a:cubicBezTo>
                    <a:pt x="376" y="45"/>
                    <a:pt x="379" y="44"/>
                    <a:pt x="380" y="44"/>
                  </a:cubicBezTo>
                  <a:cubicBezTo>
                    <a:pt x="381" y="44"/>
                    <a:pt x="381" y="44"/>
                    <a:pt x="382" y="44"/>
                  </a:cubicBezTo>
                  <a:cubicBezTo>
                    <a:pt x="383" y="44"/>
                    <a:pt x="383" y="43"/>
                    <a:pt x="385" y="43"/>
                  </a:cubicBezTo>
                  <a:cubicBezTo>
                    <a:pt x="386" y="44"/>
                    <a:pt x="385" y="43"/>
                    <a:pt x="387" y="43"/>
                  </a:cubicBezTo>
                  <a:cubicBezTo>
                    <a:pt x="390" y="43"/>
                    <a:pt x="392" y="42"/>
                    <a:pt x="393" y="42"/>
                  </a:cubicBezTo>
                  <a:cubicBezTo>
                    <a:pt x="394" y="42"/>
                    <a:pt x="396" y="40"/>
                    <a:pt x="397" y="40"/>
                  </a:cubicBezTo>
                  <a:cubicBezTo>
                    <a:pt x="398" y="40"/>
                    <a:pt x="402" y="37"/>
                    <a:pt x="402" y="37"/>
                  </a:cubicBezTo>
                  <a:cubicBezTo>
                    <a:pt x="403" y="37"/>
                    <a:pt x="407" y="37"/>
                    <a:pt x="407" y="37"/>
                  </a:cubicBezTo>
                  <a:cubicBezTo>
                    <a:pt x="409" y="35"/>
                    <a:pt x="409" y="35"/>
                    <a:pt x="409" y="35"/>
                  </a:cubicBezTo>
                  <a:cubicBezTo>
                    <a:pt x="410" y="33"/>
                    <a:pt x="410" y="33"/>
                    <a:pt x="410" y="33"/>
                  </a:cubicBezTo>
                  <a:cubicBezTo>
                    <a:pt x="411" y="33"/>
                    <a:pt x="411" y="32"/>
                    <a:pt x="412" y="32"/>
                  </a:cubicBezTo>
                  <a:cubicBezTo>
                    <a:pt x="414" y="33"/>
                    <a:pt x="414" y="32"/>
                    <a:pt x="416" y="31"/>
                  </a:cubicBezTo>
                  <a:cubicBezTo>
                    <a:pt x="417" y="30"/>
                    <a:pt x="417" y="28"/>
                    <a:pt x="416" y="28"/>
                  </a:cubicBezTo>
                  <a:cubicBezTo>
                    <a:pt x="413" y="29"/>
                    <a:pt x="416" y="26"/>
                    <a:pt x="412" y="24"/>
                  </a:cubicBezTo>
                  <a:cubicBezTo>
                    <a:pt x="408" y="22"/>
                    <a:pt x="408" y="21"/>
                    <a:pt x="403" y="21"/>
                  </a:cubicBezTo>
                  <a:cubicBezTo>
                    <a:pt x="398" y="22"/>
                    <a:pt x="396" y="22"/>
                    <a:pt x="396" y="22"/>
                  </a:cubicBezTo>
                  <a:cubicBezTo>
                    <a:pt x="396" y="22"/>
                    <a:pt x="392" y="25"/>
                    <a:pt x="389" y="22"/>
                  </a:cubicBezTo>
                  <a:cubicBezTo>
                    <a:pt x="385" y="16"/>
                    <a:pt x="381" y="16"/>
                    <a:pt x="381" y="16"/>
                  </a:cubicBezTo>
                  <a:cubicBezTo>
                    <a:pt x="387" y="11"/>
                    <a:pt x="387" y="10"/>
                    <a:pt x="383" y="10"/>
                  </a:cubicBezTo>
                  <a:cubicBezTo>
                    <a:pt x="380" y="10"/>
                    <a:pt x="377" y="8"/>
                    <a:pt x="375" y="9"/>
                  </a:cubicBezTo>
                  <a:cubicBezTo>
                    <a:pt x="371" y="12"/>
                    <a:pt x="366" y="10"/>
                    <a:pt x="366" y="10"/>
                  </a:cubicBezTo>
                  <a:cubicBezTo>
                    <a:pt x="362" y="9"/>
                    <a:pt x="358" y="6"/>
                    <a:pt x="358" y="8"/>
                  </a:cubicBezTo>
                  <a:cubicBezTo>
                    <a:pt x="359" y="10"/>
                    <a:pt x="357" y="11"/>
                    <a:pt x="356" y="12"/>
                  </a:cubicBezTo>
                  <a:cubicBezTo>
                    <a:pt x="354" y="12"/>
                    <a:pt x="352" y="12"/>
                    <a:pt x="352" y="12"/>
                  </a:cubicBezTo>
                  <a:cubicBezTo>
                    <a:pt x="352" y="12"/>
                    <a:pt x="348" y="9"/>
                    <a:pt x="347" y="11"/>
                  </a:cubicBezTo>
                  <a:cubicBezTo>
                    <a:pt x="345" y="13"/>
                    <a:pt x="343" y="11"/>
                    <a:pt x="342" y="13"/>
                  </a:cubicBezTo>
                  <a:cubicBezTo>
                    <a:pt x="340" y="15"/>
                    <a:pt x="338" y="15"/>
                    <a:pt x="337" y="15"/>
                  </a:cubicBezTo>
                  <a:cubicBezTo>
                    <a:pt x="332" y="16"/>
                    <a:pt x="327" y="17"/>
                    <a:pt x="327" y="17"/>
                  </a:cubicBezTo>
                  <a:cubicBezTo>
                    <a:pt x="323" y="16"/>
                    <a:pt x="323" y="16"/>
                    <a:pt x="323" y="16"/>
                  </a:cubicBezTo>
                  <a:cubicBezTo>
                    <a:pt x="323" y="16"/>
                    <a:pt x="320" y="16"/>
                    <a:pt x="317" y="17"/>
                  </a:cubicBezTo>
                  <a:cubicBezTo>
                    <a:pt x="315" y="18"/>
                    <a:pt x="312" y="19"/>
                    <a:pt x="312" y="19"/>
                  </a:cubicBezTo>
                  <a:cubicBezTo>
                    <a:pt x="312" y="19"/>
                    <a:pt x="321" y="14"/>
                    <a:pt x="326" y="14"/>
                  </a:cubicBezTo>
                  <a:cubicBezTo>
                    <a:pt x="331" y="13"/>
                    <a:pt x="330" y="14"/>
                    <a:pt x="333" y="13"/>
                  </a:cubicBezTo>
                  <a:cubicBezTo>
                    <a:pt x="337" y="13"/>
                    <a:pt x="338" y="12"/>
                    <a:pt x="341" y="10"/>
                  </a:cubicBezTo>
                  <a:cubicBezTo>
                    <a:pt x="341" y="10"/>
                    <a:pt x="343" y="10"/>
                    <a:pt x="343" y="9"/>
                  </a:cubicBezTo>
                  <a:cubicBezTo>
                    <a:pt x="344" y="9"/>
                    <a:pt x="344" y="8"/>
                    <a:pt x="343" y="8"/>
                  </a:cubicBezTo>
                  <a:cubicBezTo>
                    <a:pt x="343" y="8"/>
                    <a:pt x="339" y="7"/>
                    <a:pt x="339" y="7"/>
                  </a:cubicBezTo>
                  <a:cubicBezTo>
                    <a:pt x="338" y="8"/>
                    <a:pt x="338" y="8"/>
                    <a:pt x="338" y="8"/>
                  </a:cubicBezTo>
                  <a:cubicBezTo>
                    <a:pt x="338" y="8"/>
                    <a:pt x="336" y="8"/>
                    <a:pt x="334" y="8"/>
                  </a:cubicBezTo>
                  <a:cubicBezTo>
                    <a:pt x="333" y="8"/>
                    <a:pt x="328" y="8"/>
                    <a:pt x="327" y="7"/>
                  </a:cubicBezTo>
                  <a:cubicBezTo>
                    <a:pt x="326" y="7"/>
                    <a:pt x="325" y="6"/>
                    <a:pt x="325" y="7"/>
                  </a:cubicBezTo>
                  <a:cubicBezTo>
                    <a:pt x="324" y="7"/>
                    <a:pt x="324" y="6"/>
                    <a:pt x="323" y="6"/>
                  </a:cubicBezTo>
                  <a:cubicBezTo>
                    <a:pt x="322" y="6"/>
                    <a:pt x="320" y="4"/>
                    <a:pt x="318" y="4"/>
                  </a:cubicBezTo>
                  <a:cubicBezTo>
                    <a:pt x="317" y="5"/>
                    <a:pt x="316" y="4"/>
                    <a:pt x="315" y="5"/>
                  </a:cubicBezTo>
                  <a:cubicBezTo>
                    <a:pt x="314" y="5"/>
                    <a:pt x="312" y="6"/>
                    <a:pt x="311" y="6"/>
                  </a:cubicBezTo>
                  <a:cubicBezTo>
                    <a:pt x="310" y="6"/>
                    <a:pt x="310" y="5"/>
                    <a:pt x="309" y="5"/>
                  </a:cubicBezTo>
                  <a:cubicBezTo>
                    <a:pt x="308" y="5"/>
                    <a:pt x="307" y="4"/>
                    <a:pt x="305" y="4"/>
                  </a:cubicBezTo>
                  <a:cubicBezTo>
                    <a:pt x="304" y="4"/>
                    <a:pt x="302" y="3"/>
                    <a:pt x="302" y="3"/>
                  </a:cubicBezTo>
                  <a:cubicBezTo>
                    <a:pt x="302" y="4"/>
                    <a:pt x="301" y="3"/>
                    <a:pt x="300" y="3"/>
                  </a:cubicBezTo>
                  <a:cubicBezTo>
                    <a:pt x="299" y="3"/>
                    <a:pt x="295" y="2"/>
                    <a:pt x="294" y="2"/>
                  </a:cubicBezTo>
                  <a:cubicBezTo>
                    <a:pt x="292" y="1"/>
                    <a:pt x="292" y="1"/>
                    <a:pt x="292" y="1"/>
                  </a:cubicBezTo>
                  <a:cubicBezTo>
                    <a:pt x="292" y="1"/>
                    <a:pt x="291" y="0"/>
                    <a:pt x="290" y="1"/>
                  </a:cubicBezTo>
                  <a:cubicBezTo>
                    <a:pt x="289" y="1"/>
                    <a:pt x="289" y="0"/>
                    <a:pt x="287" y="0"/>
                  </a:cubicBezTo>
                  <a:cubicBezTo>
                    <a:pt x="286" y="0"/>
                    <a:pt x="284" y="0"/>
                    <a:pt x="282" y="1"/>
                  </a:cubicBezTo>
                  <a:cubicBezTo>
                    <a:pt x="281" y="1"/>
                    <a:pt x="281" y="1"/>
                    <a:pt x="279" y="2"/>
                  </a:cubicBezTo>
                  <a:cubicBezTo>
                    <a:pt x="278" y="3"/>
                    <a:pt x="277" y="3"/>
                    <a:pt x="277" y="3"/>
                  </a:cubicBezTo>
                  <a:cubicBezTo>
                    <a:pt x="277" y="4"/>
                    <a:pt x="277" y="4"/>
                    <a:pt x="278" y="5"/>
                  </a:cubicBezTo>
                  <a:cubicBezTo>
                    <a:pt x="280" y="5"/>
                    <a:pt x="281" y="6"/>
                    <a:pt x="282" y="7"/>
                  </a:cubicBezTo>
                  <a:cubicBezTo>
                    <a:pt x="283" y="7"/>
                    <a:pt x="283" y="8"/>
                    <a:pt x="282" y="8"/>
                  </a:cubicBezTo>
                  <a:cubicBezTo>
                    <a:pt x="281" y="9"/>
                    <a:pt x="279" y="8"/>
                    <a:pt x="278" y="8"/>
                  </a:cubicBezTo>
                  <a:cubicBezTo>
                    <a:pt x="277" y="8"/>
                    <a:pt x="274" y="6"/>
                    <a:pt x="274" y="6"/>
                  </a:cubicBezTo>
                  <a:cubicBezTo>
                    <a:pt x="273" y="6"/>
                    <a:pt x="274" y="5"/>
                    <a:pt x="273" y="4"/>
                  </a:cubicBezTo>
                  <a:cubicBezTo>
                    <a:pt x="273" y="4"/>
                    <a:pt x="275" y="3"/>
                    <a:pt x="273" y="3"/>
                  </a:cubicBezTo>
                  <a:cubicBezTo>
                    <a:pt x="271" y="2"/>
                    <a:pt x="272" y="1"/>
                    <a:pt x="270" y="2"/>
                  </a:cubicBezTo>
                  <a:cubicBezTo>
                    <a:pt x="269" y="3"/>
                    <a:pt x="269" y="2"/>
                    <a:pt x="268" y="2"/>
                  </a:cubicBezTo>
                  <a:cubicBezTo>
                    <a:pt x="266" y="2"/>
                    <a:pt x="257" y="2"/>
                    <a:pt x="257" y="2"/>
                  </a:cubicBezTo>
                  <a:cubicBezTo>
                    <a:pt x="257" y="2"/>
                    <a:pt x="256" y="1"/>
                    <a:pt x="254" y="1"/>
                  </a:cubicBezTo>
                  <a:cubicBezTo>
                    <a:pt x="252" y="2"/>
                    <a:pt x="250" y="2"/>
                    <a:pt x="250" y="3"/>
                  </a:cubicBezTo>
                  <a:cubicBezTo>
                    <a:pt x="249" y="4"/>
                    <a:pt x="249" y="5"/>
                    <a:pt x="249" y="5"/>
                  </a:cubicBezTo>
                  <a:cubicBezTo>
                    <a:pt x="248" y="5"/>
                    <a:pt x="247" y="6"/>
                    <a:pt x="247" y="6"/>
                  </a:cubicBezTo>
                  <a:cubicBezTo>
                    <a:pt x="246" y="7"/>
                    <a:pt x="245" y="7"/>
                    <a:pt x="247" y="7"/>
                  </a:cubicBezTo>
                  <a:cubicBezTo>
                    <a:pt x="248" y="8"/>
                    <a:pt x="248" y="9"/>
                    <a:pt x="249" y="10"/>
                  </a:cubicBezTo>
                  <a:cubicBezTo>
                    <a:pt x="250" y="11"/>
                    <a:pt x="251" y="11"/>
                    <a:pt x="251" y="11"/>
                  </a:cubicBezTo>
                  <a:cubicBezTo>
                    <a:pt x="252" y="12"/>
                    <a:pt x="248" y="12"/>
                    <a:pt x="247" y="12"/>
                  </a:cubicBezTo>
                  <a:cubicBezTo>
                    <a:pt x="245" y="12"/>
                    <a:pt x="244" y="11"/>
                    <a:pt x="243" y="11"/>
                  </a:cubicBezTo>
                  <a:cubicBezTo>
                    <a:pt x="243" y="10"/>
                    <a:pt x="241" y="9"/>
                    <a:pt x="240" y="8"/>
                  </a:cubicBezTo>
                  <a:cubicBezTo>
                    <a:pt x="240" y="7"/>
                    <a:pt x="240" y="7"/>
                    <a:pt x="238" y="6"/>
                  </a:cubicBezTo>
                  <a:cubicBezTo>
                    <a:pt x="237" y="5"/>
                    <a:pt x="239" y="3"/>
                    <a:pt x="236" y="4"/>
                  </a:cubicBezTo>
                  <a:cubicBezTo>
                    <a:pt x="233" y="4"/>
                    <a:pt x="228" y="4"/>
                    <a:pt x="227" y="4"/>
                  </a:cubicBezTo>
                  <a:cubicBezTo>
                    <a:pt x="227" y="4"/>
                    <a:pt x="225" y="3"/>
                    <a:pt x="223" y="3"/>
                  </a:cubicBezTo>
                  <a:cubicBezTo>
                    <a:pt x="221" y="3"/>
                    <a:pt x="222" y="3"/>
                    <a:pt x="219" y="3"/>
                  </a:cubicBezTo>
                  <a:cubicBezTo>
                    <a:pt x="217" y="3"/>
                    <a:pt x="215" y="3"/>
                    <a:pt x="213" y="3"/>
                  </a:cubicBezTo>
                  <a:cubicBezTo>
                    <a:pt x="211" y="3"/>
                    <a:pt x="204" y="2"/>
                    <a:pt x="201" y="3"/>
                  </a:cubicBezTo>
                  <a:cubicBezTo>
                    <a:pt x="199" y="3"/>
                    <a:pt x="197" y="4"/>
                    <a:pt x="196" y="4"/>
                  </a:cubicBezTo>
                  <a:cubicBezTo>
                    <a:pt x="196" y="5"/>
                    <a:pt x="196" y="5"/>
                    <a:pt x="196" y="6"/>
                  </a:cubicBezTo>
                  <a:cubicBezTo>
                    <a:pt x="197" y="7"/>
                    <a:pt x="197" y="7"/>
                    <a:pt x="199" y="8"/>
                  </a:cubicBezTo>
                  <a:cubicBezTo>
                    <a:pt x="200" y="10"/>
                    <a:pt x="200" y="10"/>
                    <a:pt x="202" y="11"/>
                  </a:cubicBezTo>
                  <a:cubicBezTo>
                    <a:pt x="203" y="11"/>
                    <a:pt x="205" y="12"/>
                    <a:pt x="205" y="13"/>
                  </a:cubicBezTo>
                  <a:cubicBezTo>
                    <a:pt x="205" y="13"/>
                    <a:pt x="206" y="12"/>
                    <a:pt x="207" y="13"/>
                  </a:cubicBezTo>
                  <a:cubicBezTo>
                    <a:pt x="209" y="13"/>
                    <a:pt x="210" y="15"/>
                    <a:pt x="210" y="15"/>
                  </a:cubicBezTo>
                  <a:cubicBezTo>
                    <a:pt x="210" y="16"/>
                    <a:pt x="211" y="16"/>
                    <a:pt x="212" y="17"/>
                  </a:cubicBezTo>
                  <a:cubicBezTo>
                    <a:pt x="212" y="17"/>
                    <a:pt x="213" y="15"/>
                    <a:pt x="214" y="18"/>
                  </a:cubicBezTo>
                  <a:cubicBezTo>
                    <a:pt x="216" y="20"/>
                    <a:pt x="216" y="21"/>
                    <a:pt x="215" y="21"/>
                  </a:cubicBezTo>
                  <a:cubicBezTo>
                    <a:pt x="213" y="21"/>
                    <a:pt x="213" y="20"/>
                    <a:pt x="212" y="20"/>
                  </a:cubicBezTo>
                  <a:cubicBezTo>
                    <a:pt x="211" y="21"/>
                    <a:pt x="211" y="19"/>
                    <a:pt x="210" y="18"/>
                  </a:cubicBezTo>
                  <a:cubicBezTo>
                    <a:pt x="209" y="18"/>
                    <a:pt x="209" y="17"/>
                    <a:pt x="208" y="17"/>
                  </a:cubicBezTo>
                  <a:cubicBezTo>
                    <a:pt x="207" y="16"/>
                    <a:pt x="207" y="16"/>
                    <a:pt x="205" y="16"/>
                  </a:cubicBezTo>
                  <a:cubicBezTo>
                    <a:pt x="203" y="16"/>
                    <a:pt x="201" y="15"/>
                    <a:pt x="201" y="15"/>
                  </a:cubicBezTo>
                  <a:cubicBezTo>
                    <a:pt x="201" y="14"/>
                    <a:pt x="201" y="14"/>
                    <a:pt x="200" y="13"/>
                  </a:cubicBezTo>
                  <a:cubicBezTo>
                    <a:pt x="199" y="12"/>
                    <a:pt x="198" y="10"/>
                    <a:pt x="197" y="10"/>
                  </a:cubicBezTo>
                  <a:cubicBezTo>
                    <a:pt x="196" y="11"/>
                    <a:pt x="198" y="9"/>
                    <a:pt x="195" y="8"/>
                  </a:cubicBezTo>
                  <a:cubicBezTo>
                    <a:pt x="193" y="8"/>
                    <a:pt x="191" y="9"/>
                    <a:pt x="190" y="9"/>
                  </a:cubicBezTo>
                  <a:cubicBezTo>
                    <a:pt x="190" y="8"/>
                    <a:pt x="187" y="7"/>
                    <a:pt x="186" y="8"/>
                  </a:cubicBezTo>
                  <a:cubicBezTo>
                    <a:pt x="185" y="8"/>
                    <a:pt x="184" y="9"/>
                    <a:pt x="183" y="9"/>
                  </a:cubicBezTo>
                  <a:cubicBezTo>
                    <a:pt x="182" y="10"/>
                    <a:pt x="180" y="8"/>
                    <a:pt x="179" y="8"/>
                  </a:cubicBezTo>
                  <a:cubicBezTo>
                    <a:pt x="178" y="8"/>
                    <a:pt x="178" y="7"/>
                    <a:pt x="176" y="7"/>
                  </a:cubicBezTo>
                  <a:cubicBezTo>
                    <a:pt x="175" y="8"/>
                    <a:pt x="174" y="7"/>
                    <a:pt x="173" y="7"/>
                  </a:cubicBezTo>
                  <a:cubicBezTo>
                    <a:pt x="172" y="7"/>
                    <a:pt x="172" y="7"/>
                    <a:pt x="171" y="6"/>
                  </a:cubicBezTo>
                  <a:cubicBezTo>
                    <a:pt x="170" y="6"/>
                    <a:pt x="171" y="5"/>
                    <a:pt x="167" y="6"/>
                  </a:cubicBezTo>
                  <a:cubicBezTo>
                    <a:pt x="163" y="6"/>
                    <a:pt x="162" y="6"/>
                    <a:pt x="161" y="7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158" y="8"/>
                    <a:pt x="158" y="7"/>
                    <a:pt x="158" y="8"/>
                  </a:cubicBezTo>
                  <a:cubicBezTo>
                    <a:pt x="158" y="10"/>
                    <a:pt x="159" y="12"/>
                    <a:pt x="160" y="12"/>
                  </a:cubicBezTo>
                  <a:cubicBezTo>
                    <a:pt x="161" y="12"/>
                    <a:pt x="162" y="13"/>
                    <a:pt x="163" y="13"/>
                  </a:cubicBezTo>
                  <a:cubicBezTo>
                    <a:pt x="163" y="14"/>
                    <a:pt x="166" y="16"/>
                    <a:pt x="166" y="16"/>
                  </a:cubicBezTo>
                  <a:cubicBezTo>
                    <a:pt x="165" y="16"/>
                    <a:pt x="162" y="15"/>
                    <a:pt x="161" y="15"/>
                  </a:cubicBezTo>
                  <a:cubicBezTo>
                    <a:pt x="159" y="14"/>
                    <a:pt x="160" y="14"/>
                    <a:pt x="158" y="13"/>
                  </a:cubicBezTo>
                  <a:cubicBezTo>
                    <a:pt x="157" y="13"/>
                    <a:pt x="156" y="12"/>
                    <a:pt x="155" y="12"/>
                  </a:cubicBezTo>
                  <a:cubicBezTo>
                    <a:pt x="154" y="12"/>
                    <a:pt x="154" y="10"/>
                    <a:pt x="152" y="11"/>
                  </a:cubicBezTo>
                  <a:cubicBezTo>
                    <a:pt x="151" y="12"/>
                    <a:pt x="149" y="11"/>
                    <a:pt x="147" y="11"/>
                  </a:cubicBezTo>
                  <a:cubicBezTo>
                    <a:pt x="146" y="11"/>
                    <a:pt x="144" y="10"/>
                    <a:pt x="142" y="11"/>
                  </a:cubicBezTo>
                  <a:cubicBezTo>
                    <a:pt x="141" y="12"/>
                    <a:pt x="139" y="12"/>
                    <a:pt x="140" y="13"/>
                  </a:cubicBezTo>
                  <a:cubicBezTo>
                    <a:pt x="140" y="14"/>
                    <a:pt x="139" y="13"/>
                    <a:pt x="142" y="14"/>
                  </a:cubicBezTo>
                  <a:cubicBezTo>
                    <a:pt x="144" y="16"/>
                    <a:pt x="145" y="18"/>
                    <a:pt x="146" y="18"/>
                  </a:cubicBezTo>
                  <a:cubicBezTo>
                    <a:pt x="148" y="18"/>
                    <a:pt x="149" y="19"/>
                    <a:pt x="149" y="19"/>
                  </a:cubicBezTo>
                  <a:cubicBezTo>
                    <a:pt x="149" y="19"/>
                    <a:pt x="147" y="20"/>
                    <a:pt x="146" y="20"/>
                  </a:cubicBezTo>
                  <a:cubicBezTo>
                    <a:pt x="145" y="20"/>
                    <a:pt x="145" y="19"/>
                    <a:pt x="143" y="18"/>
                  </a:cubicBezTo>
                  <a:cubicBezTo>
                    <a:pt x="142" y="18"/>
                    <a:pt x="142" y="17"/>
                    <a:pt x="140" y="17"/>
                  </a:cubicBezTo>
                  <a:cubicBezTo>
                    <a:pt x="138" y="17"/>
                    <a:pt x="137" y="16"/>
                    <a:pt x="135" y="17"/>
                  </a:cubicBezTo>
                  <a:cubicBezTo>
                    <a:pt x="133" y="18"/>
                    <a:pt x="130" y="19"/>
                    <a:pt x="130" y="20"/>
                  </a:cubicBezTo>
                  <a:cubicBezTo>
                    <a:pt x="130" y="20"/>
                    <a:pt x="131" y="19"/>
                    <a:pt x="131" y="21"/>
                  </a:cubicBezTo>
                  <a:cubicBezTo>
                    <a:pt x="132" y="22"/>
                    <a:pt x="132" y="22"/>
                    <a:pt x="132" y="23"/>
                  </a:cubicBezTo>
                  <a:cubicBezTo>
                    <a:pt x="131" y="24"/>
                    <a:pt x="129" y="23"/>
                    <a:pt x="128" y="23"/>
                  </a:cubicBezTo>
                  <a:cubicBezTo>
                    <a:pt x="127" y="24"/>
                    <a:pt x="126" y="23"/>
                    <a:pt x="125" y="24"/>
                  </a:cubicBezTo>
                  <a:cubicBezTo>
                    <a:pt x="125" y="25"/>
                    <a:pt x="124" y="26"/>
                    <a:pt x="125" y="27"/>
                  </a:cubicBezTo>
                  <a:cubicBezTo>
                    <a:pt x="126" y="28"/>
                    <a:pt x="126" y="28"/>
                    <a:pt x="127" y="28"/>
                  </a:cubicBezTo>
                  <a:cubicBezTo>
                    <a:pt x="128" y="29"/>
                    <a:pt x="130" y="30"/>
                    <a:pt x="130" y="30"/>
                  </a:cubicBezTo>
                  <a:cubicBezTo>
                    <a:pt x="130" y="30"/>
                    <a:pt x="132" y="29"/>
                    <a:pt x="133" y="30"/>
                  </a:cubicBezTo>
                  <a:cubicBezTo>
                    <a:pt x="133" y="30"/>
                    <a:pt x="134" y="30"/>
                    <a:pt x="137" y="31"/>
                  </a:cubicBezTo>
                  <a:cubicBezTo>
                    <a:pt x="139" y="31"/>
                    <a:pt x="147" y="34"/>
                    <a:pt x="147" y="34"/>
                  </a:cubicBezTo>
                  <a:cubicBezTo>
                    <a:pt x="148" y="34"/>
                    <a:pt x="152" y="35"/>
                    <a:pt x="153" y="35"/>
                  </a:cubicBezTo>
                  <a:cubicBezTo>
                    <a:pt x="154" y="35"/>
                    <a:pt x="155" y="37"/>
                    <a:pt x="156" y="37"/>
                  </a:cubicBezTo>
                  <a:cubicBezTo>
                    <a:pt x="157" y="37"/>
                    <a:pt x="160" y="37"/>
                    <a:pt x="161" y="37"/>
                  </a:cubicBezTo>
                  <a:cubicBezTo>
                    <a:pt x="162" y="37"/>
                    <a:pt x="163" y="37"/>
                    <a:pt x="165" y="38"/>
                  </a:cubicBezTo>
                  <a:cubicBezTo>
                    <a:pt x="167" y="40"/>
                    <a:pt x="168" y="41"/>
                    <a:pt x="168" y="42"/>
                  </a:cubicBezTo>
                  <a:cubicBezTo>
                    <a:pt x="168" y="44"/>
                    <a:pt x="169" y="44"/>
                    <a:pt x="168" y="44"/>
                  </a:cubicBezTo>
                  <a:cubicBezTo>
                    <a:pt x="167" y="44"/>
                    <a:pt x="165" y="43"/>
                    <a:pt x="163" y="42"/>
                  </a:cubicBezTo>
                  <a:cubicBezTo>
                    <a:pt x="161" y="41"/>
                    <a:pt x="161" y="40"/>
                    <a:pt x="159" y="39"/>
                  </a:cubicBezTo>
                  <a:cubicBezTo>
                    <a:pt x="157" y="38"/>
                    <a:pt x="160" y="37"/>
                    <a:pt x="155" y="37"/>
                  </a:cubicBezTo>
                  <a:cubicBezTo>
                    <a:pt x="150" y="38"/>
                    <a:pt x="147" y="37"/>
                    <a:pt x="147" y="37"/>
                  </a:cubicBezTo>
                  <a:cubicBezTo>
                    <a:pt x="146" y="36"/>
                    <a:pt x="147" y="36"/>
                    <a:pt x="145" y="35"/>
                  </a:cubicBezTo>
                  <a:cubicBezTo>
                    <a:pt x="143" y="35"/>
                    <a:pt x="139" y="34"/>
                    <a:pt x="137" y="34"/>
                  </a:cubicBezTo>
                  <a:cubicBezTo>
                    <a:pt x="136" y="33"/>
                    <a:pt x="135" y="33"/>
                    <a:pt x="132" y="32"/>
                  </a:cubicBezTo>
                  <a:cubicBezTo>
                    <a:pt x="130" y="31"/>
                    <a:pt x="130" y="31"/>
                    <a:pt x="129" y="30"/>
                  </a:cubicBezTo>
                  <a:cubicBezTo>
                    <a:pt x="127" y="30"/>
                    <a:pt x="126" y="29"/>
                    <a:pt x="125" y="30"/>
                  </a:cubicBezTo>
                  <a:cubicBezTo>
                    <a:pt x="124" y="30"/>
                    <a:pt x="123" y="29"/>
                    <a:pt x="122" y="30"/>
                  </a:cubicBezTo>
                  <a:cubicBezTo>
                    <a:pt x="122" y="31"/>
                    <a:pt x="121" y="31"/>
                    <a:pt x="124" y="32"/>
                  </a:cubicBezTo>
                  <a:cubicBezTo>
                    <a:pt x="127" y="34"/>
                    <a:pt x="127" y="34"/>
                    <a:pt x="128" y="35"/>
                  </a:cubicBezTo>
                  <a:cubicBezTo>
                    <a:pt x="130" y="36"/>
                    <a:pt x="131" y="35"/>
                    <a:pt x="130" y="36"/>
                  </a:cubicBezTo>
                  <a:cubicBezTo>
                    <a:pt x="128" y="37"/>
                    <a:pt x="127" y="37"/>
                    <a:pt x="125" y="36"/>
                  </a:cubicBezTo>
                  <a:cubicBezTo>
                    <a:pt x="124" y="36"/>
                    <a:pt x="122" y="34"/>
                    <a:pt x="121" y="34"/>
                  </a:cubicBezTo>
                  <a:cubicBezTo>
                    <a:pt x="120" y="34"/>
                    <a:pt x="122" y="36"/>
                    <a:pt x="118" y="32"/>
                  </a:cubicBezTo>
                  <a:cubicBezTo>
                    <a:pt x="114" y="28"/>
                    <a:pt x="115" y="28"/>
                    <a:pt x="114" y="28"/>
                  </a:cubicBezTo>
                  <a:cubicBezTo>
                    <a:pt x="112" y="28"/>
                    <a:pt x="109" y="26"/>
                    <a:pt x="108" y="26"/>
                  </a:cubicBezTo>
                  <a:cubicBezTo>
                    <a:pt x="107" y="26"/>
                    <a:pt x="104" y="26"/>
                    <a:pt x="104" y="26"/>
                  </a:cubicBezTo>
                  <a:cubicBezTo>
                    <a:pt x="103" y="26"/>
                    <a:pt x="101" y="25"/>
                    <a:pt x="99" y="26"/>
                  </a:cubicBezTo>
                  <a:cubicBezTo>
                    <a:pt x="98" y="26"/>
                    <a:pt x="99" y="26"/>
                    <a:pt x="97" y="25"/>
                  </a:cubicBezTo>
                  <a:cubicBezTo>
                    <a:pt x="94" y="23"/>
                    <a:pt x="93" y="23"/>
                    <a:pt x="92" y="23"/>
                  </a:cubicBezTo>
                  <a:cubicBezTo>
                    <a:pt x="90" y="23"/>
                    <a:pt x="88" y="22"/>
                    <a:pt x="86" y="22"/>
                  </a:cubicBezTo>
                  <a:cubicBezTo>
                    <a:pt x="84" y="22"/>
                    <a:pt x="87" y="23"/>
                    <a:pt x="86" y="24"/>
                  </a:cubicBezTo>
                  <a:cubicBezTo>
                    <a:pt x="85" y="25"/>
                    <a:pt x="83" y="26"/>
                    <a:pt x="84" y="27"/>
                  </a:cubicBezTo>
                  <a:cubicBezTo>
                    <a:pt x="85" y="29"/>
                    <a:pt x="87" y="30"/>
                    <a:pt x="86" y="30"/>
                  </a:cubicBezTo>
                  <a:cubicBezTo>
                    <a:pt x="85" y="31"/>
                    <a:pt x="83" y="30"/>
                    <a:pt x="82" y="30"/>
                  </a:cubicBezTo>
                  <a:cubicBezTo>
                    <a:pt x="81" y="30"/>
                    <a:pt x="80" y="29"/>
                    <a:pt x="78" y="29"/>
                  </a:cubicBezTo>
                  <a:cubicBezTo>
                    <a:pt x="75" y="30"/>
                    <a:pt x="75" y="29"/>
                    <a:pt x="73" y="30"/>
                  </a:cubicBezTo>
                  <a:cubicBezTo>
                    <a:pt x="70" y="31"/>
                    <a:pt x="69" y="31"/>
                    <a:pt x="69" y="32"/>
                  </a:cubicBezTo>
                  <a:cubicBezTo>
                    <a:pt x="68" y="33"/>
                    <a:pt x="66" y="33"/>
                    <a:pt x="70" y="33"/>
                  </a:cubicBezTo>
                  <a:cubicBezTo>
                    <a:pt x="73" y="34"/>
                    <a:pt x="77" y="35"/>
                    <a:pt x="78" y="35"/>
                  </a:cubicBezTo>
                  <a:cubicBezTo>
                    <a:pt x="80" y="35"/>
                    <a:pt x="83" y="34"/>
                    <a:pt x="85" y="34"/>
                  </a:cubicBezTo>
                  <a:cubicBezTo>
                    <a:pt x="87" y="35"/>
                    <a:pt x="85" y="35"/>
                    <a:pt x="88" y="36"/>
                  </a:cubicBezTo>
                  <a:cubicBezTo>
                    <a:pt x="91" y="37"/>
                    <a:pt x="93" y="37"/>
                    <a:pt x="94" y="39"/>
                  </a:cubicBezTo>
                  <a:cubicBezTo>
                    <a:pt x="94" y="40"/>
                    <a:pt x="97" y="40"/>
                    <a:pt x="94" y="41"/>
                  </a:cubicBezTo>
                  <a:cubicBezTo>
                    <a:pt x="92" y="42"/>
                    <a:pt x="89" y="42"/>
                    <a:pt x="88" y="42"/>
                  </a:cubicBezTo>
                  <a:cubicBezTo>
                    <a:pt x="88" y="42"/>
                    <a:pt x="84" y="39"/>
                    <a:pt x="83" y="39"/>
                  </a:cubicBezTo>
                  <a:cubicBezTo>
                    <a:pt x="83" y="38"/>
                    <a:pt x="84" y="38"/>
                    <a:pt x="81" y="37"/>
                  </a:cubicBezTo>
                  <a:cubicBezTo>
                    <a:pt x="77" y="37"/>
                    <a:pt x="74" y="36"/>
                    <a:pt x="73" y="36"/>
                  </a:cubicBezTo>
                  <a:cubicBezTo>
                    <a:pt x="73" y="36"/>
                    <a:pt x="71" y="35"/>
                    <a:pt x="70" y="36"/>
                  </a:cubicBezTo>
                  <a:cubicBezTo>
                    <a:pt x="68" y="38"/>
                    <a:pt x="69" y="39"/>
                    <a:pt x="67" y="40"/>
                  </a:cubicBezTo>
                  <a:cubicBezTo>
                    <a:pt x="66" y="41"/>
                    <a:pt x="66" y="40"/>
                    <a:pt x="64" y="40"/>
                  </a:cubicBezTo>
                  <a:cubicBezTo>
                    <a:pt x="63" y="40"/>
                    <a:pt x="63" y="39"/>
                    <a:pt x="62" y="38"/>
                  </a:cubicBezTo>
                  <a:cubicBezTo>
                    <a:pt x="61" y="37"/>
                    <a:pt x="64" y="36"/>
                    <a:pt x="60" y="36"/>
                  </a:cubicBezTo>
                  <a:cubicBezTo>
                    <a:pt x="56" y="36"/>
                    <a:pt x="56" y="36"/>
                    <a:pt x="54" y="36"/>
                  </a:cubicBezTo>
                  <a:cubicBezTo>
                    <a:pt x="53" y="35"/>
                    <a:pt x="53" y="34"/>
                    <a:pt x="49" y="35"/>
                  </a:cubicBezTo>
                  <a:cubicBezTo>
                    <a:pt x="46" y="36"/>
                    <a:pt x="46" y="35"/>
                    <a:pt x="43" y="36"/>
                  </a:cubicBezTo>
                  <a:cubicBezTo>
                    <a:pt x="41" y="38"/>
                    <a:pt x="40" y="38"/>
                    <a:pt x="38" y="40"/>
                  </a:cubicBezTo>
                  <a:cubicBezTo>
                    <a:pt x="36" y="42"/>
                    <a:pt x="37" y="41"/>
                    <a:pt x="36" y="42"/>
                  </a:cubicBezTo>
                  <a:cubicBezTo>
                    <a:pt x="35" y="43"/>
                    <a:pt x="35" y="42"/>
                    <a:pt x="34" y="43"/>
                  </a:cubicBezTo>
                  <a:cubicBezTo>
                    <a:pt x="32" y="45"/>
                    <a:pt x="31" y="42"/>
                    <a:pt x="30" y="42"/>
                  </a:cubicBezTo>
                  <a:cubicBezTo>
                    <a:pt x="29" y="42"/>
                    <a:pt x="31" y="41"/>
                    <a:pt x="28" y="41"/>
                  </a:cubicBezTo>
                  <a:cubicBezTo>
                    <a:pt x="26" y="41"/>
                    <a:pt x="22" y="41"/>
                    <a:pt x="22" y="41"/>
                  </a:cubicBezTo>
                  <a:cubicBezTo>
                    <a:pt x="22" y="41"/>
                    <a:pt x="20" y="41"/>
                    <a:pt x="19" y="42"/>
                  </a:cubicBezTo>
                  <a:cubicBezTo>
                    <a:pt x="18" y="43"/>
                    <a:pt x="16" y="43"/>
                    <a:pt x="15" y="43"/>
                  </a:cubicBezTo>
                  <a:cubicBezTo>
                    <a:pt x="13" y="43"/>
                    <a:pt x="13" y="43"/>
                    <a:pt x="11" y="44"/>
                  </a:cubicBezTo>
                  <a:cubicBezTo>
                    <a:pt x="9" y="45"/>
                    <a:pt x="9" y="45"/>
                    <a:pt x="8" y="46"/>
                  </a:cubicBezTo>
                  <a:cubicBezTo>
                    <a:pt x="7" y="47"/>
                    <a:pt x="6" y="47"/>
                    <a:pt x="4" y="47"/>
                  </a:cubicBezTo>
                  <a:cubicBezTo>
                    <a:pt x="3" y="48"/>
                    <a:pt x="3" y="47"/>
                    <a:pt x="2" y="48"/>
                  </a:cubicBezTo>
                  <a:cubicBezTo>
                    <a:pt x="0" y="50"/>
                    <a:pt x="0" y="49"/>
                    <a:pt x="0" y="50"/>
                  </a:cubicBezTo>
                  <a:cubicBezTo>
                    <a:pt x="0" y="51"/>
                    <a:pt x="0" y="52"/>
                    <a:pt x="2" y="52"/>
                  </a:cubicBezTo>
                  <a:close/>
                  <a:moveTo>
                    <a:pt x="202" y="118"/>
                  </a:moveTo>
                  <a:cubicBezTo>
                    <a:pt x="203" y="117"/>
                    <a:pt x="205" y="117"/>
                    <a:pt x="206" y="117"/>
                  </a:cubicBezTo>
                  <a:cubicBezTo>
                    <a:pt x="207" y="117"/>
                    <a:pt x="208" y="118"/>
                    <a:pt x="209" y="118"/>
                  </a:cubicBezTo>
                  <a:cubicBezTo>
                    <a:pt x="208" y="118"/>
                    <a:pt x="207" y="118"/>
                    <a:pt x="206" y="119"/>
                  </a:cubicBezTo>
                  <a:cubicBezTo>
                    <a:pt x="199" y="121"/>
                    <a:pt x="199" y="121"/>
                    <a:pt x="198" y="122"/>
                  </a:cubicBezTo>
                  <a:cubicBezTo>
                    <a:pt x="198" y="122"/>
                    <a:pt x="198" y="121"/>
                    <a:pt x="198" y="121"/>
                  </a:cubicBezTo>
                  <a:cubicBezTo>
                    <a:pt x="199" y="120"/>
                    <a:pt x="201" y="119"/>
                    <a:pt x="202" y="118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60" name="Freeform 19"/>
            <p:cNvSpPr>
              <a:spLocks/>
            </p:cNvSpPr>
            <p:nvPr/>
          </p:nvSpPr>
          <p:spPr bwMode="auto">
            <a:xfrm>
              <a:off x="3168" y="1410"/>
              <a:ext cx="117" cy="77"/>
            </a:xfrm>
            <a:custGeom>
              <a:avLst/>
              <a:gdLst>
                <a:gd name="T0" fmla="*/ 13 w 157"/>
                <a:gd name="T1" fmla="*/ 55 h 104"/>
                <a:gd name="T2" fmla="*/ 29 w 157"/>
                <a:gd name="T3" fmla="*/ 52 h 104"/>
                <a:gd name="T4" fmla="*/ 14 w 157"/>
                <a:gd name="T5" fmla="*/ 57 h 104"/>
                <a:gd name="T6" fmla="*/ 26 w 157"/>
                <a:gd name="T7" fmla="*/ 67 h 104"/>
                <a:gd name="T8" fmla="*/ 35 w 157"/>
                <a:gd name="T9" fmla="*/ 64 h 104"/>
                <a:gd name="T10" fmla="*/ 45 w 157"/>
                <a:gd name="T11" fmla="*/ 63 h 104"/>
                <a:gd name="T12" fmla="*/ 57 w 157"/>
                <a:gd name="T13" fmla="*/ 63 h 104"/>
                <a:gd name="T14" fmla="*/ 63 w 157"/>
                <a:gd name="T15" fmla="*/ 66 h 104"/>
                <a:gd name="T16" fmla="*/ 59 w 157"/>
                <a:gd name="T17" fmla="*/ 69 h 104"/>
                <a:gd name="T18" fmla="*/ 65 w 157"/>
                <a:gd name="T19" fmla="*/ 71 h 104"/>
                <a:gd name="T20" fmla="*/ 43 w 157"/>
                <a:gd name="T21" fmla="*/ 72 h 104"/>
                <a:gd name="T22" fmla="*/ 32 w 157"/>
                <a:gd name="T23" fmla="*/ 74 h 104"/>
                <a:gd name="T24" fmla="*/ 48 w 157"/>
                <a:gd name="T25" fmla="*/ 82 h 104"/>
                <a:gd name="T26" fmla="*/ 56 w 157"/>
                <a:gd name="T27" fmla="*/ 86 h 104"/>
                <a:gd name="T28" fmla="*/ 56 w 157"/>
                <a:gd name="T29" fmla="*/ 90 h 104"/>
                <a:gd name="T30" fmla="*/ 62 w 157"/>
                <a:gd name="T31" fmla="*/ 97 h 104"/>
                <a:gd name="T32" fmla="*/ 76 w 157"/>
                <a:gd name="T33" fmla="*/ 100 h 104"/>
                <a:gd name="T34" fmla="*/ 86 w 157"/>
                <a:gd name="T35" fmla="*/ 94 h 104"/>
                <a:gd name="T36" fmla="*/ 96 w 157"/>
                <a:gd name="T37" fmla="*/ 99 h 104"/>
                <a:gd name="T38" fmla="*/ 101 w 157"/>
                <a:gd name="T39" fmla="*/ 97 h 104"/>
                <a:gd name="T40" fmla="*/ 110 w 157"/>
                <a:gd name="T41" fmla="*/ 92 h 104"/>
                <a:gd name="T42" fmla="*/ 116 w 157"/>
                <a:gd name="T43" fmla="*/ 92 h 104"/>
                <a:gd name="T44" fmla="*/ 115 w 157"/>
                <a:gd name="T45" fmla="*/ 83 h 104"/>
                <a:gd name="T46" fmla="*/ 120 w 157"/>
                <a:gd name="T47" fmla="*/ 77 h 104"/>
                <a:gd name="T48" fmla="*/ 123 w 157"/>
                <a:gd name="T49" fmla="*/ 84 h 104"/>
                <a:gd name="T50" fmla="*/ 137 w 157"/>
                <a:gd name="T51" fmla="*/ 76 h 104"/>
                <a:gd name="T52" fmla="*/ 155 w 157"/>
                <a:gd name="T53" fmla="*/ 68 h 104"/>
                <a:gd name="T54" fmla="*/ 155 w 157"/>
                <a:gd name="T55" fmla="*/ 63 h 104"/>
                <a:gd name="T56" fmla="*/ 150 w 157"/>
                <a:gd name="T57" fmla="*/ 56 h 104"/>
                <a:gd name="T58" fmla="*/ 142 w 157"/>
                <a:gd name="T59" fmla="*/ 57 h 104"/>
                <a:gd name="T60" fmla="*/ 130 w 157"/>
                <a:gd name="T61" fmla="*/ 57 h 104"/>
                <a:gd name="T62" fmla="*/ 129 w 157"/>
                <a:gd name="T63" fmla="*/ 50 h 104"/>
                <a:gd name="T64" fmla="*/ 126 w 157"/>
                <a:gd name="T65" fmla="*/ 43 h 104"/>
                <a:gd name="T66" fmla="*/ 124 w 157"/>
                <a:gd name="T67" fmla="*/ 37 h 104"/>
                <a:gd name="T68" fmla="*/ 112 w 157"/>
                <a:gd name="T69" fmla="*/ 29 h 104"/>
                <a:gd name="T70" fmla="*/ 111 w 157"/>
                <a:gd name="T71" fmla="*/ 38 h 104"/>
                <a:gd name="T72" fmla="*/ 102 w 157"/>
                <a:gd name="T73" fmla="*/ 36 h 104"/>
                <a:gd name="T74" fmla="*/ 97 w 157"/>
                <a:gd name="T75" fmla="*/ 27 h 104"/>
                <a:gd name="T76" fmla="*/ 81 w 157"/>
                <a:gd name="T77" fmla="*/ 22 h 104"/>
                <a:gd name="T78" fmla="*/ 69 w 157"/>
                <a:gd name="T79" fmla="*/ 11 h 104"/>
                <a:gd name="T80" fmla="*/ 57 w 157"/>
                <a:gd name="T81" fmla="*/ 3 h 104"/>
                <a:gd name="T82" fmla="*/ 42 w 157"/>
                <a:gd name="T83" fmla="*/ 0 h 104"/>
                <a:gd name="T84" fmla="*/ 33 w 157"/>
                <a:gd name="T85" fmla="*/ 7 h 104"/>
                <a:gd name="T86" fmla="*/ 49 w 157"/>
                <a:gd name="T87" fmla="*/ 10 h 104"/>
                <a:gd name="T88" fmla="*/ 33 w 157"/>
                <a:gd name="T89" fmla="*/ 10 h 104"/>
                <a:gd name="T90" fmla="*/ 21 w 157"/>
                <a:gd name="T91" fmla="*/ 11 h 104"/>
                <a:gd name="T92" fmla="*/ 20 w 157"/>
                <a:gd name="T93" fmla="*/ 20 h 104"/>
                <a:gd name="T94" fmla="*/ 32 w 157"/>
                <a:gd name="T95" fmla="*/ 23 h 104"/>
                <a:gd name="T96" fmla="*/ 22 w 157"/>
                <a:gd name="T97" fmla="*/ 22 h 104"/>
                <a:gd name="T98" fmla="*/ 9 w 157"/>
                <a:gd name="T99" fmla="*/ 23 h 104"/>
                <a:gd name="T100" fmla="*/ 11 w 157"/>
                <a:gd name="T101" fmla="*/ 32 h 104"/>
                <a:gd name="T102" fmla="*/ 4 w 157"/>
                <a:gd name="T103" fmla="*/ 37 h 104"/>
                <a:gd name="T104" fmla="*/ 21 w 157"/>
                <a:gd name="T105" fmla="*/ 39 h 104"/>
                <a:gd name="T106" fmla="*/ 24 w 157"/>
                <a:gd name="T107" fmla="*/ 42 h 104"/>
                <a:gd name="T108" fmla="*/ 7 w 157"/>
                <a:gd name="T109" fmla="*/ 40 h 104"/>
                <a:gd name="T110" fmla="*/ 6 w 157"/>
                <a:gd name="T111" fmla="*/ 5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7" h="104">
                  <a:moveTo>
                    <a:pt x="6" y="50"/>
                  </a:moveTo>
                  <a:cubicBezTo>
                    <a:pt x="7" y="53"/>
                    <a:pt x="9" y="54"/>
                    <a:pt x="9" y="55"/>
                  </a:cubicBezTo>
                  <a:cubicBezTo>
                    <a:pt x="9" y="55"/>
                    <a:pt x="10" y="55"/>
                    <a:pt x="13" y="55"/>
                  </a:cubicBezTo>
                  <a:cubicBezTo>
                    <a:pt x="15" y="56"/>
                    <a:pt x="19" y="55"/>
                    <a:pt x="20" y="55"/>
                  </a:cubicBezTo>
                  <a:cubicBezTo>
                    <a:pt x="21" y="55"/>
                    <a:pt x="22" y="54"/>
                    <a:pt x="25" y="53"/>
                  </a:cubicBezTo>
                  <a:cubicBezTo>
                    <a:pt x="27" y="53"/>
                    <a:pt x="29" y="51"/>
                    <a:pt x="29" y="52"/>
                  </a:cubicBezTo>
                  <a:cubicBezTo>
                    <a:pt x="30" y="54"/>
                    <a:pt x="32" y="54"/>
                    <a:pt x="29" y="55"/>
                  </a:cubicBezTo>
                  <a:cubicBezTo>
                    <a:pt x="25" y="56"/>
                    <a:pt x="22" y="55"/>
                    <a:pt x="20" y="56"/>
                  </a:cubicBezTo>
                  <a:cubicBezTo>
                    <a:pt x="18" y="58"/>
                    <a:pt x="15" y="54"/>
                    <a:pt x="14" y="57"/>
                  </a:cubicBezTo>
                  <a:cubicBezTo>
                    <a:pt x="13" y="60"/>
                    <a:pt x="16" y="61"/>
                    <a:pt x="18" y="63"/>
                  </a:cubicBezTo>
                  <a:cubicBezTo>
                    <a:pt x="20" y="65"/>
                    <a:pt x="24" y="66"/>
                    <a:pt x="24" y="66"/>
                  </a:cubicBezTo>
                  <a:cubicBezTo>
                    <a:pt x="24" y="66"/>
                    <a:pt x="25" y="68"/>
                    <a:pt x="26" y="67"/>
                  </a:cubicBezTo>
                  <a:cubicBezTo>
                    <a:pt x="28" y="67"/>
                    <a:pt x="29" y="65"/>
                    <a:pt x="30" y="65"/>
                  </a:cubicBezTo>
                  <a:cubicBezTo>
                    <a:pt x="31" y="65"/>
                    <a:pt x="31" y="63"/>
                    <a:pt x="33" y="64"/>
                  </a:cubicBezTo>
                  <a:cubicBezTo>
                    <a:pt x="35" y="64"/>
                    <a:pt x="34" y="61"/>
                    <a:pt x="35" y="64"/>
                  </a:cubicBezTo>
                  <a:cubicBezTo>
                    <a:pt x="35" y="67"/>
                    <a:pt x="33" y="67"/>
                    <a:pt x="35" y="67"/>
                  </a:cubicBezTo>
                  <a:cubicBezTo>
                    <a:pt x="37" y="67"/>
                    <a:pt x="41" y="64"/>
                    <a:pt x="41" y="64"/>
                  </a:cubicBezTo>
                  <a:cubicBezTo>
                    <a:pt x="41" y="64"/>
                    <a:pt x="43" y="64"/>
                    <a:pt x="45" y="63"/>
                  </a:cubicBezTo>
                  <a:cubicBezTo>
                    <a:pt x="46" y="63"/>
                    <a:pt x="47" y="62"/>
                    <a:pt x="49" y="61"/>
                  </a:cubicBezTo>
                  <a:cubicBezTo>
                    <a:pt x="51" y="60"/>
                    <a:pt x="48" y="59"/>
                    <a:pt x="52" y="60"/>
                  </a:cubicBezTo>
                  <a:cubicBezTo>
                    <a:pt x="57" y="62"/>
                    <a:pt x="58" y="62"/>
                    <a:pt x="57" y="63"/>
                  </a:cubicBezTo>
                  <a:cubicBezTo>
                    <a:pt x="57" y="65"/>
                    <a:pt x="58" y="65"/>
                    <a:pt x="60" y="65"/>
                  </a:cubicBezTo>
                  <a:cubicBezTo>
                    <a:pt x="62" y="64"/>
                    <a:pt x="65" y="63"/>
                    <a:pt x="65" y="64"/>
                  </a:cubicBezTo>
                  <a:cubicBezTo>
                    <a:pt x="66" y="64"/>
                    <a:pt x="65" y="65"/>
                    <a:pt x="63" y="66"/>
                  </a:cubicBezTo>
                  <a:cubicBezTo>
                    <a:pt x="61" y="66"/>
                    <a:pt x="57" y="66"/>
                    <a:pt x="57" y="67"/>
                  </a:cubicBezTo>
                  <a:cubicBezTo>
                    <a:pt x="56" y="67"/>
                    <a:pt x="53" y="64"/>
                    <a:pt x="54" y="67"/>
                  </a:cubicBezTo>
                  <a:cubicBezTo>
                    <a:pt x="55" y="69"/>
                    <a:pt x="53" y="70"/>
                    <a:pt x="59" y="69"/>
                  </a:cubicBezTo>
                  <a:cubicBezTo>
                    <a:pt x="65" y="68"/>
                    <a:pt x="68" y="68"/>
                    <a:pt x="69" y="68"/>
                  </a:cubicBezTo>
                  <a:cubicBezTo>
                    <a:pt x="70" y="68"/>
                    <a:pt x="70" y="67"/>
                    <a:pt x="72" y="68"/>
                  </a:cubicBezTo>
                  <a:cubicBezTo>
                    <a:pt x="74" y="68"/>
                    <a:pt x="66" y="71"/>
                    <a:pt x="65" y="71"/>
                  </a:cubicBezTo>
                  <a:cubicBezTo>
                    <a:pt x="64" y="71"/>
                    <a:pt x="57" y="71"/>
                    <a:pt x="55" y="71"/>
                  </a:cubicBezTo>
                  <a:cubicBezTo>
                    <a:pt x="53" y="71"/>
                    <a:pt x="51" y="71"/>
                    <a:pt x="49" y="71"/>
                  </a:cubicBezTo>
                  <a:cubicBezTo>
                    <a:pt x="47" y="71"/>
                    <a:pt x="45" y="71"/>
                    <a:pt x="43" y="72"/>
                  </a:cubicBezTo>
                  <a:cubicBezTo>
                    <a:pt x="40" y="73"/>
                    <a:pt x="42" y="70"/>
                    <a:pt x="40" y="73"/>
                  </a:cubicBezTo>
                  <a:cubicBezTo>
                    <a:pt x="39" y="75"/>
                    <a:pt x="39" y="72"/>
                    <a:pt x="35" y="73"/>
                  </a:cubicBezTo>
                  <a:cubicBezTo>
                    <a:pt x="32" y="74"/>
                    <a:pt x="29" y="70"/>
                    <a:pt x="32" y="74"/>
                  </a:cubicBezTo>
                  <a:cubicBezTo>
                    <a:pt x="35" y="78"/>
                    <a:pt x="38" y="80"/>
                    <a:pt x="40" y="80"/>
                  </a:cubicBezTo>
                  <a:cubicBezTo>
                    <a:pt x="42" y="81"/>
                    <a:pt x="41" y="82"/>
                    <a:pt x="43" y="82"/>
                  </a:cubicBezTo>
                  <a:cubicBezTo>
                    <a:pt x="45" y="83"/>
                    <a:pt x="46" y="80"/>
                    <a:pt x="48" y="82"/>
                  </a:cubicBezTo>
                  <a:cubicBezTo>
                    <a:pt x="49" y="85"/>
                    <a:pt x="48" y="85"/>
                    <a:pt x="49" y="86"/>
                  </a:cubicBezTo>
                  <a:cubicBezTo>
                    <a:pt x="49" y="87"/>
                    <a:pt x="50" y="87"/>
                    <a:pt x="51" y="87"/>
                  </a:cubicBezTo>
                  <a:cubicBezTo>
                    <a:pt x="53" y="87"/>
                    <a:pt x="55" y="86"/>
                    <a:pt x="56" y="86"/>
                  </a:cubicBezTo>
                  <a:cubicBezTo>
                    <a:pt x="57" y="87"/>
                    <a:pt x="59" y="85"/>
                    <a:pt x="60" y="86"/>
                  </a:cubicBezTo>
                  <a:cubicBezTo>
                    <a:pt x="61" y="88"/>
                    <a:pt x="64" y="87"/>
                    <a:pt x="65" y="88"/>
                  </a:cubicBezTo>
                  <a:cubicBezTo>
                    <a:pt x="65" y="88"/>
                    <a:pt x="58" y="90"/>
                    <a:pt x="56" y="90"/>
                  </a:cubicBezTo>
                  <a:cubicBezTo>
                    <a:pt x="55" y="90"/>
                    <a:pt x="52" y="88"/>
                    <a:pt x="52" y="89"/>
                  </a:cubicBezTo>
                  <a:cubicBezTo>
                    <a:pt x="51" y="93"/>
                    <a:pt x="55" y="94"/>
                    <a:pt x="56" y="95"/>
                  </a:cubicBezTo>
                  <a:cubicBezTo>
                    <a:pt x="58" y="96"/>
                    <a:pt x="59" y="96"/>
                    <a:pt x="62" y="97"/>
                  </a:cubicBezTo>
                  <a:cubicBezTo>
                    <a:pt x="66" y="99"/>
                    <a:pt x="66" y="97"/>
                    <a:pt x="67" y="99"/>
                  </a:cubicBezTo>
                  <a:cubicBezTo>
                    <a:pt x="69" y="101"/>
                    <a:pt x="68" y="101"/>
                    <a:pt x="71" y="101"/>
                  </a:cubicBezTo>
                  <a:cubicBezTo>
                    <a:pt x="74" y="101"/>
                    <a:pt x="73" y="101"/>
                    <a:pt x="76" y="100"/>
                  </a:cubicBezTo>
                  <a:cubicBezTo>
                    <a:pt x="78" y="100"/>
                    <a:pt x="78" y="98"/>
                    <a:pt x="81" y="99"/>
                  </a:cubicBezTo>
                  <a:cubicBezTo>
                    <a:pt x="85" y="100"/>
                    <a:pt x="88" y="104"/>
                    <a:pt x="87" y="100"/>
                  </a:cubicBezTo>
                  <a:cubicBezTo>
                    <a:pt x="86" y="96"/>
                    <a:pt x="84" y="95"/>
                    <a:pt x="86" y="94"/>
                  </a:cubicBezTo>
                  <a:cubicBezTo>
                    <a:pt x="88" y="93"/>
                    <a:pt x="90" y="93"/>
                    <a:pt x="90" y="94"/>
                  </a:cubicBezTo>
                  <a:cubicBezTo>
                    <a:pt x="93" y="96"/>
                    <a:pt x="94" y="95"/>
                    <a:pt x="95" y="97"/>
                  </a:cubicBezTo>
                  <a:cubicBezTo>
                    <a:pt x="95" y="99"/>
                    <a:pt x="95" y="100"/>
                    <a:pt x="96" y="99"/>
                  </a:cubicBezTo>
                  <a:cubicBezTo>
                    <a:pt x="98" y="99"/>
                    <a:pt x="98" y="98"/>
                    <a:pt x="98" y="97"/>
                  </a:cubicBezTo>
                  <a:cubicBezTo>
                    <a:pt x="98" y="96"/>
                    <a:pt x="97" y="93"/>
                    <a:pt x="98" y="94"/>
                  </a:cubicBezTo>
                  <a:cubicBezTo>
                    <a:pt x="98" y="95"/>
                    <a:pt x="99" y="95"/>
                    <a:pt x="101" y="97"/>
                  </a:cubicBezTo>
                  <a:cubicBezTo>
                    <a:pt x="104" y="99"/>
                    <a:pt x="106" y="100"/>
                    <a:pt x="106" y="100"/>
                  </a:cubicBezTo>
                  <a:cubicBezTo>
                    <a:pt x="107" y="100"/>
                    <a:pt x="109" y="100"/>
                    <a:pt x="109" y="98"/>
                  </a:cubicBezTo>
                  <a:cubicBezTo>
                    <a:pt x="110" y="96"/>
                    <a:pt x="110" y="92"/>
                    <a:pt x="110" y="92"/>
                  </a:cubicBezTo>
                  <a:cubicBezTo>
                    <a:pt x="110" y="92"/>
                    <a:pt x="106" y="90"/>
                    <a:pt x="111" y="90"/>
                  </a:cubicBezTo>
                  <a:cubicBezTo>
                    <a:pt x="116" y="89"/>
                    <a:pt x="116" y="88"/>
                    <a:pt x="116" y="90"/>
                  </a:cubicBezTo>
                  <a:cubicBezTo>
                    <a:pt x="116" y="92"/>
                    <a:pt x="115" y="91"/>
                    <a:pt x="116" y="92"/>
                  </a:cubicBezTo>
                  <a:cubicBezTo>
                    <a:pt x="117" y="93"/>
                    <a:pt x="119" y="90"/>
                    <a:pt x="119" y="89"/>
                  </a:cubicBezTo>
                  <a:cubicBezTo>
                    <a:pt x="118" y="88"/>
                    <a:pt x="119" y="86"/>
                    <a:pt x="118" y="86"/>
                  </a:cubicBezTo>
                  <a:cubicBezTo>
                    <a:pt x="116" y="85"/>
                    <a:pt x="115" y="85"/>
                    <a:pt x="115" y="83"/>
                  </a:cubicBezTo>
                  <a:cubicBezTo>
                    <a:pt x="115" y="81"/>
                    <a:pt x="113" y="81"/>
                    <a:pt x="114" y="79"/>
                  </a:cubicBezTo>
                  <a:cubicBezTo>
                    <a:pt x="116" y="76"/>
                    <a:pt x="116" y="75"/>
                    <a:pt x="117" y="75"/>
                  </a:cubicBezTo>
                  <a:cubicBezTo>
                    <a:pt x="118" y="76"/>
                    <a:pt x="122" y="74"/>
                    <a:pt x="120" y="77"/>
                  </a:cubicBezTo>
                  <a:cubicBezTo>
                    <a:pt x="119" y="79"/>
                    <a:pt x="117" y="79"/>
                    <a:pt x="117" y="81"/>
                  </a:cubicBezTo>
                  <a:cubicBezTo>
                    <a:pt x="118" y="83"/>
                    <a:pt x="118" y="85"/>
                    <a:pt x="119" y="85"/>
                  </a:cubicBezTo>
                  <a:cubicBezTo>
                    <a:pt x="121" y="85"/>
                    <a:pt x="119" y="87"/>
                    <a:pt x="123" y="84"/>
                  </a:cubicBezTo>
                  <a:cubicBezTo>
                    <a:pt x="127" y="82"/>
                    <a:pt x="127" y="82"/>
                    <a:pt x="128" y="81"/>
                  </a:cubicBezTo>
                  <a:cubicBezTo>
                    <a:pt x="129" y="80"/>
                    <a:pt x="125" y="82"/>
                    <a:pt x="131" y="79"/>
                  </a:cubicBezTo>
                  <a:cubicBezTo>
                    <a:pt x="136" y="76"/>
                    <a:pt x="128" y="79"/>
                    <a:pt x="137" y="76"/>
                  </a:cubicBezTo>
                  <a:cubicBezTo>
                    <a:pt x="146" y="73"/>
                    <a:pt x="145" y="72"/>
                    <a:pt x="147" y="72"/>
                  </a:cubicBezTo>
                  <a:cubicBezTo>
                    <a:pt x="149" y="72"/>
                    <a:pt x="151" y="71"/>
                    <a:pt x="151" y="71"/>
                  </a:cubicBezTo>
                  <a:cubicBezTo>
                    <a:pt x="153" y="69"/>
                    <a:pt x="155" y="68"/>
                    <a:pt x="155" y="68"/>
                  </a:cubicBezTo>
                  <a:cubicBezTo>
                    <a:pt x="154" y="68"/>
                    <a:pt x="154" y="68"/>
                    <a:pt x="154" y="68"/>
                  </a:cubicBezTo>
                  <a:cubicBezTo>
                    <a:pt x="154" y="68"/>
                    <a:pt x="157" y="66"/>
                    <a:pt x="156" y="66"/>
                  </a:cubicBezTo>
                  <a:cubicBezTo>
                    <a:pt x="156" y="65"/>
                    <a:pt x="155" y="63"/>
                    <a:pt x="155" y="63"/>
                  </a:cubicBezTo>
                  <a:cubicBezTo>
                    <a:pt x="155" y="63"/>
                    <a:pt x="154" y="63"/>
                    <a:pt x="153" y="61"/>
                  </a:cubicBezTo>
                  <a:cubicBezTo>
                    <a:pt x="152" y="60"/>
                    <a:pt x="152" y="59"/>
                    <a:pt x="152" y="58"/>
                  </a:cubicBezTo>
                  <a:cubicBezTo>
                    <a:pt x="151" y="57"/>
                    <a:pt x="150" y="56"/>
                    <a:pt x="150" y="56"/>
                  </a:cubicBezTo>
                  <a:cubicBezTo>
                    <a:pt x="149" y="57"/>
                    <a:pt x="148" y="54"/>
                    <a:pt x="147" y="56"/>
                  </a:cubicBezTo>
                  <a:cubicBezTo>
                    <a:pt x="145" y="58"/>
                    <a:pt x="146" y="60"/>
                    <a:pt x="144" y="59"/>
                  </a:cubicBezTo>
                  <a:cubicBezTo>
                    <a:pt x="143" y="58"/>
                    <a:pt x="142" y="58"/>
                    <a:pt x="142" y="57"/>
                  </a:cubicBezTo>
                  <a:cubicBezTo>
                    <a:pt x="142" y="56"/>
                    <a:pt x="141" y="55"/>
                    <a:pt x="139" y="55"/>
                  </a:cubicBezTo>
                  <a:cubicBezTo>
                    <a:pt x="138" y="56"/>
                    <a:pt x="136" y="55"/>
                    <a:pt x="135" y="55"/>
                  </a:cubicBezTo>
                  <a:cubicBezTo>
                    <a:pt x="134" y="56"/>
                    <a:pt x="130" y="57"/>
                    <a:pt x="130" y="57"/>
                  </a:cubicBezTo>
                  <a:cubicBezTo>
                    <a:pt x="130" y="57"/>
                    <a:pt x="129" y="54"/>
                    <a:pt x="130" y="54"/>
                  </a:cubicBezTo>
                  <a:cubicBezTo>
                    <a:pt x="131" y="54"/>
                    <a:pt x="132" y="51"/>
                    <a:pt x="132" y="51"/>
                  </a:cubicBezTo>
                  <a:cubicBezTo>
                    <a:pt x="131" y="51"/>
                    <a:pt x="131" y="49"/>
                    <a:pt x="129" y="50"/>
                  </a:cubicBezTo>
                  <a:cubicBezTo>
                    <a:pt x="128" y="50"/>
                    <a:pt x="127" y="49"/>
                    <a:pt x="127" y="49"/>
                  </a:cubicBezTo>
                  <a:cubicBezTo>
                    <a:pt x="127" y="49"/>
                    <a:pt x="131" y="45"/>
                    <a:pt x="130" y="45"/>
                  </a:cubicBezTo>
                  <a:cubicBezTo>
                    <a:pt x="129" y="45"/>
                    <a:pt x="126" y="43"/>
                    <a:pt x="126" y="43"/>
                  </a:cubicBezTo>
                  <a:cubicBezTo>
                    <a:pt x="126" y="43"/>
                    <a:pt x="121" y="39"/>
                    <a:pt x="120" y="40"/>
                  </a:cubicBezTo>
                  <a:cubicBezTo>
                    <a:pt x="118" y="41"/>
                    <a:pt x="117" y="41"/>
                    <a:pt x="116" y="41"/>
                  </a:cubicBezTo>
                  <a:cubicBezTo>
                    <a:pt x="117" y="40"/>
                    <a:pt x="124" y="37"/>
                    <a:pt x="124" y="37"/>
                  </a:cubicBezTo>
                  <a:cubicBezTo>
                    <a:pt x="124" y="37"/>
                    <a:pt x="124" y="36"/>
                    <a:pt x="123" y="35"/>
                  </a:cubicBezTo>
                  <a:cubicBezTo>
                    <a:pt x="122" y="34"/>
                    <a:pt x="121" y="33"/>
                    <a:pt x="121" y="32"/>
                  </a:cubicBezTo>
                  <a:cubicBezTo>
                    <a:pt x="120" y="32"/>
                    <a:pt x="113" y="29"/>
                    <a:pt x="112" y="29"/>
                  </a:cubicBezTo>
                  <a:cubicBezTo>
                    <a:pt x="111" y="29"/>
                    <a:pt x="109" y="30"/>
                    <a:pt x="108" y="31"/>
                  </a:cubicBezTo>
                  <a:cubicBezTo>
                    <a:pt x="108" y="33"/>
                    <a:pt x="107" y="33"/>
                    <a:pt x="108" y="35"/>
                  </a:cubicBezTo>
                  <a:cubicBezTo>
                    <a:pt x="109" y="37"/>
                    <a:pt x="111" y="37"/>
                    <a:pt x="111" y="38"/>
                  </a:cubicBezTo>
                  <a:cubicBezTo>
                    <a:pt x="112" y="40"/>
                    <a:pt x="111" y="42"/>
                    <a:pt x="110" y="41"/>
                  </a:cubicBezTo>
                  <a:cubicBezTo>
                    <a:pt x="108" y="40"/>
                    <a:pt x="105" y="39"/>
                    <a:pt x="104" y="39"/>
                  </a:cubicBezTo>
                  <a:cubicBezTo>
                    <a:pt x="103" y="39"/>
                    <a:pt x="102" y="38"/>
                    <a:pt x="102" y="36"/>
                  </a:cubicBezTo>
                  <a:cubicBezTo>
                    <a:pt x="102" y="34"/>
                    <a:pt x="102" y="33"/>
                    <a:pt x="102" y="32"/>
                  </a:cubicBezTo>
                  <a:cubicBezTo>
                    <a:pt x="101" y="30"/>
                    <a:pt x="103" y="28"/>
                    <a:pt x="101" y="28"/>
                  </a:cubicBezTo>
                  <a:cubicBezTo>
                    <a:pt x="99" y="28"/>
                    <a:pt x="99" y="28"/>
                    <a:pt x="97" y="27"/>
                  </a:cubicBezTo>
                  <a:cubicBezTo>
                    <a:pt x="94" y="27"/>
                    <a:pt x="95" y="26"/>
                    <a:pt x="91" y="26"/>
                  </a:cubicBezTo>
                  <a:cubicBezTo>
                    <a:pt x="87" y="26"/>
                    <a:pt x="83" y="26"/>
                    <a:pt x="83" y="26"/>
                  </a:cubicBezTo>
                  <a:cubicBezTo>
                    <a:pt x="83" y="26"/>
                    <a:pt x="83" y="23"/>
                    <a:pt x="81" y="22"/>
                  </a:cubicBezTo>
                  <a:cubicBezTo>
                    <a:pt x="80" y="21"/>
                    <a:pt x="80" y="18"/>
                    <a:pt x="78" y="18"/>
                  </a:cubicBezTo>
                  <a:cubicBezTo>
                    <a:pt x="75" y="18"/>
                    <a:pt x="75" y="16"/>
                    <a:pt x="73" y="15"/>
                  </a:cubicBezTo>
                  <a:cubicBezTo>
                    <a:pt x="71" y="14"/>
                    <a:pt x="72" y="14"/>
                    <a:pt x="69" y="11"/>
                  </a:cubicBezTo>
                  <a:cubicBezTo>
                    <a:pt x="67" y="9"/>
                    <a:pt x="65" y="7"/>
                    <a:pt x="65" y="7"/>
                  </a:cubicBezTo>
                  <a:cubicBezTo>
                    <a:pt x="64" y="7"/>
                    <a:pt x="63" y="6"/>
                    <a:pt x="61" y="5"/>
                  </a:cubicBezTo>
                  <a:cubicBezTo>
                    <a:pt x="60" y="4"/>
                    <a:pt x="60" y="3"/>
                    <a:pt x="57" y="3"/>
                  </a:cubicBezTo>
                  <a:cubicBezTo>
                    <a:pt x="55" y="3"/>
                    <a:pt x="53" y="3"/>
                    <a:pt x="52" y="2"/>
                  </a:cubicBezTo>
                  <a:cubicBezTo>
                    <a:pt x="50" y="1"/>
                    <a:pt x="48" y="1"/>
                    <a:pt x="47" y="0"/>
                  </a:cubicBezTo>
                  <a:cubicBezTo>
                    <a:pt x="45" y="0"/>
                    <a:pt x="44" y="0"/>
                    <a:pt x="42" y="0"/>
                  </a:cubicBezTo>
                  <a:cubicBezTo>
                    <a:pt x="40" y="0"/>
                    <a:pt x="38" y="0"/>
                    <a:pt x="37" y="0"/>
                  </a:cubicBezTo>
                  <a:cubicBezTo>
                    <a:pt x="36" y="1"/>
                    <a:pt x="32" y="2"/>
                    <a:pt x="32" y="2"/>
                  </a:cubicBezTo>
                  <a:cubicBezTo>
                    <a:pt x="31" y="5"/>
                    <a:pt x="30" y="7"/>
                    <a:pt x="33" y="7"/>
                  </a:cubicBezTo>
                  <a:cubicBezTo>
                    <a:pt x="36" y="7"/>
                    <a:pt x="38" y="8"/>
                    <a:pt x="41" y="8"/>
                  </a:cubicBezTo>
                  <a:cubicBezTo>
                    <a:pt x="43" y="7"/>
                    <a:pt x="45" y="6"/>
                    <a:pt x="46" y="7"/>
                  </a:cubicBezTo>
                  <a:cubicBezTo>
                    <a:pt x="47" y="8"/>
                    <a:pt x="51" y="9"/>
                    <a:pt x="49" y="10"/>
                  </a:cubicBezTo>
                  <a:cubicBezTo>
                    <a:pt x="48" y="11"/>
                    <a:pt x="44" y="9"/>
                    <a:pt x="42" y="10"/>
                  </a:cubicBezTo>
                  <a:cubicBezTo>
                    <a:pt x="40" y="10"/>
                    <a:pt x="37" y="11"/>
                    <a:pt x="35" y="10"/>
                  </a:cubicBezTo>
                  <a:cubicBezTo>
                    <a:pt x="34" y="10"/>
                    <a:pt x="32" y="8"/>
                    <a:pt x="33" y="10"/>
                  </a:cubicBezTo>
                  <a:cubicBezTo>
                    <a:pt x="33" y="12"/>
                    <a:pt x="31" y="14"/>
                    <a:pt x="31" y="14"/>
                  </a:cubicBezTo>
                  <a:cubicBezTo>
                    <a:pt x="29" y="13"/>
                    <a:pt x="29" y="13"/>
                    <a:pt x="29" y="13"/>
                  </a:cubicBezTo>
                  <a:cubicBezTo>
                    <a:pt x="26" y="11"/>
                    <a:pt x="22" y="11"/>
                    <a:pt x="21" y="11"/>
                  </a:cubicBezTo>
                  <a:cubicBezTo>
                    <a:pt x="20" y="12"/>
                    <a:pt x="17" y="12"/>
                    <a:pt x="17" y="14"/>
                  </a:cubicBezTo>
                  <a:cubicBezTo>
                    <a:pt x="17" y="16"/>
                    <a:pt x="16" y="16"/>
                    <a:pt x="17" y="18"/>
                  </a:cubicBezTo>
                  <a:cubicBezTo>
                    <a:pt x="18" y="19"/>
                    <a:pt x="18" y="20"/>
                    <a:pt x="20" y="20"/>
                  </a:cubicBezTo>
                  <a:cubicBezTo>
                    <a:pt x="23" y="21"/>
                    <a:pt x="25" y="21"/>
                    <a:pt x="26" y="21"/>
                  </a:cubicBezTo>
                  <a:cubicBezTo>
                    <a:pt x="28" y="21"/>
                    <a:pt x="29" y="21"/>
                    <a:pt x="31" y="21"/>
                  </a:cubicBezTo>
                  <a:cubicBezTo>
                    <a:pt x="32" y="22"/>
                    <a:pt x="32" y="23"/>
                    <a:pt x="32" y="23"/>
                  </a:cubicBezTo>
                  <a:cubicBezTo>
                    <a:pt x="32" y="23"/>
                    <a:pt x="30" y="25"/>
                    <a:pt x="29" y="25"/>
                  </a:cubicBezTo>
                  <a:cubicBezTo>
                    <a:pt x="28" y="26"/>
                    <a:pt x="26" y="26"/>
                    <a:pt x="25" y="26"/>
                  </a:cubicBezTo>
                  <a:cubicBezTo>
                    <a:pt x="24" y="25"/>
                    <a:pt x="24" y="23"/>
                    <a:pt x="22" y="22"/>
                  </a:cubicBezTo>
                  <a:cubicBezTo>
                    <a:pt x="21" y="22"/>
                    <a:pt x="19" y="21"/>
                    <a:pt x="18" y="22"/>
                  </a:cubicBezTo>
                  <a:cubicBezTo>
                    <a:pt x="16" y="24"/>
                    <a:pt x="15" y="22"/>
                    <a:pt x="13" y="23"/>
                  </a:cubicBezTo>
                  <a:cubicBezTo>
                    <a:pt x="11" y="24"/>
                    <a:pt x="11" y="22"/>
                    <a:pt x="9" y="23"/>
                  </a:cubicBezTo>
                  <a:cubicBezTo>
                    <a:pt x="9" y="23"/>
                    <a:pt x="13" y="24"/>
                    <a:pt x="12" y="26"/>
                  </a:cubicBezTo>
                  <a:cubicBezTo>
                    <a:pt x="11" y="27"/>
                    <a:pt x="8" y="29"/>
                    <a:pt x="8" y="29"/>
                  </a:cubicBezTo>
                  <a:cubicBezTo>
                    <a:pt x="8" y="29"/>
                    <a:pt x="11" y="31"/>
                    <a:pt x="11" y="32"/>
                  </a:cubicBezTo>
                  <a:cubicBezTo>
                    <a:pt x="12" y="34"/>
                    <a:pt x="5" y="31"/>
                    <a:pt x="4" y="32"/>
                  </a:cubicBezTo>
                  <a:cubicBezTo>
                    <a:pt x="3" y="34"/>
                    <a:pt x="3" y="31"/>
                    <a:pt x="3" y="34"/>
                  </a:cubicBezTo>
                  <a:cubicBezTo>
                    <a:pt x="3" y="36"/>
                    <a:pt x="0" y="37"/>
                    <a:pt x="4" y="37"/>
                  </a:cubicBezTo>
                  <a:cubicBezTo>
                    <a:pt x="8" y="37"/>
                    <a:pt x="11" y="38"/>
                    <a:pt x="12" y="38"/>
                  </a:cubicBezTo>
                  <a:cubicBezTo>
                    <a:pt x="14" y="38"/>
                    <a:pt x="15" y="37"/>
                    <a:pt x="17" y="38"/>
                  </a:cubicBezTo>
                  <a:cubicBezTo>
                    <a:pt x="19" y="39"/>
                    <a:pt x="18" y="40"/>
                    <a:pt x="21" y="39"/>
                  </a:cubicBezTo>
                  <a:cubicBezTo>
                    <a:pt x="24" y="38"/>
                    <a:pt x="28" y="41"/>
                    <a:pt x="29" y="40"/>
                  </a:cubicBezTo>
                  <a:cubicBezTo>
                    <a:pt x="29" y="39"/>
                    <a:pt x="36" y="34"/>
                    <a:pt x="33" y="38"/>
                  </a:cubicBezTo>
                  <a:cubicBezTo>
                    <a:pt x="30" y="41"/>
                    <a:pt x="29" y="42"/>
                    <a:pt x="24" y="42"/>
                  </a:cubicBezTo>
                  <a:cubicBezTo>
                    <a:pt x="20" y="43"/>
                    <a:pt x="18" y="42"/>
                    <a:pt x="16" y="42"/>
                  </a:cubicBezTo>
                  <a:cubicBezTo>
                    <a:pt x="14" y="43"/>
                    <a:pt x="14" y="42"/>
                    <a:pt x="11" y="42"/>
                  </a:cubicBezTo>
                  <a:cubicBezTo>
                    <a:pt x="8" y="42"/>
                    <a:pt x="10" y="42"/>
                    <a:pt x="7" y="40"/>
                  </a:cubicBezTo>
                  <a:cubicBezTo>
                    <a:pt x="4" y="38"/>
                    <a:pt x="1" y="40"/>
                    <a:pt x="1" y="40"/>
                  </a:cubicBezTo>
                  <a:cubicBezTo>
                    <a:pt x="1" y="40"/>
                    <a:pt x="0" y="40"/>
                    <a:pt x="1" y="43"/>
                  </a:cubicBezTo>
                  <a:cubicBezTo>
                    <a:pt x="2" y="46"/>
                    <a:pt x="6" y="48"/>
                    <a:pt x="6" y="5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61" name="Freeform 20"/>
            <p:cNvSpPr>
              <a:spLocks/>
            </p:cNvSpPr>
            <p:nvPr/>
          </p:nvSpPr>
          <p:spPr bwMode="auto">
            <a:xfrm>
              <a:off x="3151" y="1468"/>
              <a:ext cx="35" cy="24"/>
            </a:xfrm>
            <a:custGeom>
              <a:avLst/>
              <a:gdLst>
                <a:gd name="T0" fmla="*/ 1 w 47"/>
                <a:gd name="T1" fmla="*/ 10 h 32"/>
                <a:gd name="T2" fmla="*/ 3 w 47"/>
                <a:gd name="T3" fmla="*/ 17 h 32"/>
                <a:gd name="T4" fmla="*/ 7 w 47"/>
                <a:gd name="T5" fmla="*/ 19 h 32"/>
                <a:gd name="T6" fmla="*/ 11 w 47"/>
                <a:gd name="T7" fmla="*/ 19 h 32"/>
                <a:gd name="T8" fmla="*/ 16 w 47"/>
                <a:gd name="T9" fmla="*/ 22 h 32"/>
                <a:gd name="T10" fmla="*/ 8 w 47"/>
                <a:gd name="T11" fmla="*/ 24 h 32"/>
                <a:gd name="T12" fmla="*/ 12 w 47"/>
                <a:gd name="T13" fmla="*/ 25 h 32"/>
                <a:gd name="T14" fmla="*/ 14 w 47"/>
                <a:gd name="T15" fmla="*/ 28 h 32"/>
                <a:gd name="T16" fmla="*/ 16 w 47"/>
                <a:gd name="T17" fmla="*/ 30 h 32"/>
                <a:gd name="T18" fmla="*/ 21 w 47"/>
                <a:gd name="T19" fmla="*/ 32 h 32"/>
                <a:gd name="T20" fmla="*/ 25 w 47"/>
                <a:gd name="T21" fmla="*/ 30 h 32"/>
                <a:gd name="T22" fmla="*/ 27 w 47"/>
                <a:gd name="T23" fmla="*/ 29 h 32"/>
                <a:gd name="T24" fmla="*/ 29 w 47"/>
                <a:gd name="T25" fmla="*/ 31 h 32"/>
                <a:gd name="T26" fmla="*/ 35 w 47"/>
                <a:gd name="T27" fmla="*/ 29 h 32"/>
                <a:gd name="T28" fmla="*/ 41 w 47"/>
                <a:gd name="T29" fmla="*/ 28 h 32"/>
                <a:gd name="T30" fmla="*/ 45 w 47"/>
                <a:gd name="T31" fmla="*/ 26 h 32"/>
                <a:gd name="T32" fmla="*/ 46 w 47"/>
                <a:gd name="T33" fmla="*/ 23 h 32"/>
                <a:gd name="T34" fmla="*/ 43 w 47"/>
                <a:gd name="T35" fmla="*/ 20 h 32"/>
                <a:gd name="T36" fmla="*/ 47 w 47"/>
                <a:gd name="T37" fmla="*/ 17 h 32"/>
                <a:gd name="T38" fmla="*/ 46 w 47"/>
                <a:gd name="T39" fmla="*/ 15 h 32"/>
                <a:gd name="T40" fmla="*/ 43 w 47"/>
                <a:gd name="T41" fmla="*/ 13 h 32"/>
                <a:gd name="T42" fmla="*/ 35 w 47"/>
                <a:gd name="T43" fmla="*/ 12 h 32"/>
                <a:gd name="T44" fmla="*/ 32 w 47"/>
                <a:gd name="T45" fmla="*/ 12 h 32"/>
                <a:gd name="T46" fmla="*/ 30 w 47"/>
                <a:gd name="T47" fmla="*/ 9 h 32"/>
                <a:gd name="T48" fmla="*/ 28 w 47"/>
                <a:gd name="T49" fmla="*/ 6 h 32"/>
                <a:gd name="T50" fmla="*/ 20 w 47"/>
                <a:gd name="T51" fmla="*/ 5 h 32"/>
                <a:gd name="T52" fmla="*/ 14 w 47"/>
                <a:gd name="T53" fmla="*/ 3 h 32"/>
                <a:gd name="T54" fmla="*/ 9 w 47"/>
                <a:gd name="T55" fmla="*/ 1 h 32"/>
                <a:gd name="T56" fmla="*/ 2 w 47"/>
                <a:gd name="T57" fmla="*/ 2 h 32"/>
                <a:gd name="T58" fmla="*/ 1 w 47"/>
                <a:gd name="T59" fmla="*/ 5 h 32"/>
                <a:gd name="T60" fmla="*/ 1 w 47"/>
                <a:gd name="T61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7" h="32">
                  <a:moveTo>
                    <a:pt x="1" y="10"/>
                  </a:moveTo>
                  <a:cubicBezTo>
                    <a:pt x="1" y="13"/>
                    <a:pt x="1" y="11"/>
                    <a:pt x="3" y="17"/>
                  </a:cubicBezTo>
                  <a:cubicBezTo>
                    <a:pt x="6" y="23"/>
                    <a:pt x="4" y="18"/>
                    <a:pt x="7" y="19"/>
                  </a:cubicBezTo>
                  <a:cubicBezTo>
                    <a:pt x="10" y="20"/>
                    <a:pt x="9" y="20"/>
                    <a:pt x="11" y="19"/>
                  </a:cubicBezTo>
                  <a:cubicBezTo>
                    <a:pt x="13" y="19"/>
                    <a:pt x="13" y="21"/>
                    <a:pt x="16" y="22"/>
                  </a:cubicBezTo>
                  <a:cubicBezTo>
                    <a:pt x="18" y="23"/>
                    <a:pt x="16" y="22"/>
                    <a:pt x="8" y="24"/>
                  </a:cubicBezTo>
                  <a:cubicBezTo>
                    <a:pt x="8" y="24"/>
                    <a:pt x="10" y="25"/>
                    <a:pt x="12" y="25"/>
                  </a:cubicBezTo>
                  <a:cubicBezTo>
                    <a:pt x="14" y="25"/>
                    <a:pt x="13" y="27"/>
                    <a:pt x="14" y="28"/>
                  </a:cubicBezTo>
                  <a:cubicBezTo>
                    <a:pt x="14" y="28"/>
                    <a:pt x="15" y="29"/>
                    <a:pt x="16" y="30"/>
                  </a:cubicBezTo>
                  <a:cubicBezTo>
                    <a:pt x="16" y="31"/>
                    <a:pt x="18" y="32"/>
                    <a:pt x="21" y="32"/>
                  </a:cubicBezTo>
                  <a:cubicBezTo>
                    <a:pt x="22" y="31"/>
                    <a:pt x="21" y="32"/>
                    <a:pt x="25" y="30"/>
                  </a:cubicBezTo>
                  <a:cubicBezTo>
                    <a:pt x="28" y="28"/>
                    <a:pt x="26" y="29"/>
                    <a:pt x="27" y="29"/>
                  </a:cubicBezTo>
                  <a:cubicBezTo>
                    <a:pt x="27" y="29"/>
                    <a:pt x="26" y="30"/>
                    <a:pt x="29" y="31"/>
                  </a:cubicBezTo>
                  <a:cubicBezTo>
                    <a:pt x="32" y="32"/>
                    <a:pt x="32" y="30"/>
                    <a:pt x="35" y="29"/>
                  </a:cubicBezTo>
                  <a:cubicBezTo>
                    <a:pt x="37" y="28"/>
                    <a:pt x="38" y="29"/>
                    <a:pt x="41" y="28"/>
                  </a:cubicBezTo>
                  <a:cubicBezTo>
                    <a:pt x="43" y="28"/>
                    <a:pt x="43" y="27"/>
                    <a:pt x="45" y="26"/>
                  </a:cubicBezTo>
                  <a:cubicBezTo>
                    <a:pt x="47" y="25"/>
                    <a:pt x="46" y="24"/>
                    <a:pt x="46" y="23"/>
                  </a:cubicBezTo>
                  <a:cubicBezTo>
                    <a:pt x="46" y="21"/>
                    <a:pt x="43" y="21"/>
                    <a:pt x="43" y="20"/>
                  </a:cubicBezTo>
                  <a:cubicBezTo>
                    <a:pt x="42" y="19"/>
                    <a:pt x="47" y="17"/>
                    <a:pt x="47" y="17"/>
                  </a:cubicBezTo>
                  <a:cubicBezTo>
                    <a:pt x="47" y="17"/>
                    <a:pt x="46" y="17"/>
                    <a:pt x="46" y="15"/>
                  </a:cubicBezTo>
                  <a:cubicBezTo>
                    <a:pt x="46" y="12"/>
                    <a:pt x="43" y="13"/>
                    <a:pt x="43" y="13"/>
                  </a:cubicBezTo>
                  <a:cubicBezTo>
                    <a:pt x="43" y="13"/>
                    <a:pt x="39" y="12"/>
                    <a:pt x="35" y="12"/>
                  </a:cubicBezTo>
                  <a:cubicBezTo>
                    <a:pt x="31" y="11"/>
                    <a:pt x="34" y="12"/>
                    <a:pt x="32" y="12"/>
                  </a:cubicBezTo>
                  <a:cubicBezTo>
                    <a:pt x="31" y="12"/>
                    <a:pt x="29" y="11"/>
                    <a:pt x="30" y="9"/>
                  </a:cubicBezTo>
                  <a:cubicBezTo>
                    <a:pt x="30" y="7"/>
                    <a:pt x="29" y="7"/>
                    <a:pt x="28" y="6"/>
                  </a:cubicBezTo>
                  <a:cubicBezTo>
                    <a:pt x="27" y="5"/>
                    <a:pt x="21" y="7"/>
                    <a:pt x="20" y="5"/>
                  </a:cubicBezTo>
                  <a:cubicBezTo>
                    <a:pt x="18" y="4"/>
                    <a:pt x="16" y="4"/>
                    <a:pt x="14" y="3"/>
                  </a:cubicBezTo>
                  <a:cubicBezTo>
                    <a:pt x="12" y="2"/>
                    <a:pt x="10" y="2"/>
                    <a:pt x="9" y="1"/>
                  </a:cubicBezTo>
                  <a:cubicBezTo>
                    <a:pt x="8" y="0"/>
                    <a:pt x="4" y="2"/>
                    <a:pt x="2" y="2"/>
                  </a:cubicBezTo>
                  <a:cubicBezTo>
                    <a:pt x="0" y="2"/>
                    <a:pt x="1" y="4"/>
                    <a:pt x="1" y="5"/>
                  </a:cubicBezTo>
                  <a:cubicBezTo>
                    <a:pt x="1" y="7"/>
                    <a:pt x="2" y="7"/>
                    <a:pt x="1" y="1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62" name="Line 21"/>
            <p:cNvSpPr>
              <a:spLocks noChangeShapeType="1"/>
            </p:cNvSpPr>
            <p:nvPr/>
          </p:nvSpPr>
          <p:spPr bwMode="auto">
            <a:xfrm>
              <a:off x="3167" y="1492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63" name="Line 22"/>
            <p:cNvSpPr>
              <a:spLocks noChangeShapeType="1"/>
            </p:cNvSpPr>
            <p:nvPr/>
          </p:nvSpPr>
          <p:spPr bwMode="auto">
            <a:xfrm>
              <a:off x="3167" y="1492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64" name="Freeform 23"/>
            <p:cNvSpPr>
              <a:spLocks/>
            </p:cNvSpPr>
            <p:nvPr/>
          </p:nvSpPr>
          <p:spPr bwMode="auto">
            <a:xfrm>
              <a:off x="3171" y="1490"/>
              <a:ext cx="33" cy="11"/>
            </a:xfrm>
            <a:custGeom>
              <a:avLst/>
              <a:gdLst>
                <a:gd name="T0" fmla="*/ 7 w 45"/>
                <a:gd name="T1" fmla="*/ 11 h 14"/>
                <a:gd name="T2" fmla="*/ 10 w 45"/>
                <a:gd name="T3" fmla="*/ 11 h 14"/>
                <a:gd name="T4" fmla="*/ 13 w 45"/>
                <a:gd name="T5" fmla="*/ 13 h 14"/>
                <a:gd name="T6" fmla="*/ 19 w 45"/>
                <a:gd name="T7" fmla="*/ 12 h 14"/>
                <a:gd name="T8" fmla="*/ 25 w 45"/>
                <a:gd name="T9" fmla="*/ 11 h 14"/>
                <a:gd name="T10" fmla="*/ 32 w 45"/>
                <a:gd name="T11" fmla="*/ 13 h 14"/>
                <a:gd name="T12" fmla="*/ 35 w 45"/>
                <a:gd name="T13" fmla="*/ 12 h 14"/>
                <a:gd name="T14" fmla="*/ 41 w 45"/>
                <a:gd name="T15" fmla="*/ 12 h 14"/>
                <a:gd name="T16" fmla="*/ 43 w 45"/>
                <a:gd name="T17" fmla="*/ 9 h 14"/>
                <a:gd name="T18" fmla="*/ 44 w 45"/>
                <a:gd name="T19" fmla="*/ 6 h 14"/>
                <a:gd name="T20" fmla="*/ 40 w 45"/>
                <a:gd name="T21" fmla="*/ 3 h 14"/>
                <a:gd name="T22" fmla="*/ 34 w 45"/>
                <a:gd name="T23" fmla="*/ 2 h 14"/>
                <a:gd name="T24" fmla="*/ 28 w 45"/>
                <a:gd name="T25" fmla="*/ 1 h 14"/>
                <a:gd name="T26" fmla="*/ 18 w 45"/>
                <a:gd name="T27" fmla="*/ 3 h 14"/>
                <a:gd name="T28" fmla="*/ 14 w 45"/>
                <a:gd name="T29" fmla="*/ 3 h 14"/>
                <a:gd name="T30" fmla="*/ 12 w 45"/>
                <a:gd name="T31" fmla="*/ 3 h 14"/>
                <a:gd name="T32" fmla="*/ 6 w 45"/>
                <a:gd name="T33" fmla="*/ 3 h 14"/>
                <a:gd name="T34" fmla="*/ 3 w 45"/>
                <a:gd name="T35" fmla="*/ 6 h 14"/>
                <a:gd name="T36" fmla="*/ 2 w 45"/>
                <a:gd name="T37" fmla="*/ 8 h 14"/>
                <a:gd name="T38" fmla="*/ 7 w 45"/>
                <a:gd name="T39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5" h="14">
                  <a:moveTo>
                    <a:pt x="7" y="11"/>
                  </a:moveTo>
                  <a:cubicBezTo>
                    <a:pt x="8" y="11"/>
                    <a:pt x="9" y="10"/>
                    <a:pt x="10" y="11"/>
                  </a:cubicBezTo>
                  <a:cubicBezTo>
                    <a:pt x="11" y="12"/>
                    <a:pt x="12" y="14"/>
                    <a:pt x="13" y="13"/>
                  </a:cubicBezTo>
                  <a:cubicBezTo>
                    <a:pt x="14" y="13"/>
                    <a:pt x="18" y="12"/>
                    <a:pt x="19" y="12"/>
                  </a:cubicBezTo>
                  <a:cubicBezTo>
                    <a:pt x="21" y="12"/>
                    <a:pt x="24" y="11"/>
                    <a:pt x="25" y="11"/>
                  </a:cubicBezTo>
                  <a:cubicBezTo>
                    <a:pt x="26" y="12"/>
                    <a:pt x="31" y="12"/>
                    <a:pt x="32" y="13"/>
                  </a:cubicBezTo>
                  <a:cubicBezTo>
                    <a:pt x="33" y="13"/>
                    <a:pt x="34" y="11"/>
                    <a:pt x="35" y="12"/>
                  </a:cubicBezTo>
                  <a:cubicBezTo>
                    <a:pt x="37" y="13"/>
                    <a:pt x="41" y="12"/>
                    <a:pt x="41" y="12"/>
                  </a:cubicBezTo>
                  <a:cubicBezTo>
                    <a:pt x="41" y="12"/>
                    <a:pt x="43" y="10"/>
                    <a:pt x="43" y="9"/>
                  </a:cubicBezTo>
                  <a:cubicBezTo>
                    <a:pt x="43" y="8"/>
                    <a:pt x="45" y="8"/>
                    <a:pt x="44" y="6"/>
                  </a:cubicBezTo>
                  <a:cubicBezTo>
                    <a:pt x="42" y="4"/>
                    <a:pt x="44" y="3"/>
                    <a:pt x="40" y="3"/>
                  </a:cubicBezTo>
                  <a:cubicBezTo>
                    <a:pt x="37" y="3"/>
                    <a:pt x="36" y="1"/>
                    <a:pt x="34" y="2"/>
                  </a:cubicBezTo>
                  <a:cubicBezTo>
                    <a:pt x="32" y="2"/>
                    <a:pt x="33" y="0"/>
                    <a:pt x="28" y="1"/>
                  </a:cubicBezTo>
                  <a:cubicBezTo>
                    <a:pt x="24" y="1"/>
                    <a:pt x="20" y="3"/>
                    <a:pt x="18" y="3"/>
                  </a:cubicBezTo>
                  <a:cubicBezTo>
                    <a:pt x="16" y="3"/>
                    <a:pt x="14" y="3"/>
                    <a:pt x="14" y="3"/>
                  </a:cubicBezTo>
                  <a:cubicBezTo>
                    <a:pt x="14" y="3"/>
                    <a:pt x="12" y="2"/>
                    <a:pt x="12" y="3"/>
                  </a:cubicBezTo>
                  <a:cubicBezTo>
                    <a:pt x="8" y="3"/>
                    <a:pt x="8" y="2"/>
                    <a:pt x="6" y="3"/>
                  </a:cubicBezTo>
                  <a:cubicBezTo>
                    <a:pt x="5" y="4"/>
                    <a:pt x="3" y="6"/>
                    <a:pt x="3" y="6"/>
                  </a:cubicBezTo>
                  <a:cubicBezTo>
                    <a:pt x="2" y="6"/>
                    <a:pt x="0" y="8"/>
                    <a:pt x="2" y="8"/>
                  </a:cubicBezTo>
                  <a:cubicBezTo>
                    <a:pt x="4" y="9"/>
                    <a:pt x="6" y="11"/>
                    <a:pt x="7" y="1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65" name="Freeform 24"/>
            <p:cNvSpPr>
              <a:spLocks/>
            </p:cNvSpPr>
            <p:nvPr/>
          </p:nvSpPr>
          <p:spPr bwMode="auto">
            <a:xfrm>
              <a:off x="3219" y="1492"/>
              <a:ext cx="21" cy="13"/>
            </a:xfrm>
            <a:custGeom>
              <a:avLst/>
              <a:gdLst>
                <a:gd name="T0" fmla="*/ 13 w 28"/>
                <a:gd name="T1" fmla="*/ 2 h 17"/>
                <a:gd name="T2" fmla="*/ 5 w 28"/>
                <a:gd name="T3" fmla="*/ 8 h 17"/>
                <a:gd name="T4" fmla="*/ 7 w 28"/>
                <a:gd name="T5" fmla="*/ 11 h 17"/>
                <a:gd name="T6" fmla="*/ 6 w 28"/>
                <a:gd name="T7" fmla="*/ 14 h 17"/>
                <a:gd name="T8" fmla="*/ 7 w 28"/>
                <a:gd name="T9" fmla="*/ 16 h 17"/>
                <a:gd name="T10" fmla="*/ 9 w 28"/>
                <a:gd name="T11" fmla="*/ 16 h 17"/>
                <a:gd name="T12" fmla="*/ 11 w 28"/>
                <a:gd name="T13" fmla="*/ 16 h 17"/>
                <a:gd name="T14" fmla="*/ 12 w 28"/>
                <a:gd name="T15" fmla="*/ 13 h 17"/>
                <a:gd name="T16" fmla="*/ 15 w 28"/>
                <a:gd name="T17" fmla="*/ 15 h 17"/>
                <a:gd name="T18" fmla="*/ 18 w 28"/>
                <a:gd name="T19" fmla="*/ 15 h 17"/>
                <a:gd name="T20" fmla="*/ 23 w 28"/>
                <a:gd name="T21" fmla="*/ 17 h 17"/>
                <a:gd name="T22" fmla="*/ 26 w 28"/>
                <a:gd name="T23" fmla="*/ 16 h 17"/>
                <a:gd name="T24" fmla="*/ 27 w 28"/>
                <a:gd name="T25" fmla="*/ 9 h 17"/>
                <a:gd name="T26" fmla="*/ 25 w 28"/>
                <a:gd name="T27" fmla="*/ 7 h 17"/>
                <a:gd name="T28" fmla="*/ 21 w 28"/>
                <a:gd name="T29" fmla="*/ 4 h 17"/>
                <a:gd name="T30" fmla="*/ 13 w 28"/>
                <a:gd name="T31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" h="17">
                  <a:moveTo>
                    <a:pt x="13" y="2"/>
                  </a:moveTo>
                  <a:cubicBezTo>
                    <a:pt x="0" y="3"/>
                    <a:pt x="5" y="7"/>
                    <a:pt x="5" y="8"/>
                  </a:cubicBezTo>
                  <a:cubicBezTo>
                    <a:pt x="5" y="9"/>
                    <a:pt x="6" y="10"/>
                    <a:pt x="7" y="11"/>
                  </a:cubicBezTo>
                  <a:cubicBezTo>
                    <a:pt x="8" y="13"/>
                    <a:pt x="7" y="13"/>
                    <a:pt x="6" y="14"/>
                  </a:cubicBezTo>
                  <a:cubicBezTo>
                    <a:pt x="5" y="14"/>
                    <a:pt x="6" y="15"/>
                    <a:pt x="7" y="16"/>
                  </a:cubicBezTo>
                  <a:cubicBezTo>
                    <a:pt x="8" y="16"/>
                    <a:pt x="8" y="17"/>
                    <a:pt x="9" y="16"/>
                  </a:cubicBezTo>
                  <a:cubicBezTo>
                    <a:pt x="10" y="16"/>
                    <a:pt x="11" y="17"/>
                    <a:pt x="11" y="16"/>
                  </a:cubicBezTo>
                  <a:cubicBezTo>
                    <a:pt x="12" y="14"/>
                    <a:pt x="12" y="14"/>
                    <a:pt x="12" y="13"/>
                  </a:cubicBezTo>
                  <a:cubicBezTo>
                    <a:pt x="12" y="13"/>
                    <a:pt x="14" y="16"/>
                    <a:pt x="15" y="15"/>
                  </a:cubicBezTo>
                  <a:cubicBezTo>
                    <a:pt x="16" y="14"/>
                    <a:pt x="15" y="15"/>
                    <a:pt x="18" y="15"/>
                  </a:cubicBezTo>
                  <a:cubicBezTo>
                    <a:pt x="21" y="16"/>
                    <a:pt x="21" y="17"/>
                    <a:pt x="23" y="17"/>
                  </a:cubicBezTo>
                  <a:cubicBezTo>
                    <a:pt x="25" y="17"/>
                    <a:pt x="25" y="16"/>
                    <a:pt x="26" y="16"/>
                  </a:cubicBezTo>
                  <a:cubicBezTo>
                    <a:pt x="28" y="15"/>
                    <a:pt x="27" y="11"/>
                    <a:pt x="27" y="9"/>
                  </a:cubicBezTo>
                  <a:cubicBezTo>
                    <a:pt x="26" y="7"/>
                    <a:pt x="26" y="7"/>
                    <a:pt x="25" y="7"/>
                  </a:cubicBezTo>
                  <a:cubicBezTo>
                    <a:pt x="23" y="6"/>
                    <a:pt x="22" y="7"/>
                    <a:pt x="21" y="4"/>
                  </a:cubicBezTo>
                  <a:cubicBezTo>
                    <a:pt x="20" y="2"/>
                    <a:pt x="25" y="0"/>
                    <a:pt x="13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66" name="Freeform 25"/>
            <p:cNvSpPr>
              <a:spLocks/>
            </p:cNvSpPr>
            <p:nvPr/>
          </p:nvSpPr>
          <p:spPr bwMode="auto">
            <a:xfrm>
              <a:off x="3167" y="1507"/>
              <a:ext cx="38" cy="19"/>
            </a:xfrm>
            <a:custGeom>
              <a:avLst/>
              <a:gdLst>
                <a:gd name="T0" fmla="*/ 45 w 51"/>
                <a:gd name="T1" fmla="*/ 17 h 25"/>
                <a:gd name="T2" fmla="*/ 48 w 51"/>
                <a:gd name="T3" fmla="*/ 14 h 25"/>
                <a:gd name="T4" fmla="*/ 49 w 51"/>
                <a:gd name="T5" fmla="*/ 11 h 25"/>
                <a:gd name="T6" fmla="*/ 45 w 51"/>
                <a:gd name="T7" fmla="*/ 6 h 25"/>
                <a:gd name="T8" fmla="*/ 41 w 51"/>
                <a:gd name="T9" fmla="*/ 5 h 25"/>
                <a:gd name="T10" fmla="*/ 37 w 51"/>
                <a:gd name="T11" fmla="*/ 4 h 25"/>
                <a:gd name="T12" fmla="*/ 33 w 51"/>
                <a:gd name="T13" fmla="*/ 4 h 25"/>
                <a:gd name="T14" fmla="*/ 31 w 51"/>
                <a:gd name="T15" fmla="*/ 4 h 25"/>
                <a:gd name="T16" fmla="*/ 29 w 51"/>
                <a:gd name="T17" fmla="*/ 3 h 25"/>
                <a:gd name="T18" fmla="*/ 25 w 51"/>
                <a:gd name="T19" fmla="*/ 2 h 25"/>
                <a:gd name="T20" fmla="*/ 19 w 51"/>
                <a:gd name="T21" fmla="*/ 1 h 25"/>
                <a:gd name="T22" fmla="*/ 10 w 51"/>
                <a:gd name="T23" fmla="*/ 0 h 25"/>
                <a:gd name="T24" fmla="*/ 3 w 51"/>
                <a:gd name="T25" fmla="*/ 3 h 25"/>
                <a:gd name="T26" fmla="*/ 1 w 51"/>
                <a:gd name="T27" fmla="*/ 5 h 25"/>
                <a:gd name="T28" fmla="*/ 0 w 51"/>
                <a:gd name="T29" fmla="*/ 8 h 25"/>
                <a:gd name="T30" fmla="*/ 1 w 51"/>
                <a:gd name="T31" fmla="*/ 11 h 25"/>
                <a:gd name="T32" fmla="*/ 5 w 51"/>
                <a:gd name="T33" fmla="*/ 12 h 25"/>
                <a:gd name="T34" fmla="*/ 7 w 51"/>
                <a:gd name="T35" fmla="*/ 14 h 25"/>
                <a:gd name="T36" fmla="*/ 11 w 51"/>
                <a:gd name="T37" fmla="*/ 15 h 25"/>
                <a:gd name="T38" fmla="*/ 14 w 51"/>
                <a:gd name="T39" fmla="*/ 15 h 25"/>
                <a:gd name="T40" fmla="*/ 12 w 51"/>
                <a:gd name="T41" fmla="*/ 18 h 25"/>
                <a:gd name="T42" fmla="*/ 16 w 51"/>
                <a:gd name="T43" fmla="*/ 19 h 25"/>
                <a:gd name="T44" fmla="*/ 19 w 51"/>
                <a:gd name="T45" fmla="*/ 20 h 25"/>
                <a:gd name="T46" fmla="*/ 21 w 51"/>
                <a:gd name="T47" fmla="*/ 19 h 25"/>
                <a:gd name="T48" fmla="*/ 23 w 51"/>
                <a:gd name="T49" fmla="*/ 21 h 25"/>
                <a:gd name="T50" fmla="*/ 26 w 51"/>
                <a:gd name="T51" fmla="*/ 21 h 25"/>
                <a:gd name="T52" fmla="*/ 30 w 51"/>
                <a:gd name="T53" fmla="*/ 23 h 25"/>
                <a:gd name="T54" fmla="*/ 33 w 51"/>
                <a:gd name="T55" fmla="*/ 24 h 25"/>
                <a:gd name="T56" fmla="*/ 37 w 51"/>
                <a:gd name="T57" fmla="*/ 24 h 25"/>
                <a:gd name="T58" fmla="*/ 43 w 51"/>
                <a:gd name="T59" fmla="*/ 23 h 25"/>
                <a:gd name="T60" fmla="*/ 45 w 51"/>
                <a:gd name="T61" fmla="*/ 22 h 25"/>
                <a:gd name="T62" fmla="*/ 46 w 51"/>
                <a:gd name="T63" fmla="*/ 20 h 25"/>
                <a:gd name="T64" fmla="*/ 45 w 51"/>
                <a:gd name="T65" fmla="*/ 1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1" h="25">
                  <a:moveTo>
                    <a:pt x="45" y="17"/>
                  </a:moveTo>
                  <a:cubicBezTo>
                    <a:pt x="46" y="16"/>
                    <a:pt x="47" y="16"/>
                    <a:pt x="48" y="14"/>
                  </a:cubicBezTo>
                  <a:cubicBezTo>
                    <a:pt x="49" y="13"/>
                    <a:pt x="51" y="14"/>
                    <a:pt x="49" y="11"/>
                  </a:cubicBezTo>
                  <a:cubicBezTo>
                    <a:pt x="48" y="8"/>
                    <a:pt x="46" y="6"/>
                    <a:pt x="45" y="6"/>
                  </a:cubicBezTo>
                  <a:cubicBezTo>
                    <a:pt x="45" y="6"/>
                    <a:pt x="41" y="5"/>
                    <a:pt x="41" y="5"/>
                  </a:cubicBezTo>
                  <a:cubicBezTo>
                    <a:pt x="41" y="5"/>
                    <a:pt x="38" y="3"/>
                    <a:pt x="37" y="4"/>
                  </a:cubicBezTo>
                  <a:cubicBezTo>
                    <a:pt x="36" y="4"/>
                    <a:pt x="33" y="4"/>
                    <a:pt x="33" y="4"/>
                  </a:cubicBezTo>
                  <a:cubicBezTo>
                    <a:pt x="33" y="4"/>
                    <a:pt x="32" y="4"/>
                    <a:pt x="31" y="4"/>
                  </a:cubicBezTo>
                  <a:cubicBezTo>
                    <a:pt x="30" y="3"/>
                    <a:pt x="30" y="3"/>
                    <a:pt x="29" y="3"/>
                  </a:cubicBezTo>
                  <a:cubicBezTo>
                    <a:pt x="27" y="3"/>
                    <a:pt x="25" y="2"/>
                    <a:pt x="25" y="2"/>
                  </a:cubicBezTo>
                  <a:cubicBezTo>
                    <a:pt x="22" y="2"/>
                    <a:pt x="19" y="1"/>
                    <a:pt x="19" y="1"/>
                  </a:cubicBezTo>
                  <a:cubicBezTo>
                    <a:pt x="19" y="1"/>
                    <a:pt x="10" y="0"/>
                    <a:pt x="10" y="0"/>
                  </a:cubicBezTo>
                  <a:cubicBezTo>
                    <a:pt x="9" y="0"/>
                    <a:pt x="4" y="2"/>
                    <a:pt x="3" y="3"/>
                  </a:cubicBezTo>
                  <a:cubicBezTo>
                    <a:pt x="3" y="4"/>
                    <a:pt x="1" y="3"/>
                    <a:pt x="1" y="5"/>
                  </a:cubicBezTo>
                  <a:cubicBezTo>
                    <a:pt x="0" y="7"/>
                    <a:pt x="0" y="7"/>
                    <a:pt x="0" y="8"/>
                  </a:cubicBezTo>
                  <a:cubicBezTo>
                    <a:pt x="0" y="10"/>
                    <a:pt x="0" y="11"/>
                    <a:pt x="1" y="11"/>
                  </a:cubicBezTo>
                  <a:cubicBezTo>
                    <a:pt x="5" y="12"/>
                    <a:pt x="4" y="13"/>
                    <a:pt x="5" y="12"/>
                  </a:cubicBezTo>
                  <a:cubicBezTo>
                    <a:pt x="7" y="14"/>
                    <a:pt x="4" y="12"/>
                    <a:pt x="7" y="14"/>
                  </a:cubicBezTo>
                  <a:cubicBezTo>
                    <a:pt x="10" y="16"/>
                    <a:pt x="10" y="15"/>
                    <a:pt x="11" y="15"/>
                  </a:cubicBezTo>
                  <a:cubicBezTo>
                    <a:pt x="12" y="15"/>
                    <a:pt x="13" y="14"/>
                    <a:pt x="14" y="15"/>
                  </a:cubicBezTo>
                  <a:cubicBezTo>
                    <a:pt x="14" y="16"/>
                    <a:pt x="11" y="18"/>
                    <a:pt x="12" y="18"/>
                  </a:cubicBezTo>
                  <a:cubicBezTo>
                    <a:pt x="13" y="19"/>
                    <a:pt x="15" y="18"/>
                    <a:pt x="16" y="19"/>
                  </a:cubicBezTo>
                  <a:cubicBezTo>
                    <a:pt x="17" y="21"/>
                    <a:pt x="18" y="20"/>
                    <a:pt x="19" y="20"/>
                  </a:cubicBezTo>
                  <a:cubicBezTo>
                    <a:pt x="20" y="20"/>
                    <a:pt x="20" y="18"/>
                    <a:pt x="21" y="19"/>
                  </a:cubicBezTo>
                  <a:cubicBezTo>
                    <a:pt x="22" y="21"/>
                    <a:pt x="23" y="20"/>
                    <a:pt x="23" y="21"/>
                  </a:cubicBezTo>
                  <a:cubicBezTo>
                    <a:pt x="23" y="21"/>
                    <a:pt x="25" y="20"/>
                    <a:pt x="26" y="21"/>
                  </a:cubicBezTo>
                  <a:cubicBezTo>
                    <a:pt x="26" y="22"/>
                    <a:pt x="30" y="23"/>
                    <a:pt x="30" y="23"/>
                  </a:cubicBezTo>
                  <a:cubicBezTo>
                    <a:pt x="30" y="23"/>
                    <a:pt x="33" y="23"/>
                    <a:pt x="33" y="24"/>
                  </a:cubicBezTo>
                  <a:cubicBezTo>
                    <a:pt x="33" y="25"/>
                    <a:pt x="36" y="24"/>
                    <a:pt x="37" y="24"/>
                  </a:cubicBezTo>
                  <a:cubicBezTo>
                    <a:pt x="37" y="25"/>
                    <a:pt x="42" y="23"/>
                    <a:pt x="43" y="23"/>
                  </a:cubicBezTo>
                  <a:cubicBezTo>
                    <a:pt x="43" y="23"/>
                    <a:pt x="44" y="22"/>
                    <a:pt x="45" y="22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18"/>
                    <a:pt x="44" y="17"/>
                    <a:pt x="45" y="17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67" name="Freeform 26"/>
            <p:cNvSpPr>
              <a:spLocks/>
            </p:cNvSpPr>
            <p:nvPr/>
          </p:nvSpPr>
          <p:spPr bwMode="auto">
            <a:xfrm>
              <a:off x="3201" y="1515"/>
              <a:ext cx="142" cy="47"/>
            </a:xfrm>
            <a:custGeom>
              <a:avLst/>
              <a:gdLst>
                <a:gd name="T0" fmla="*/ 43 w 190"/>
                <a:gd name="T1" fmla="*/ 60 h 63"/>
                <a:gd name="T2" fmla="*/ 51 w 190"/>
                <a:gd name="T3" fmla="*/ 60 h 63"/>
                <a:gd name="T4" fmla="*/ 60 w 190"/>
                <a:gd name="T5" fmla="*/ 56 h 63"/>
                <a:gd name="T6" fmla="*/ 66 w 190"/>
                <a:gd name="T7" fmla="*/ 58 h 63"/>
                <a:gd name="T8" fmla="*/ 73 w 190"/>
                <a:gd name="T9" fmla="*/ 61 h 63"/>
                <a:gd name="T10" fmla="*/ 85 w 190"/>
                <a:gd name="T11" fmla="*/ 59 h 63"/>
                <a:gd name="T12" fmla="*/ 95 w 190"/>
                <a:gd name="T13" fmla="*/ 61 h 63"/>
                <a:gd name="T14" fmla="*/ 103 w 190"/>
                <a:gd name="T15" fmla="*/ 60 h 63"/>
                <a:gd name="T16" fmla="*/ 109 w 190"/>
                <a:gd name="T17" fmla="*/ 59 h 63"/>
                <a:gd name="T18" fmla="*/ 116 w 190"/>
                <a:gd name="T19" fmla="*/ 59 h 63"/>
                <a:gd name="T20" fmla="*/ 129 w 190"/>
                <a:gd name="T21" fmla="*/ 60 h 63"/>
                <a:gd name="T22" fmla="*/ 135 w 190"/>
                <a:gd name="T23" fmla="*/ 54 h 63"/>
                <a:gd name="T24" fmla="*/ 145 w 190"/>
                <a:gd name="T25" fmla="*/ 60 h 63"/>
                <a:gd name="T26" fmla="*/ 160 w 190"/>
                <a:gd name="T27" fmla="*/ 62 h 63"/>
                <a:gd name="T28" fmla="*/ 175 w 190"/>
                <a:gd name="T29" fmla="*/ 59 h 63"/>
                <a:gd name="T30" fmla="*/ 179 w 190"/>
                <a:gd name="T31" fmla="*/ 51 h 63"/>
                <a:gd name="T32" fmla="*/ 189 w 190"/>
                <a:gd name="T33" fmla="*/ 48 h 63"/>
                <a:gd name="T34" fmla="*/ 185 w 190"/>
                <a:gd name="T35" fmla="*/ 42 h 63"/>
                <a:gd name="T36" fmla="*/ 185 w 190"/>
                <a:gd name="T37" fmla="*/ 34 h 63"/>
                <a:gd name="T38" fmla="*/ 176 w 190"/>
                <a:gd name="T39" fmla="*/ 30 h 63"/>
                <a:gd name="T40" fmla="*/ 165 w 190"/>
                <a:gd name="T41" fmla="*/ 27 h 63"/>
                <a:gd name="T42" fmla="*/ 154 w 190"/>
                <a:gd name="T43" fmla="*/ 23 h 63"/>
                <a:gd name="T44" fmla="*/ 143 w 190"/>
                <a:gd name="T45" fmla="*/ 25 h 63"/>
                <a:gd name="T46" fmla="*/ 136 w 190"/>
                <a:gd name="T47" fmla="*/ 28 h 63"/>
                <a:gd name="T48" fmla="*/ 128 w 190"/>
                <a:gd name="T49" fmla="*/ 24 h 63"/>
                <a:gd name="T50" fmla="*/ 116 w 190"/>
                <a:gd name="T51" fmla="*/ 30 h 63"/>
                <a:gd name="T52" fmla="*/ 102 w 190"/>
                <a:gd name="T53" fmla="*/ 31 h 63"/>
                <a:gd name="T54" fmla="*/ 98 w 190"/>
                <a:gd name="T55" fmla="*/ 35 h 63"/>
                <a:gd name="T56" fmla="*/ 85 w 190"/>
                <a:gd name="T57" fmla="*/ 31 h 63"/>
                <a:gd name="T58" fmla="*/ 76 w 190"/>
                <a:gd name="T59" fmla="*/ 30 h 63"/>
                <a:gd name="T60" fmla="*/ 67 w 190"/>
                <a:gd name="T61" fmla="*/ 30 h 63"/>
                <a:gd name="T62" fmla="*/ 61 w 190"/>
                <a:gd name="T63" fmla="*/ 32 h 63"/>
                <a:gd name="T64" fmla="*/ 57 w 190"/>
                <a:gd name="T65" fmla="*/ 27 h 63"/>
                <a:gd name="T66" fmla="*/ 51 w 190"/>
                <a:gd name="T67" fmla="*/ 23 h 63"/>
                <a:gd name="T68" fmla="*/ 45 w 190"/>
                <a:gd name="T69" fmla="*/ 19 h 63"/>
                <a:gd name="T70" fmla="*/ 40 w 190"/>
                <a:gd name="T71" fmla="*/ 18 h 63"/>
                <a:gd name="T72" fmla="*/ 41 w 190"/>
                <a:gd name="T73" fmla="*/ 14 h 63"/>
                <a:gd name="T74" fmla="*/ 52 w 190"/>
                <a:gd name="T75" fmla="*/ 15 h 63"/>
                <a:gd name="T76" fmla="*/ 50 w 190"/>
                <a:gd name="T77" fmla="*/ 11 h 63"/>
                <a:gd name="T78" fmla="*/ 39 w 190"/>
                <a:gd name="T79" fmla="*/ 7 h 63"/>
                <a:gd name="T80" fmla="*/ 30 w 190"/>
                <a:gd name="T81" fmla="*/ 0 h 63"/>
                <a:gd name="T82" fmla="*/ 16 w 190"/>
                <a:gd name="T83" fmla="*/ 0 h 63"/>
                <a:gd name="T84" fmla="*/ 6 w 190"/>
                <a:gd name="T85" fmla="*/ 2 h 63"/>
                <a:gd name="T86" fmla="*/ 2 w 190"/>
                <a:gd name="T87" fmla="*/ 10 h 63"/>
                <a:gd name="T88" fmla="*/ 8 w 190"/>
                <a:gd name="T89" fmla="*/ 18 h 63"/>
                <a:gd name="T90" fmla="*/ 15 w 190"/>
                <a:gd name="T91" fmla="*/ 22 h 63"/>
                <a:gd name="T92" fmla="*/ 19 w 190"/>
                <a:gd name="T93" fmla="*/ 31 h 63"/>
                <a:gd name="T94" fmla="*/ 13 w 190"/>
                <a:gd name="T95" fmla="*/ 40 h 63"/>
                <a:gd name="T96" fmla="*/ 17 w 190"/>
                <a:gd name="T97" fmla="*/ 48 h 63"/>
                <a:gd name="T98" fmla="*/ 24 w 190"/>
                <a:gd name="T99" fmla="*/ 56 h 63"/>
                <a:gd name="T100" fmla="*/ 33 w 190"/>
                <a:gd name="T101" fmla="*/ 56 h 63"/>
                <a:gd name="T102" fmla="*/ 35 w 190"/>
                <a:gd name="T103" fmla="*/ 5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0" h="63">
                  <a:moveTo>
                    <a:pt x="37" y="58"/>
                  </a:moveTo>
                  <a:cubicBezTo>
                    <a:pt x="38" y="58"/>
                    <a:pt x="40" y="58"/>
                    <a:pt x="39" y="59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7" y="60"/>
                    <a:pt x="48" y="60"/>
                  </a:cubicBezTo>
                  <a:cubicBezTo>
                    <a:pt x="49" y="60"/>
                    <a:pt x="50" y="60"/>
                    <a:pt x="51" y="60"/>
                  </a:cubicBezTo>
                  <a:cubicBezTo>
                    <a:pt x="52" y="60"/>
                    <a:pt x="53" y="59"/>
                    <a:pt x="54" y="59"/>
                  </a:cubicBezTo>
                  <a:cubicBezTo>
                    <a:pt x="54" y="59"/>
                    <a:pt x="55" y="59"/>
                    <a:pt x="56" y="59"/>
                  </a:cubicBezTo>
                  <a:cubicBezTo>
                    <a:pt x="60" y="56"/>
                    <a:pt x="60" y="56"/>
                    <a:pt x="60" y="56"/>
                  </a:cubicBezTo>
                  <a:cubicBezTo>
                    <a:pt x="60" y="56"/>
                    <a:pt x="62" y="54"/>
                    <a:pt x="63" y="54"/>
                  </a:cubicBezTo>
                  <a:cubicBezTo>
                    <a:pt x="63" y="54"/>
                    <a:pt x="65" y="52"/>
                    <a:pt x="65" y="53"/>
                  </a:cubicBezTo>
                  <a:cubicBezTo>
                    <a:pt x="66" y="54"/>
                    <a:pt x="66" y="58"/>
                    <a:pt x="66" y="58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70" y="61"/>
                    <a:pt x="71" y="61"/>
                  </a:cubicBezTo>
                  <a:cubicBezTo>
                    <a:pt x="72" y="61"/>
                    <a:pt x="73" y="61"/>
                    <a:pt x="73" y="61"/>
                  </a:cubicBezTo>
                  <a:cubicBezTo>
                    <a:pt x="74" y="62"/>
                    <a:pt x="77" y="61"/>
                    <a:pt x="78" y="62"/>
                  </a:cubicBezTo>
                  <a:cubicBezTo>
                    <a:pt x="80" y="62"/>
                    <a:pt x="81" y="59"/>
                    <a:pt x="82" y="59"/>
                  </a:cubicBezTo>
                  <a:cubicBezTo>
                    <a:pt x="83" y="59"/>
                    <a:pt x="84" y="58"/>
                    <a:pt x="85" y="59"/>
                  </a:cubicBezTo>
                  <a:cubicBezTo>
                    <a:pt x="85" y="60"/>
                    <a:pt x="85" y="60"/>
                    <a:pt x="86" y="61"/>
                  </a:cubicBezTo>
                  <a:cubicBezTo>
                    <a:pt x="89" y="61"/>
                    <a:pt x="90" y="60"/>
                    <a:pt x="90" y="60"/>
                  </a:cubicBezTo>
                  <a:cubicBezTo>
                    <a:pt x="95" y="61"/>
                    <a:pt x="95" y="61"/>
                    <a:pt x="95" y="61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100" y="58"/>
                    <a:pt x="101" y="59"/>
                  </a:cubicBezTo>
                  <a:cubicBezTo>
                    <a:pt x="101" y="59"/>
                    <a:pt x="102" y="60"/>
                    <a:pt x="103" y="60"/>
                  </a:cubicBezTo>
                  <a:cubicBezTo>
                    <a:pt x="104" y="60"/>
                    <a:pt x="103" y="62"/>
                    <a:pt x="105" y="60"/>
                  </a:cubicBezTo>
                  <a:cubicBezTo>
                    <a:pt x="107" y="59"/>
                    <a:pt x="105" y="59"/>
                    <a:pt x="107" y="59"/>
                  </a:cubicBezTo>
                  <a:cubicBezTo>
                    <a:pt x="109" y="59"/>
                    <a:pt x="108" y="58"/>
                    <a:pt x="109" y="59"/>
                  </a:cubicBezTo>
                  <a:cubicBezTo>
                    <a:pt x="110" y="60"/>
                    <a:pt x="112" y="60"/>
                    <a:pt x="112" y="60"/>
                  </a:cubicBezTo>
                  <a:cubicBezTo>
                    <a:pt x="114" y="59"/>
                    <a:pt x="114" y="59"/>
                    <a:pt x="114" y="59"/>
                  </a:cubicBezTo>
                  <a:cubicBezTo>
                    <a:pt x="116" y="59"/>
                    <a:pt x="116" y="59"/>
                    <a:pt x="116" y="59"/>
                  </a:cubicBezTo>
                  <a:cubicBezTo>
                    <a:pt x="119" y="59"/>
                    <a:pt x="119" y="61"/>
                    <a:pt x="120" y="61"/>
                  </a:cubicBezTo>
                  <a:cubicBezTo>
                    <a:pt x="122" y="61"/>
                    <a:pt x="125" y="61"/>
                    <a:pt x="126" y="61"/>
                  </a:cubicBezTo>
                  <a:cubicBezTo>
                    <a:pt x="127" y="60"/>
                    <a:pt x="129" y="60"/>
                    <a:pt x="129" y="60"/>
                  </a:cubicBezTo>
                  <a:cubicBezTo>
                    <a:pt x="131" y="59"/>
                    <a:pt x="134" y="59"/>
                    <a:pt x="135" y="59"/>
                  </a:cubicBezTo>
                  <a:cubicBezTo>
                    <a:pt x="135" y="58"/>
                    <a:pt x="136" y="57"/>
                    <a:pt x="136" y="56"/>
                  </a:cubicBezTo>
                  <a:cubicBezTo>
                    <a:pt x="135" y="56"/>
                    <a:pt x="134" y="54"/>
                    <a:pt x="135" y="54"/>
                  </a:cubicBezTo>
                  <a:cubicBezTo>
                    <a:pt x="138" y="54"/>
                    <a:pt x="139" y="55"/>
                    <a:pt x="139" y="56"/>
                  </a:cubicBezTo>
                  <a:cubicBezTo>
                    <a:pt x="139" y="57"/>
                    <a:pt x="138" y="57"/>
                    <a:pt x="139" y="58"/>
                  </a:cubicBezTo>
                  <a:cubicBezTo>
                    <a:pt x="143" y="60"/>
                    <a:pt x="144" y="60"/>
                    <a:pt x="145" y="60"/>
                  </a:cubicBezTo>
                  <a:cubicBezTo>
                    <a:pt x="145" y="60"/>
                    <a:pt x="147" y="60"/>
                    <a:pt x="147" y="60"/>
                  </a:cubicBezTo>
                  <a:cubicBezTo>
                    <a:pt x="151" y="62"/>
                    <a:pt x="153" y="61"/>
                    <a:pt x="153" y="61"/>
                  </a:cubicBezTo>
                  <a:cubicBezTo>
                    <a:pt x="156" y="63"/>
                    <a:pt x="160" y="62"/>
                    <a:pt x="160" y="62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5" y="60"/>
                    <a:pt x="168" y="59"/>
                    <a:pt x="170" y="59"/>
                  </a:cubicBezTo>
                  <a:cubicBezTo>
                    <a:pt x="172" y="60"/>
                    <a:pt x="174" y="60"/>
                    <a:pt x="175" y="59"/>
                  </a:cubicBezTo>
                  <a:cubicBezTo>
                    <a:pt x="178" y="58"/>
                    <a:pt x="177" y="59"/>
                    <a:pt x="178" y="58"/>
                  </a:cubicBezTo>
                  <a:cubicBezTo>
                    <a:pt x="178" y="57"/>
                    <a:pt x="179" y="54"/>
                    <a:pt x="179" y="53"/>
                  </a:cubicBezTo>
                  <a:cubicBezTo>
                    <a:pt x="179" y="52"/>
                    <a:pt x="177" y="51"/>
                    <a:pt x="179" y="51"/>
                  </a:cubicBezTo>
                  <a:cubicBezTo>
                    <a:pt x="182" y="51"/>
                    <a:pt x="181" y="51"/>
                    <a:pt x="183" y="51"/>
                  </a:cubicBezTo>
                  <a:cubicBezTo>
                    <a:pt x="185" y="51"/>
                    <a:pt x="186" y="51"/>
                    <a:pt x="188" y="51"/>
                  </a:cubicBezTo>
                  <a:cubicBezTo>
                    <a:pt x="188" y="51"/>
                    <a:pt x="190" y="48"/>
                    <a:pt x="189" y="48"/>
                  </a:cubicBezTo>
                  <a:cubicBezTo>
                    <a:pt x="189" y="48"/>
                    <a:pt x="186" y="48"/>
                    <a:pt x="186" y="48"/>
                  </a:cubicBezTo>
                  <a:cubicBezTo>
                    <a:pt x="186" y="48"/>
                    <a:pt x="185" y="45"/>
                    <a:pt x="184" y="45"/>
                  </a:cubicBezTo>
                  <a:cubicBezTo>
                    <a:pt x="184" y="45"/>
                    <a:pt x="184" y="43"/>
                    <a:pt x="185" y="42"/>
                  </a:cubicBezTo>
                  <a:cubicBezTo>
                    <a:pt x="187" y="42"/>
                    <a:pt x="188" y="41"/>
                    <a:pt x="188" y="40"/>
                  </a:cubicBezTo>
                  <a:cubicBezTo>
                    <a:pt x="188" y="39"/>
                    <a:pt x="188" y="36"/>
                    <a:pt x="188" y="36"/>
                  </a:cubicBezTo>
                  <a:cubicBezTo>
                    <a:pt x="187" y="35"/>
                    <a:pt x="187" y="34"/>
                    <a:pt x="185" y="34"/>
                  </a:cubicBezTo>
                  <a:cubicBezTo>
                    <a:pt x="183" y="34"/>
                    <a:pt x="181" y="34"/>
                    <a:pt x="181" y="34"/>
                  </a:cubicBezTo>
                  <a:cubicBezTo>
                    <a:pt x="180" y="32"/>
                    <a:pt x="180" y="31"/>
                    <a:pt x="179" y="31"/>
                  </a:cubicBezTo>
                  <a:cubicBezTo>
                    <a:pt x="178" y="31"/>
                    <a:pt x="178" y="30"/>
                    <a:pt x="176" y="30"/>
                  </a:cubicBezTo>
                  <a:cubicBezTo>
                    <a:pt x="175" y="29"/>
                    <a:pt x="174" y="29"/>
                    <a:pt x="174" y="29"/>
                  </a:cubicBezTo>
                  <a:cubicBezTo>
                    <a:pt x="174" y="29"/>
                    <a:pt x="169" y="30"/>
                    <a:pt x="168" y="29"/>
                  </a:cubicBezTo>
                  <a:cubicBezTo>
                    <a:pt x="167" y="29"/>
                    <a:pt x="166" y="28"/>
                    <a:pt x="165" y="27"/>
                  </a:cubicBezTo>
                  <a:cubicBezTo>
                    <a:pt x="162" y="26"/>
                    <a:pt x="160" y="25"/>
                    <a:pt x="159" y="25"/>
                  </a:cubicBezTo>
                  <a:cubicBezTo>
                    <a:pt x="158" y="25"/>
                    <a:pt x="155" y="25"/>
                    <a:pt x="155" y="25"/>
                  </a:cubicBezTo>
                  <a:cubicBezTo>
                    <a:pt x="155" y="25"/>
                    <a:pt x="156" y="23"/>
                    <a:pt x="154" y="23"/>
                  </a:cubicBezTo>
                  <a:cubicBezTo>
                    <a:pt x="153" y="23"/>
                    <a:pt x="150" y="24"/>
                    <a:pt x="149" y="24"/>
                  </a:cubicBezTo>
                  <a:cubicBezTo>
                    <a:pt x="149" y="24"/>
                    <a:pt x="149" y="22"/>
                    <a:pt x="146" y="24"/>
                  </a:cubicBezTo>
                  <a:cubicBezTo>
                    <a:pt x="144" y="25"/>
                    <a:pt x="144" y="25"/>
                    <a:pt x="143" y="25"/>
                  </a:cubicBezTo>
                  <a:cubicBezTo>
                    <a:pt x="141" y="26"/>
                    <a:pt x="140" y="26"/>
                    <a:pt x="140" y="26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7" y="28"/>
                    <a:pt x="137" y="29"/>
                    <a:pt x="136" y="28"/>
                  </a:cubicBezTo>
                  <a:cubicBezTo>
                    <a:pt x="136" y="26"/>
                    <a:pt x="135" y="25"/>
                    <a:pt x="134" y="25"/>
                  </a:cubicBezTo>
                  <a:cubicBezTo>
                    <a:pt x="132" y="26"/>
                    <a:pt x="130" y="25"/>
                    <a:pt x="130" y="25"/>
                  </a:cubicBezTo>
                  <a:cubicBezTo>
                    <a:pt x="128" y="24"/>
                    <a:pt x="130" y="24"/>
                    <a:pt x="128" y="24"/>
                  </a:cubicBezTo>
                  <a:cubicBezTo>
                    <a:pt x="126" y="25"/>
                    <a:pt x="127" y="24"/>
                    <a:pt x="125" y="25"/>
                  </a:cubicBezTo>
                  <a:cubicBezTo>
                    <a:pt x="123" y="27"/>
                    <a:pt x="123" y="26"/>
                    <a:pt x="121" y="27"/>
                  </a:cubicBezTo>
                  <a:cubicBezTo>
                    <a:pt x="118" y="28"/>
                    <a:pt x="118" y="30"/>
                    <a:pt x="116" y="30"/>
                  </a:cubicBezTo>
                  <a:cubicBezTo>
                    <a:pt x="114" y="30"/>
                    <a:pt x="112" y="29"/>
                    <a:pt x="110" y="30"/>
                  </a:cubicBezTo>
                  <a:cubicBezTo>
                    <a:pt x="109" y="30"/>
                    <a:pt x="108" y="32"/>
                    <a:pt x="107" y="32"/>
                  </a:cubicBezTo>
                  <a:cubicBezTo>
                    <a:pt x="106" y="31"/>
                    <a:pt x="103" y="31"/>
                    <a:pt x="102" y="31"/>
                  </a:cubicBezTo>
                  <a:cubicBezTo>
                    <a:pt x="101" y="31"/>
                    <a:pt x="100" y="30"/>
                    <a:pt x="99" y="32"/>
                  </a:cubicBezTo>
                  <a:cubicBezTo>
                    <a:pt x="98" y="33"/>
                    <a:pt x="97" y="31"/>
                    <a:pt x="98" y="33"/>
                  </a:cubicBezTo>
                  <a:cubicBezTo>
                    <a:pt x="98" y="35"/>
                    <a:pt x="99" y="35"/>
                    <a:pt x="98" y="35"/>
                  </a:cubicBezTo>
                  <a:cubicBezTo>
                    <a:pt x="94" y="36"/>
                    <a:pt x="92" y="36"/>
                    <a:pt x="93" y="35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87" y="32"/>
                    <a:pt x="85" y="31"/>
                    <a:pt x="85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1"/>
                    <a:pt x="80" y="30"/>
                    <a:pt x="79" y="30"/>
                  </a:cubicBezTo>
                  <a:cubicBezTo>
                    <a:pt x="78" y="31"/>
                    <a:pt x="77" y="30"/>
                    <a:pt x="76" y="30"/>
                  </a:cubicBezTo>
                  <a:cubicBezTo>
                    <a:pt x="74" y="31"/>
                    <a:pt x="75" y="30"/>
                    <a:pt x="74" y="31"/>
                  </a:cubicBezTo>
                  <a:cubicBezTo>
                    <a:pt x="71" y="32"/>
                    <a:pt x="71" y="33"/>
                    <a:pt x="70" y="32"/>
                  </a:cubicBezTo>
                  <a:cubicBezTo>
                    <a:pt x="68" y="31"/>
                    <a:pt x="68" y="30"/>
                    <a:pt x="67" y="30"/>
                  </a:cubicBezTo>
                  <a:cubicBezTo>
                    <a:pt x="67" y="29"/>
                    <a:pt x="67" y="29"/>
                    <a:pt x="65" y="29"/>
                  </a:cubicBezTo>
                  <a:cubicBezTo>
                    <a:pt x="63" y="29"/>
                    <a:pt x="62" y="29"/>
                    <a:pt x="62" y="30"/>
                  </a:cubicBezTo>
                  <a:cubicBezTo>
                    <a:pt x="62" y="31"/>
                    <a:pt x="61" y="30"/>
                    <a:pt x="61" y="32"/>
                  </a:cubicBezTo>
                  <a:cubicBezTo>
                    <a:pt x="60" y="34"/>
                    <a:pt x="61" y="33"/>
                    <a:pt x="60" y="34"/>
                  </a:cubicBezTo>
                  <a:cubicBezTo>
                    <a:pt x="60" y="35"/>
                    <a:pt x="58" y="33"/>
                    <a:pt x="57" y="32"/>
                  </a:cubicBezTo>
                  <a:cubicBezTo>
                    <a:pt x="57" y="30"/>
                    <a:pt x="56" y="28"/>
                    <a:pt x="57" y="27"/>
                  </a:cubicBezTo>
                  <a:cubicBezTo>
                    <a:pt x="57" y="27"/>
                    <a:pt x="57" y="26"/>
                    <a:pt x="56" y="25"/>
                  </a:cubicBezTo>
                  <a:cubicBezTo>
                    <a:pt x="55" y="25"/>
                    <a:pt x="54" y="24"/>
                    <a:pt x="54" y="24"/>
                  </a:cubicBezTo>
                  <a:cubicBezTo>
                    <a:pt x="53" y="23"/>
                    <a:pt x="52" y="23"/>
                    <a:pt x="51" y="23"/>
                  </a:cubicBezTo>
                  <a:cubicBezTo>
                    <a:pt x="50" y="23"/>
                    <a:pt x="48" y="23"/>
                    <a:pt x="48" y="22"/>
                  </a:cubicBezTo>
                  <a:cubicBezTo>
                    <a:pt x="48" y="22"/>
                    <a:pt x="49" y="20"/>
                    <a:pt x="48" y="20"/>
                  </a:cubicBezTo>
                  <a:cubicBezTo>
                    <a:pt x="47" y="20"/>
                    <a:pt x="46" y="19"/>
                    <a:pt x="45" y="19"/>
                  </a:cubicBezTo>
                  <a:cubicBezTo>
                    <a:pt x="44" y="19"/>
                    <a:pt x="45" y="19"/>
                    <a:pt x="43" y="19"/>
                  </a:cubicBezTo>
                  <a:cubicBezTo>
                    <a:pt x="41" y="20"/>
                    <a:pt x="39" y="20"/>
                    <a:pt x="39" y="20"/>
                  </a:cubicBezTo>
                  <a:cubicBezTo>
                    <a:pt x="40" y="18"/>
                    <a:pt x="42" y="19"/>
                    <a:pt x="40" y="18"/>
                  </a:cubicBezTo>
                  <a:cubicBezTo>
                    <a:pt x="37" y="17"/>
                    <a:pt x="36" y="17"/>
                    <a:pt x="36" y="17"/>
                  </a:cubicBezTo>
                  <a:cubicBezTo>
                    <a:pt x="38" y="15"/>
                    <a:pt x="37" y="15"/>
                    <a:pt x="39" y="15"/>
                  </a:cubicBezTo>
                  <a:cubicBezTo>
                    <a:pt x="40" y="15"/>
                    <a:pt x="41" y="14"/>
                    <a:pt x="41" y="14"/>
                  </a:cubicBezTo>
                  <a:cubicBezTo>
                    <a:pt x="42" y="15"/>
                    <a:pt x="42" y="16"/>
                    <a:pt x="44" y="16"/>
                  </a:cubicBezTo>
                  <a:cubicBezTo>
                    <a:pt x="47" y="16"/>
                    <a:pt x="47" y="15"/>
                    <a:pt x="49" y="15"/>
                  </a:cubicBezTo>
                  <a:cubicBezTo>
                    <a:pt x="52" y="15"/>
                    <a:pt x="50" y="15"/>
                    <a:pt x="52" y="15"/>
                  </a:cubicBezTo>
                  <a:cubicBezTo>
                    <a:pt x="53" y="15"/>
                    <a:pt x="54" y="15"/>
                    <a:pt x="55" y="15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2"/>
                    <a:pt x="52" y="11"/>
                    <a:pt x="50" y="11"/>
                  </a:cubicBezTo>
                  <a:cubicBezTo>
                    <a:pt x="49" y="11"/>
                    <a:pt x="47" y="10"/>
                    <a:pt x="47" y="10"/>
                  </a:cubicBezTo>
                  <a:cubicBezTo>
                    <a:pt x="44" y="9"/>
                    <a:pt x="43" y="8"/>
                    <a:pt x="42" y="8"/>
                  </a:cubicBezTo>
                  <a:cubicBezTo>
                    <a:pt x="41" y="7"/>
                    <a:pt x="40" y="8"/>
                    <a:pt x="39" y="7"/>
                  </a:cubicBezTo>
                  <a:cubicBezTo>
                    <a:pt x="39" y="6"/>
                    <a:pt x="40" y="6"/>
                    <a:pt x="39" y="5"/>
                  </a:cubicBezTo>
                  <a:cubicBezTo>
                    <a:pt x="36" y="3"/>
                    <a:pt x="35" y="3"/>
                    <a:pt x="34" y="2"/>
                  </a:cubicBezTo>
                  <a:cubicBezTo>
                    <a:pt x="31" y="0"/>
                    <a:pt x="31" y="0"/>
                    <a:pt x="30" y="0"/>
                  </a:cubicBezTo>
                  <a:cubicBezTo>
                    <a:pt x="28" y="0"/>
                    <a:pt x="29" y="0"/>
                    <a:pt x="27" y="0"/>
                  </a:cubicBezTo>
                  <a:cubicBezTo>
                    <a:pt x="25" y="0"/>
                    <a:pt x="25" y="0"/>
                    <a:pt x="23" y="0"/>
                  </a:cubicBezTo>
                  <a:cubicBezTo>
                    <a:pt x="21" y="0"/>
                    <a:pt x="18" y="0"/>
                    <a:pt x="16" y="0"/>
                  </a:cubicBezTo>
                  <a:cubicBezTo>
                    <a:pt x="15" y="1"/>
                    <a:pt x="15" y="2"/>
                    <a:pt x="14" y="2"/>
                  </a:cubicBezTo>
                  <a:cubicBezTo>
                    <a:pt x="13" y="3"/>
                    <a:pt x="10" y="2"/>
                    <a:pt x="10" y="2"/>
                  </a:cubicBezTo>
                  <a:cubicBezTo>
                    <a:pt x="9" y="2"/>
                    <a:pt x="7" y="1"/>
                    <a:pt x="6" y="2"/>
                  </a:cubicBezTo>
                  <a:cubicBezTo>
                    <a:pt x="5" y="4"/>
                    <a:pt x="4" y="4"/>
                    <a:pt x="3" y="5"/>
                  </a:cubicBezTo>
                  <a:cubicBezTo>
                    <a:pt x="2" y="7"/>
                    <a:pt x="1" y="7"/>
                    <a:pt x="1" y="8"/>
                  </a:cubicBezTo>
                  <a:cubicBezTo>
                    <a:pt x="1" y="9"/>
                    <a:pt x="0" y="9"/>
                    <a:pt x="2" y="10"/>
                  </a:cubicBezTo>
                  <a:cubicBezTo>
                    <a:pt x="3" y="11"/>
                    <a:pt x="2" y="11"/>
                    <a:pt x="4" y="12"/>
                  </a:cubicBezTo>
                  <a:cubicBezTo>
                    <a:pt x="5" y="14"/>
                    <a:pt x="4" y="15"/>
                    <a:pt x="6" y="16"/>
                  </a:cubicBezTo>
                  <a:cubicBezTo>
                    <a:pt x="7" y="16"/>
                    <a:pt x="6" y="17"/>
                    <a:pt x="8" y="18"/>
                  </a:cubicBezTo>
                  <a:cubicBezTo>
                    <a:pt x="9" y="18"/>
                    <a:pt x="9" y="17"/>
                    <a:pt x="10" y="18"/>
                  </a:cubicBezTo>
                  <a:cubicBezTo>
                    <a:pt x="11" y="19"/>
                    <a:pt x="11" y="19"/>
                    <a:pt x="12" y="20"/>
                  </a:cubicBezTo>
                  <a:cubicBezTo>
                    <a:pt x="13" y="21"/>
                    <a:pt x="14" y="22"/>
                    <a:pt x="15" y="22"/>
                  </a:cubicBezTo>
                  <a:cubicBezTo>
                    <a:pt x="15" y="23"/>
                    <a:pt x="17" y="23"/>
                    <a:pt x="17" y="24"/>
                  </a:cubicBezTo>
                  <a:cubicBezTo>
                    <a:pt x="17" y="24"/>
                    <a:pt x="17" y="25"/>
                    <a:pt x="18" y="27"/>
                  </a:cubicBezTo>
                  <a:cubicBezTo>
                    <a:pt x="18" y="29"/>
                    <a:pt x="19" y="30"/>
                    <a:pt x="19" y="31"/>
                  </a:cubicBezTo>
                  <a:cubicBezTo>
                    <a:pt x="16" y="33"/>
                    <a:pt x="16" y="32"/>
                    <a:pt x="15" y="34"/>
                  </a:cubicBezTo>
                  <a:cubicBezTo>
                    <a:pt x="13" y="36"/>
                    <a:pt x="14" y="35"/>
                    <a:pt x="13" y="36"/>
                  </a:cubicBezTo>
                  <a:cubicBezTo>
                    <a:pt x="13" y="37"/>
                    <a:pt x="12" y="38"/>
                    <a:pt x="13" y="40"/>
                  </a:cubicBezTo>
                  <a:cubicBezTo>
                    <a:pt x="15" y="41"/>
                    <a:pt x="14" y="41"/>
                    <a:pt x="15" y="42"/>
                  </a:cubicBezTo>
                  <a:cubicBezTo>
                    <a:pt x="15" y="44"/>
                    <a:pt x="16" y="43"/>
                    <a:pt x="17" y="45"/>
                  </a:cubicBezTo>
                  <a:cubicBezTo>
                    <a:pt x="18" y="47"/>
                    <a:pt x="16" y="47"/>
                    <a:pt x="17" y="48"/>
                  </a:cubicBezTo>
                  <a:cubicBezTo>
                    <a:pt x="18" y="50"/>
                    <a:pt x="18" y="52"/>
                    <a:pt x="19" y="52"/>
                  </a:cubicBezTo>
                  <a:cubicBezTo>
                    <a:pt x="20" y="53"/>
                    <a:pt x="21" y="52"/>
                    <a:pt x="22" y="53"/>
                  </a:cubicBezTo>
                  <a:cubicBezTo>
                    <a:pt x="22" y="54"/>
                    <a:pt x="24" y="55"/>
                    <a:pt x="24" y="56"/>
                  </a:cubicBezTo>
                  <a:cubicBezTo>
                    <a:pt x="25" y="56"/>
                    <a:pt x="27" y="56"/>
                    <a:pt x="27" y="56"/>
                  </a:cubicBezTo>
                  <a:cubicBezTo>
                    <a:pt x="27" y="56"/>
                    <a:pt x="28" y="57"/>
                    <a:pt x="29" y="57"/>
                  </a:cubicBezTo>
                  <a:cubicBezTo>
                    <a:pt x="32" y="58"/>
                    <a:pt x="33" y="56"/>
                    <a:pt x="33" y="56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6" y="57"/>
                    <a:pt x="37" y="58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68" name="Freeform 27"/>
            <p:cNvSpPr>
              <a:spLocks/>
            </p:cNvSpPr>
            <p:nvPr/>
          </p:nvSpPr>
          <p:spPr bwMode="auto">
            <a:xfrm>
              <a:off x="3077" y="1456"/>
              <a:ext cx="70" cy="36"/>
            </a:xfrm>
            <a:custGeom>
              <a:avLst/>
              <a:gdLst>
                <a:gd name="T0" fmla="*/ 10 w 94"/>
                <a:gd name="T1" fmla="*/ 12 h 49"/>
                <a:gd name="T2" fmla="*/ 10 w 94"/>
                <a:gd name="T3" fmla="*/ 16 h 49"/>
                <a:gd name="T4" fmla="*/ 17 w 94"/>
                <a:gd name="T5" fmla="*/ 17 h 49"/>
                <a:gd name="T6" fmla="*/ 21 w 94"/>
                <a:gd name="T7" fmla="*/ 13 h 49"/>
                <a:gd name="T8" fmla="*/ 23 w 94"/>
                <a:gd name="T9" fmla="*/ 16 h 49"/>
                <a:gd name="T10" fmla="*/ 29 w 94"/>
                <a:gd name="T11" fmla="*/ 19 h 49"/>
                <a:gd name="T12" fmla="*/ 28 w 94"/>
                <a:gd name="T13" fmla="*/ 22 h 49"/>
                <a:gd name="T14" fmla="*/ 29 w 94"/>
                <a:gd name="T15" fmla="*/ 24 h 49"/>
                <a:gd name="T16" fmla="*/ 25 w 94"/>
                <a:gd name="T17" fmla="*/ 26 h 49"/>
                <a:gd name="T18" fmla="*/ 20 w 94"/>
                <a:gd name="T19" fmla="*/ 23 h 49"/>
                <a:gd name="T20" fmla="*/ 11 w 94"/>
                <a:gd name="T21" fmla="*/ 25 h 49"/>
                <a:gd name="T22" fmla="*/ 15 w 94"/>
                <a:gd name="T23" fmla="*/ 33 h 49"/>
                <a:gd name="T24" fmla="*/ 20 w 94"/>
                <a:gd name="T25" fmla="*/ 35 h 49"/>
                <a:gd name="T26" fmla="*/ 29 w 94"/>
                <a:gd name="T27" fmla="*/ 35 h 49"/>
                <a:gd name="T28" fmla="*/ 35 w 94"/>
                <a:gd name="T29" fmla="*/ 32 h 49"/>
                <a:gd name="T30" fmla="*/ 40 w 94"/>
                <a:gd name="T31" fmla="*/ 34 h 49"/>
                <a:gd name="T32" fmla="*/ 45 w 94"/>
                <a:gd name="T33" fmla="*/ 34 h 49"/>
                <a:gd name="T34" fmla="*/ 52 w 94"/>
                <a:gd name="T35" fmla="*/ 35 h 49"/>
                <a:gd name="T36" fmla="*/ 56 w 94"/>
                <a:gd name="T37" fmla="*/ 38 h 49"/>
                <a:gd name="T38" fmla="*/ 63 w 94"/>
                <a:gd name="T39" fmla="*/ 39 h 49"/>
                <a:gd name="T40" fmla="*/ 65 w 94"/>
                <a:gd name="T41" fmla="*/ 41 h 49"/>
                <a:gd name="T42" fmla="*/ 69 w 94"/>
                <a:gd name="T43" fmla="*/ 46 h 49"/>
                <a:gd name="T44" fmla="*/ 81 w 94"/>
                <a:gd name="T45" fmla="*/ 48 h 49"/>
                <a:gd name="T46" fmla="*/ 92 w 94"/>
                <a:gd name="T47" fmla="*/ 44 h 49"/>
                <a:gd name="T48" fmla="*/ 91 w 94"/>
                <a:gd name="T49" fmla="*/ 37 h 49"/>
                <a:gd name="T50" fmla="*/ 85 w 94"/>
                <a:gd name="T51" fmla="*/ 34 h 49"/>
                <a:gd name="T52" fmla="*/ 84 w 94"/>
                <a:gd name="T53" fmla="*/ 26 h 49"/>
                <a:gd name="T54" fmla="*/ 80 w 94"/>
                <a:gd name="T55" fmla="*/ 24 h 49"/>
                <a:gd name="T56" fmla="*/ 76 w 94"/>
                <a:gd name="T57" fmla="*/ 17 h 49"/>
                <a:gd name="T58" fmla="*/ 66 w 94"/>
                <a:gd name="T59" fmla="*/ 18 h 49"/>
                <a:gd name="T60" fmla="*/ 61 w 94"/>
                <a:gd name="T61" fmla="*/ 12 h 49"/>
                <a:gd name="T62" fmla="*/ 52 w 94"/>
                <a:gd name="T63" fmla="*/ 10 h 49"/>
                <a:gd name="T64" fmla="*/ 44 w 94"/>
                <a:gd name="T65" fmla="*/ 13 h 49"/>
                <a:gd name="T66" fmla="*/ 41 w 94"/>
                <a:gd name="T67" fmla="*/ 7 h 49"/>
                <a:gd name="T68" fmla="*/ 35 w 94"/>
                <a:gd name="T69" fmla="*/ 4 h 49"/>
                <a:gd name="T70" fmla="*/ 26 w 94"/>
                <a:gd name="T71" fmla="*/ 1 h 49"/>
                <a:gd name="T72" fmla="*/ 17 w 94"/>
                <a:gd name="T73" fmla="*/ 2 h 49"/>
                <a:gd name="T74" fmla="*/ 6 w 94"/>
                <a:gd name="T75" fmla="*/ 3 h 49"/>
                <a:gd name="T76" fmla="*/ 0 w 94"/>
                <a:gd name="T77" fmla="*/ 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4" h="49">
                  <a:moveTo>
                    <a:pt x="5" y="11"/>
                  </a:moveTo>
                  <a:cubicBezTo>
                    <a:pt x="8" y="11"/>
                    <a:pt x="9" y="11"/>
                    <a:pt x="10" y="12"/>
                  </a:cubicBezTo>
                  <a:cubicBezTo>
                    <a:pt x="12" y="13"/>
                    <a:pt x="13" y="12"/>
                    <a:pt x="12" y="14"/>
                  </a:cubicBezTo>
                  <a:cubicBezTo>
                    <a:pt x="10" y="16"/>
                    <a:pt x="9" y="14"/>
                    <a:pt x="10" y="16"/>
                  </a:cubicBezTo>
                  <a:cubicBezTo>
                    <a:pt x="12" y="17"/>
                    <a:pt x="10" y="17"/>
                    <a:pt x="13" y="17"/>
                  </a:cubicBezTo>
                  <a:cubicBezTo>
                    <a:pt x="16" y="18"/>
                    <a:pt x="17" y="17"/>
                    <a:pt x="17" y="17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20" y="13"/>
                    <a:pt x="21" y="13"/>
                  </a:cubicBezTo>
                  <a:cubicBezTo>
                    <a:pt x="21" y="14"/>
                    <a:pt x="25" y="13"/>
                    <a:pt x="24" y="14"/>
                  </a:cubicBezTo>
                  <a:cubicBezTo>
                    <a:pt x="24" y="16"/>
                    <a:pt x="23" y="14"/>
                    <a:pt x="23" y="16"/>
                  </a:cubicBezTo>
                  <a:cubicBezTo>
                    <a:pt x="23" y="18"/>
                    <a:pt x="24" y="18"/>
                    <a:pt x="25" y="19"/>
                  </a:cubicBezTo>
                  <a:cubicBezTo>
                    <a:pt x="25" y="19"/>
                    <a:pt x="29" y="18"/>
                    <a:pt x="29" y="19"/>
                  </a:cubicBezTo>
                  <a:cubicBezTo>
                    <a:pt x="31" y="22"/>
                    <a:pt x="31" y="23"/>
                    <a:pt x="31" y="23"/>
                  </a:cubicBezTo>
                  <a:cubicBezTo>
                    <a:pt x="31" y="23"/>
                    <a:pt x="30" y="21"/>
                    <a:pt x="28" y="22"/>
                  </a:cubicBezTo>
                  <a:cubicBezTo>
                    <a:pt x="27" y="23"/>
                    <a:pt x="25" y="22"/>
                    <a:pt x="26" y="23"/>
                  </a:cubicBezTo>
                  <a:cubicBezTo>
                    <a:pt x="26" y="23"/>
                    <a:pt x="27" y="23"/>
                    <a:pt x="29" y="24"/>
                  </a:cubicBezTo>
                  <a:cubicBezTo>
                    <a:pt x="29" y="24"/>
                    <a:pt x="29" y="25"/>
                    <a:pt x="28" y="26"/>
                  </a:cubicBezTo>
                  <a:cubicBezTo>
                    <a:pt x="27" y="26"/>
                    <a:pt x="26" y="25"/>
                    <a:pt x="25" y="26"/>
                  </a:cubicBezTo>
                  <a:cubicBezTo>
                    <a:pt x="24" y="26"/>
                    <a:pt x="23" y="25"/>
                    <a:pt x="23" y="25"/>
                  </a:cubicBezTo>
                  <a:cubicBezTo>
                    <a:pt x="22" y="25"/>
                    <a:pt x="21" y="21"/>
                    <a:pt x="20" y="23"/>
                  </a:cubicBezTo>
                  <a:cubicBezTo>
                    <a:pt x="18" y="24"/>
                    <a:pt x="18" y="23"/>
                    <a:pt x="15" y="24"/>
                  </a:cubicBezTo>
                  <a:cubicBezTo>
                    <a:pt x="13" y="25"/>
                    <a:pt x="12" y="24"/>
                    <a:pt x="11" y="25"/>
                  </a:cubicBezTo>
                  <a:cubicBezTo>
                    <a:pt x="10" y="27"/>
                    <a:pt x="7" y="28"/>
                    <a:pt x="10" y="30"/>
                  </a:cubicBezTo>
                  <a:cubicBezTo>
                    <a:pt x="12" y="33"/>
                    <a:pt x="14" y="32"/>
                    <a:pt x="15" y="33"/>
                  </a:cubicBezTo>
                  <a:cubicBezTo>
                    <a:pt x="15" y="34"/>
                    <a:pt x="16" y="33"/>
                    <a:pt x="18" y="34"/>
                  </a:cubicBezTo>
                  <a:cubicBezTo>
                    <a:pt x="19" y="36"/>
                    <a:pt x="18" y="35"/>
                    <a:pt x="20" y="35"/>
                  </a:cubicBezTo>
                  <a:cubicBezTo>
                    <a:pt x="22" y="35"/>
                    <a:pt x="25" y="34"/>
                    <a:pt x="25" y="34"/>
                  </a:cubicBezTo>
                  <a:cubicBezTo>
                    <a:pt x="26" y="34"/>
                    <a:pt x="29" y="35"/>
                    <a:pt x="29" y="35"/>
                  </a:cubicBezTo>
                  <a:cubicBezTo>
                    <a:pt x="29" y="35"/>
                    <a:pt x="31" y="33"/>
                    <a:pt x="31" y="33"/>
                  </a:cubicBezTo>
                  <a:cubicBezTo>
                    <a:pt x="32" y="33"/>
                    <a:pt x="32" y="31"/>
                    <a:pt x="35" y="32"/>
                  </a:cubicBezTo>
                  <a:cubicBezTo>
                    <a:pt x="37" y="33"/>
                    <a:pt x="39" y="30"/>
                    <a:pt x="39" y="31"/>
                  </a:cubicBezTo>
                  <a:cubicBezTo>
                    <a:pt x="39" y="31"/>
                    <a:pt x="40" y="33"/>
                    <a:pt x="40" y="34"/>
                  </a:cubicBezTo>
                  <a:cubicBezTo>
                    <a:pt x="41" y="34"/>
                    <a:pt x="40" y="33"/>
                    <a:pt x="42" y="34"/>
                  </a:cubicBezTo>
                  <a:cubicBezTo>
                    <a:pt x="44" y="34"/>
                    <a:pt x="44" y="34"/>
                    <a:pt x="45" y="34"/>
                  </a:cubicBezTo>
                  <a:cubicBezTo>
                    <a:pt x="47" y="34"/>
                    <a:pt x="46" y="33"/>
                    <a:pt x="49" y="34"/>
                  </a:cubicBezTo>
                  <a:cubicBezTo>
                    <a:pt x="49" y="34"/>
                    <a:pt x="51" y="34"/>
                    <a:pt x="52" y="35"/>
                  </a:cubicBezTo>
                  <a:cubicBezTo>
                    <a:pt x="53" y="35"/>
                    <a:pt x="52" y="38"/>
                    <a:pt x="52" y="38"/>
                  </a:cubicBezTo>
                  <a:cubicBezTo>
                    <a:pt x="56" y="38"/>
                    <a:pt x="56" y="38"/>
                    <a:pt x="56" y="38"/>
                  </a:cubicBezTo>
                  <a:cubicBezTo>
                    <a:pt x="58" y="37"/>
                    <a:pt x="54" y="37"/>
                    <a:pt x="58" y="37"/>
                  </a:cubicBezTo>
                  <a:cubicBezTo>
                    <a:pt x="62" y="37"/>
                    <a:pt x="63" y="38"/>
                    <a:pt x="63" y="39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5" y="40"/>
                    <a:pt x="65" y="41"/>
                  </a:cubicBezTo>
                  <a:cubicBezTo>
                    <a:pt x="65" y="42"/>
                    <a:pt x="66" y="44"/>
                    <a:pt x="66" y="44"/>
                  </a:cubicBezTo>
                  <a:cubicBezTo>
                    <a:pt x="66" y="44"/>
                    <a:pt x="68" y="45"/>
                    <a:pt x="69" y="46"/>
                  </a:cubicBezTo>
                  <a:cubicBezTo>
                    <a:pt x="73" y="49"/>
                    <a:pt x="76" y="48"/>
                    <a:pt x="77" y="48"/>
                  </a:cubicBezTo>
                  <a:cubicBezTo>
                    <a:pt x="78" y="48"/>
                    <a:pt x="81" y="48"/>
                    <a:pt x="81" y="48"/>
                  </a:cubicBezTo>
                  <a:cubicBezTo>
                    <a:pt x="84" y="49"/>
                    <a:pt x="87" y="49"/>
                    <a:pt x="89" y="48"/>
                  </a:cubicBezTo>
                  <a:cubicBezTo>
                    <a:pt x="90" y="47"/>
                    <a:pt x="94" y="45"/>
                    <a:pt x="92" y="44"/>
                  </a:cubicBezTo>
                  <a:cubicBezTo>
                    <a:pt x="92" y="44"/>
                    <a:pt x="91" y="44"/>
                    <a:pt x="91" y="41"/>
                  </a:cubicBezTo>
                  <a:cubicBezTo>
                    <a:pt x="91" y="39"/>
                    <a:pt x="91" y="38"/>
                    <a:pt x="91" y="37"/>
                  </a:cubicBezTo>
                  <a:cubicBezTo>
                    <a:pt x="90" y="37"/>
                    <a:pt x="88" y="35"/>
                    <a:pt x="88" y="35"/>
                  </a:cubicBezTo>
                  <a:cubicBezTo>
                    <a:pt x="85" y="34"/>
                    <a:pt x="85" y="34"/>
                    <a:pt x="85" y="34"/>
                  </a:cubicBezTo>
                  <a:cubicBezTo>
                    <a:pt x="82" y="30"/>
                    <a:pt x="82" y="30"/>
                    <a:pt x="82" y="29"/>
                  </a:cubicBezTo>
                  <a:cubicBezTo>
                    <a:pt x="83" y="29"/>
                    <a:pt x="84" y="26"/>
                    <a:pt x="84" y="26"/>
                  </a:cubicBezTo>
                  <a:cubicBezTo>
                    <a:pt x="84" y="26"/>
                    <a:pt x="86" y="26"/>
                    <a:pt x="84" y="24"/>
                  </a:cubicBezTo>
                  <a:cubicBezTo>
                    <a:pt x="82" y="22"/>
                    <a:pt x="80" y="24"/>
                    <a:pt x="80" y="24"/>
                  </a:cubicBezTo>
                  <a:cubicBezTo>
                    <a:pt x="77" y="21"/>
                    <a:pt x="77" y="21"/>
                    <a:pt x="77" y="20"/>
                  </a:cubicBezTo>
                  <a:cubicBezTo>
                    <a:pt x="78" y="19"/>
                    <a:pt x="78" y="17"/>
                    <a:pt x="76" y="17"/>
                  </a:cubicBezTo>
                  <a:cubicBezTo>
                    <a:pt x="74" y="18"/>
                    <a:pt x="72" y="16"/>
                    <a:pt x="71" y="16"/>
                  </a:cubicBezTo>
                  <a:cubicBezTo>
                    <a:pt x="68" y="18"/>
                    <a:pt x="67" y="19"/>
                    <a:pt x="66" y="18"/>
                  </a:cubicBezTo>
                  <a:cubicBezTo>
                    <a:pt x="64" y="16"/>
                    <a:pt x="64" y="15"/>
                    <a:pt x="63" y="14"/>
                  </a:cubicBezTo>
                  <a:cubicBezTo>
                    <a:pt x="62" y="13"/>
                    <a:pt x="63" y="12"/>
                    <a:pt x="61" y="12"/>
                  </a:cubicBezTo>
                  <a:cubicBezTo>
                    <a:pt x="59" y="12"/>
                    <a:pt x="60" y="10"/>
                    <a:pt x="57" y="10"/>
                  </a:cubicBezTo>
                  <a:cubicBezTo>
                    <a:pt x="54" y="10"/>
                    <a:pt x="53" y="10"/>
                    <a:pt x="52" y="10"/>
                  </a:cubicBezTo>
                  <a:cubicBezTo>
                    <a:pt x="51" y="10"/>
                    <a:pt x="50" y="8"/>
                    <a:pt x="49" y="10"/>
                  </a:cubicBezTo>
                  <a:cubicBezTo>
                    <a:pt x="47" y="12"/>
                    <a:pt x="45" y="12"/>
                    <a:pt x="44" y="13"/>
                  </a:cubicBezTo>
                  <a:cubicBezTo>
                    <a:pt x="41" y="16"/>
                    <a:pt x="41" y="16"/>
                    <a:pt x="41" y="13"/>
                  </a:cubicBezTo>
                  <a:cubicBezTo>
                    <a:pt x="41" y="9"/>
                    <a:pt x="41" y="7"/>
                    <a:pt x="41" y="7"/>
                  </a:cubicBezTo>
                  <a:cubicBezTo>
                    <a:pt x="41" y="7"/>
                    <a:pt x="40" y="6"/>
                    <a:pt x="39" y="5"/>
                  </a:cubicBezTo>
                  <a:cubicBezTo>
                    <a:pt x="37" y="4"/>
                    <a:pt x="35" y="4"/>
                    <a:pt x="35" y="4"/>
                  </a:cubicBezTo>
                  <a:cubicBezTo>
                    <a:pt x="31" y="3"/>
                    <a:pt x="31" y="2"/>
                    <a:pt x="30" y="2"/>
                  </a:cubicBezTo>
                  <a:cubicBezTo>
                    <a:pt x="28" y="1"/>
                    <a:pt x="28" y="0"/>
                    <a:pt x="26" y="1"/>
                  </a:cubicBezTo>
                  <a:cubicBezTo>
                    <a:pt x="24" y="2"/>
                    <a:pt x="24" y="1"/>
                    <a:pt x="22" y="2"/>
                  </a:cubicBezTo>
                  <a:cubicBezTo>
                    <a:pt x="20" y="3"/>
                    <a:pt x="19" y="1"/>
                    <a:pt x="17" y="2"/>
                  </a:cubicBezTo>
                  <a:cubicBezTo>
                    <a:pt x="14" y="3"/>
                    <a:pt x="12" y="3"/>
                    <a:pt x="10" y="3"/>
                  </a:cubicBezTo>
                  <a:cubicBezTo>
                    <a:pt x="9" y="3"/>
                    <a:pt x="7" y="2"/>
                    <a:pt x="6" y="3"/>
                  </a:cubicBezTo>
                  <a:cubicBezTo>
                    <a:pt x="5" y="3"/>
                    <a:pt x="3" y="3"/>
                    <a:pt x="2" y="5"/>
                  </a:cubicBezTo>
                  <a:cubicBezTo>
                    <a:pt x="1" y="6"/>
                    <a:pt x="0" y="8"/>
                    <a:pt x="0" y="9"/>
                  </a:cubicBezTo>
                  <a:cubicBezTo>
                    <a:pt x="3" y="12"/>
                    <a:pt x="3" y="11"/>
                    <a:pt x="5" y="1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69" name="Freeform 28"/>
            <p:cNvSpPr>
              <a:spLocks/>
            </p:cNvSpPr>
            <p:nvPr/>
          </p:nvSpPr>
          <p:spPr bwMode="auto">
            <a:xfrm>
              <a:off x="3109" y="1489"/>
              <a:ext cx="15" cy="6"/>
            </a:xfrm>
            <a:custGeom>
              <a:avLst/>
              <a:gdLst>
                <a:gd name="T0" fmla="*/ 3 w 21"/>
                <a:gd name="T1" fmla="*/ 7 h 8"/>
                <a:gd name="T2" fmla="*/ 7 w 21"/>
                <a:gd name="T3" fmla="*/ 7 h 8"/>
                <a:gd name="T4" fmla="*/ 10 w 21"/>
                <a:gd name="T5" fmla="*/ 7 h 8"/>
                <a:gd name="T6" fmla="*/ 12 w 21"/>
                <a:gd name="T7" fmla="*/ 8 h 8"/>
                <a:gd name="T8" fmla="*/ 21 w 21"/>
                <a:gd name="T9" fmla="*/ 7 h 8"/>
                <a:gd name="T10" fmla="*/ 20 w 21"/>
                <a:gd name="T11" fmla="*/ 5 h 8"/>
                <a:gd name="T12" fmla="*/ 16 w 21"/>
                <a:gd name="T13" fmla="*/ 2 h 8"/>
                <a:gd name="T14" fmla="*/ 12 w 21"/>
                <a:gd name="T15" fmla="*/ 0 h 8"/>
                <a:gd name="T16" fmla="*/ 7 w 21"/>
                <a:gd name="T17" fmla="*/ 0 h 8"/>
                <a:gd name="T18" fmla="*/ 4 w 21"/>
                <a:gd name="T19" fmla="*/ 1 h 8"/>
                <a:gd name="T20" fmla="*/ 2 w 21"/>
                <a:gd name="T21" fmla="*/ 2 h 8"/>
                <a:gd name="T22" fmla="*/ 1 w 21"/>
                <a:gd name="T23" fmla="*/ 4 h 8"/>
                <a:gd name="T24" fmla="*/ 3 w 21"/>
                <a:gd name="T2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8">
                  <a:moveTo>
                    <a:pt x="3" y="7"/>
                  </a:moveTo>
                  <a:cubicBezTo>
                    <a:pt x="5" y="7"/>
                    <a:pt x="6" y="6"/>
                    <a:pt x="7" y="7"/>
                  </a:cubicBezTo>
                  <a:cubicBezTo>
                    <a:pt x="9" y="7"/>
                    <a:pt x="9" y="7"/>
                    <a:pt x="10" y="7"/>
                  </a:cubicBezTo>
                  <a:cubicBezTo>
                    <a:pt x="11" y="8"/>
                    <a:pt x="11" y="8"/>
                    <a:pt x="12" y="8"/>
                  </a:cubicBezTo>
                  <a:cubicBezTo>
                    <a:pt x="14" y="8"/>
                    <a:pt x="19" y="8"/>
                    <a:pt x="21" y="7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4" y="0"/>
                    <a:pt x="12" y="0"/>
                    <a:pt x="12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6" y="0"/>
                    <a:pt x="4" y="1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1" y="3"/>
                    <a:pt x="0" y="3"/>
                    <a:pt x="1" y="4"/>
                  </a:cubicBezTo>
                  <a:cubicBezTo>
                    <a:pt x="2" y="6"/>
                    <a:pt x="2" y="6"/>
                    <a:pt x="3" y="7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0" name="Freeform 29"/>
            <p:cNvSpPr>
              <a:spLocks/>
            </p:cNvSpPr>
            <p:nvPr/>
          </p:nvSpPr>
          <p:spPr bwMode="auto">
            <a:xfrm>
              <a:off x="3138" y="1647"/>
              <a:ext cx="45" cy="25"/>
            </a:xfrm>
            <a:custGeom>
              <a:avLst/>
              <a:gdLst>
                <a:gd name="T0" fmla="*/ 48 w 60"/>
                <a:gd name="T1" fmla="*/ 11 h 34"/>
                <a:gd name="T2" fmla="*/ 51 w 60"/>
                <a:gd name="T3" fmla="*/ 12 h 34"/>
                <a:gd name="T4" fmla="*/ 54 w 60"/>
                <a:gd name="T5" fmla="*/ 15 h 34"/>
                <a:gd name="T6" fmla="*/ 57 w 60"/>
                <a:gd name="T7" fmla="*/ 13 h 34"/>
                <a:gd name="T8" fmla="*/ 58 w 60"/>
                <a:gd name="T9" fmla="*/ 11 h 34"/>
                <a:gd name="T10" fmla="*/ 58 w 60"/>
                <a:gd name="T11" fmla="*/ 8 h 34"/>
                <a:gd name="T12" fmla="*/ 54 w 60"/>
                <a:gd name="T13" fmla="*/ 7 h 34"/>
                <a:gd name="T14" fmla="*/ 51 w 60"/>
                <a:gd name="T15" fmla="*/ 6 h 34"/>
                <a:gd name="T16" fmla="*/ 47 w 60"/>
                <a:gd name="T17" fmla="*/ 7 h 34"/>
                <a:gd name="T18" fmla="*/ 43 w 60"/>
                <a:gd name="T19" fmla="*/ 8 h 34"/>
                <a:gd name="T20" fmla="*/ 41 w 60"/>
                <a:gd name="T21" fmla="*/ 7 h 34"/>
                <a:gd name="T22" fmla="*/ 40 w 60"/>
                <a:gd name="T23" fmla="*/ 8 h 34"/>
                <a:gd name="T24" fmla="*/ 36 w 60"/>
                <a:gd name="T25" fmla="*/ 7 h 34"/>
                <a:gd name="T26" fmla="*/ 34 w 60"/>
                <a:gd name="T27" fmla="*/ 3 h 34"/>
                <a:gd name="T28" fmla="*/ 29 w 60"/>
                <a:gd name="T29" fmla="*/ 2 h 34"/>
                <a:gd name="T30" fmla="*/ 25 w 60"/>
                <a:gd name="T31" fmla="*/ 1 h 34"/>
                <a:gd name="T32" fmla="*/ 22 w 60"/>
                <a:gd name="T33" fmla="*/ 1 h 34"/>
                <a:gd name="T34" fmla="*/ 19 w 60"/>
                <a:gd name="T35" fmla="*/ 3 h 34"/>
                <a:gd name="T36" fmla="*/ 18 w 60"/>
                <a:gd name="T37" fmla="*/ 6 h 34"/>
                <a:gd name="T38" fmla="*/ 17 w 60"/>
                <a:gd name="T39" fmla="*/ 10 h 34"/>
                <a:gd name="T40" fmla="*/ 17 w 60"/>
                <a:gd name="T41" fmla="*/ 12 h 34"/>
                <a:gd name="T42" fmla="*/ 15 w 60"/>
                <a:gd name="T43" fmla="*/ 14 h 34"/>
                <a:gd name="T44" fmla="*/ 13 w 60"/>
                <a:gd name="T45" fmla="*/ 16 h 34"/>
                <a:gd name="T46" fmla="*/ 11 w 60"/>
                <a:gd name="T47" fmla="*/ 17 h 34"/>
                <a:gd name="T48" fmla="*/ 8 w 60"/>
                <a:gd name="T49" fmla="*/ 17 h 34"/>
                <a:gd name="T50" fmla="*/ 5 w 60"/>
                <a:gd name="T51" fmla="*/ 17 h 34"/>
                <a:gd name="T52" fmla="*/ 3 w 60"/>
                <a:gd name="T53" fmla="*/ 19 h 34"/>
                <a:gd name="T54" fmla="*/ 2 w 60"/>
                <a:gd name="T55" fmla="*/ 22 h 34"/>
                <a:gd name="T56" fmla="*/ 5 w 60"/>
                <a:gd name="T57" fmla="*/ 24 h 34"/>
                <a:gd name="T58" fmla="*/ 11 w 60"/>
                <a:gd name="T59" fmla="*/ 24 h 34"/>
                <a:gd name="T60" fmla="*/ 16 w 60"/>
                <a:gd name="T61" fmla="*/ 24 h 34"/>
                <a:gd name="T62" fmla="*/ 16 w 60"/>
                <a:gd name="T63" fmla="*/ 27 h 34"/>
                <a:gd name="T64" fmla="*/ 21 w 60"/>
                <a:gd name="T65" fmla="*/ 27 h 34"/>
                <a:gd name="T66" fmla="*/ 24 w 60"/>
                <a:gd name="T67" fmla="*/ 28 h 34"/>
                <a:gd name="T68" fmla="*/ 28 w 60"/>
                <a:gd name="T69" fmla="*/ 29 h 34"/>
                <a:gd name="T70" fmla="*/ 30 w 60"/>
                <a:gd name="T71" fmla="*/ 30 h 34"/>
                <a:gd name="T72" fmla="*/ 34 w 60"/>
                <a:gd name="T73" fmla="*/ 30 h 34"/>
                <a:gd name="T74" fmla="*/ 38 w 60"/>
                <a:gd name="T75" fmla="*/ 32 h 34"/>
                <a:gd name="T76" fmla="*/ 41 w 60"/>
                <a:gd name="T77" fmla="*/ 33 h 34"/>
                <a:gd name="T78" fmla="*/ 45 w 60"/>
                <a:gd name="T79" fmla="*/ 34 h 34"/>
                <a:gd name="T80" fmla="*/ 49 w 60"/>
                <a:gd name="T81" fmla="*/ 32 h 34"/>
                <a:gd name="T82" fmla="*/ 50 w 60"/>
                <a:gd name="T83" fmla="*/ 30 h 34"/>
                <a:gd name="T84" fmla="*/ 56 w 60"/>
                <a:gd name="T85" fmla="*/ 28 h 34"/>
                <a:gd name="T86" fmla="*/ 58 w 60"/>
                <a:gd name="T87" fmla="*/ 27 h 34"/>
                <a:gd name="T88" fmla="*/ 59 w 60"/>
                <a:gd name="T89" fmla="*/ 26 h 34"/>
                <a:gd name="T90" fmla="*/ 58 w 60"/>
                <a:gd name="T91" fmla="*/ 23 h 34"/>
                <a:gd name="T92" fmla="*/ 54 w 60"/>
                <a:gd name="T93" fmla="*/ 22 h 34"/>
                <a:gd name="T94" fmla="*/ 53 w 60"/>
                <a:gd name="T95" fmla="*/ 20 h 34"/>
                <a:gd name="T96" fmla="*/ 50 w 60"/>
                <a:gd name="T97" fmla="*/ 18 h 34"/>
                <a:gd name="T98" fmla="*/ 48 w 60"/>
                <a:gd name="T99" fmla="*/ 16 h 34"/>
                <a:gd name="T100" fmla="*/ 48 w 60"/>
                <a:gd name="T101" fmla="*/ 1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0" h="34">
                  <a:moveTo>
                    <a:pt x="48" y="11"/>
                  </a:moveTo>
                  <a:cubicBezTo>
                    <a:pt x="51" y="12"/>
                    <a:pt x="49" y="10"/>
                    <a:pt x="51" y="12"/>
                  </a:cubicBezTo>
                  <a:cubicBezTo>
                    <a:pt x="53" y="14"/>
                    <a:pt x="52" y="14"/>
                    <a:pt x="54" y="15"/>
                  </a:cubicBezTo>
                  <a:cubicBezTo>
                    <a:pt x="55" y="16"/>
                    <a:pt x="57" y="13"/>
                    <a:pt x="57" y="13"/>
                  </a:cubicBezTo>
                  <a:cubicBezTo>
                    <a:pt x="57" y="13"/>
                    <a:pt x="58" y="12"/>
                    <a:pt x="58" y="11"/>
                  </a:cubicBezTo>
                  <a:cubicBezTo>
                    <a:pt x="59" y="10"/>
                    <a:pt x="60" y="9"/>
                    <a:pt x="58" y="8"/>
                  </a:cubicBezTo>
                  <a:cubicBezTo>
                    <a:pt x="57" y="7"/>
                    <a:pt x="54" y="7"/>
                    <a:pt x="54" y="7"/>
                  </a:cubicBezTo>
                  <a:cubicBezTo>
                    <a:pt x="54" y="7"/>
                    <a:pt x="53" y="6"/>
                    <a:pt x="51" y="6"/>
                  </a:cubicBezTo>
                  <a:cubicBezTo>
                    <a:pt x="49" y="7"/>
                    <a:pt x="47" y="7"/>
                    <a:pt x="47" y="7"/>
                  </a:cubicBezTo>
                  <a:cubicBezTo>
                    <a:pt x="46" y="8"/>
                    <a:pt x="44" y="8"/>
                    <a:pt x="43" y="8"/>
                  </a:cubicBezTo>
                  <a:cubicBezTo>
                    <a:pt x="42" y="8"/>
                    <a:pt x="42" y="7"/>
                    <a:pt x="41" y="7"/>
                  </a:cubicBezTo>
                  <a:cubicBezTo>
                    <a:pt x="40" y="8"/>
                    <a:pt x="41" y="7"/>
                    <a:pt x="40" y="8"/>
                  </a:cubicBezTo>
                  <a:cubicBezTo>
                    <a:pt x="39" y="9"/>
                    <a:pt x="37" y="9"/>
                    <a:pt x="36" y="7"/>
                  </a:cubicBezTo>
                  <a:cubicBezTo>
                    <a:pt x="34" y="4"/>
                    <a:pt x="35" y="3"/>
                    <a:pt x="34" y="3"/>
                  </a:cubicBezTo>
                  <a:cubicBezTo>
                    <a:pt x="32" y="3"/>
                    <a:pt x="29" y="2"/>
                    <a:pt x="29" y="2"/>
                  </a:cubicBezTo>
                  <a:cubicBezTo>
                    <a:pt x="29" y="2"/>
                    <a:pt x="26" y="0"/>
                    <a:pt x="25" y="1"/>
                  </a:cubicBezTo>
                  <a:cubicBezTo>
                    <a:pt x="24" y="1"/>
                    <a:pt x="23" y="0"/>
                    <a:pt x="22" y="1"/>
                  </a:cubicBezTo>
                  <a:cubicBezTo>
                    <a:pt x="21" y="1"/>
                    <a:pt x="20" y="1"/>
                    <a:pt x="19" y="3"/>
                  </a:cubicBezTo>
                  <a:cubicBezTo>
                    <a:pt x="18" y="4"/>
                    <a:pt x="18" y="4"/>
                    <a:pt x="18" y="6"/>
                  </a:cubicBezTo>
                  <a:cubicBezTo>
                    <a:pt x="17" y="8"/>
                    <a:pt x="16" y="9"/>
                    <a:pt x="17" y="10"/>
                  </a:cubicBezTo>
                  <a:cubicBezTo>
                    <a:pt x="17" y="11"/>
                    <a:pt x="17" y="11"/>
                    <a:pt x="17" y="12"/>
                  </a:cubicBezTo>
                  <a:cubicBezTo>
                    <a:pt x="16" y="14"/>
                    <a:pt x="15" y="14"/>
                    <a:pt x="15" y="14"/>
                  </a:cubicBezTo>
                  <a:cubicBezTo>
                    <a:pt x="15" y="14"/>
                    <a:pt x="13" y="15"/>
                    <a:pt x="13" y="16"/>
                  </a:cubicBezTo>
                  <a:cubicBezTo>
                    <a:pt x="13" y="16"/>
                    <a:pt x="13" y="17"/>
                    <a:pt x="11" y="17"/>
                  </a:cubicBezTo>
                  <a:cubicBezTo>
                    <a:pt x="9" y="18"/>
                    <a:pt x="9" y="17"/>
                    <a:pt x="8" y="17"/>
                  </a:cubicBezTo>
                  <a:cubicBezTo>
                    <a:pt x="7" y="18"/>
                    <a:pt x="6" y="16"/>
                    <a:pt x="5" y="17"/>
                  </a:cubicBezTo>
                  <a:cubicBezTo>
                    <a:pt x="3" y="18"/>
                    <a:pt x="3" y="17"/>
                    <a:pt x="3" y="19"/>
                  </a:cubicBezTo>
                  <a:cubicBezTo>
                    <a:pt x="2" y="21"/>
                    <a:pt x="1" y="21"/>
                    <a:pt x="2" y="22"/>
                  </a:cubicBezTo>
                  <a:cubicBezTo>
                    <a:pt x="3" y="23"/>
                    <a:pt x="0" y="23"/>
                    <a:pt x="5" y="24"/>
                  </a:cubicBezTo>
                  <a:cubicBezTo>
                    <a:pt x="9" y="24"/>
                    <a:pt x="8" y="24"/>
                    <a:pt x="11" y="24"/>
                  </a:cubicBezTo>
                  <a:cubicBezTo>
                    <a:pt x="13" y="24"/>
                    <a:pt x="16" y="22"/>
                    <a:pt x="16" y="24"/>
                  </a:cubicBezTo>
                  <a:cubicBezTo>
                    <a:pt x="15" y="26"/>
                    <a:pt x="13" y="26"/>
                    <a:pt x="16" y="27"/>
                  </a:cubicBezTo>
                  <a:cubicBezTo>
                    <a:pt x="18" y="28"/>
                    <a:pt x="20" y="27"/>
                    <a:pt x="21" y="27"/>
                  </a:cubicBezTo>
                  <a:cubicBezTo>
                    <a:pt x="22" y="28"/>
                    <a:pt x="24" y="28"/>
                    <a:pt x="24" y="28"/>
                  </a:cubicBezTo>
                  <a:cubicBezTo>
                    <a:pt x="24" y="28"/>
                    <a:pt x="27" y="29"/>
                    <a:pt x="28" y="29"/>
                  </a:cubicBezTo>
                  <a:cubicBezTo>
                    <a:pt x="28" y="29"/>
                    <a:pt x="29" y="30"/>
                    <a:pt x="30" y="30"/>
                  </a:cubicBezTo>
                  <a:cubicBezTo>
                    <a:pt x="34" y="30"/>
                    <a:pt x="34" y="29"/>
                    <a:pt x="34" y="30"/>
                  </a:cubicBezTo>
                  <a:cubicBezTo>
                    <a:pt x="34" y="30"/>
                    <a:pt x="37" y="32"/>
                    <a:pt x="38" y="32"/>
                  </a:cubicBezTo>
                  <a:cubicBezTo>
                    <a:pt x="39" y="33"/>
                    <a:pt x="40" y="32"/>
                    <a:pt x="41" y="33"/>
                  </a:cubicBezTo>
                  <a:cubicBezTo>
                    <a:pt x="42" y="34"/>
                    <a:pt x="44" y="34"/>
                    <a:pt x="45" y="34"/>
                  </a:cubicBezTo>
                  <a:cubicBezTo>
                    <a:pt x="46" y="34"/>
                    <a:pt x="49" y="32"/>
                    <a:pt x="49" y="32"/>
                  </a:cubicBezTo>
                  <a:cubicBezTo>
                    <a:pt x="49" y="32"/>
                    <a:pt x="49" y="30"/>
                    <a:pt x="50" y="30"/>
                  </a:cubicBezTo>
                  <a:cubicBezTo>
                    <a:pt x="56" y="29"/>
                    <a:pt x="55" y="28"/>
                    <a:pt x="56" y="28"/>
                  </a:cubicBezTo>
                  <a:cubicBezTo>
                    <a:pt x="58" y="27"/>
                    <a:pt x="57" y="28"/>
                    <a:pt x="58" y="27"/>
                  </a:cubicBezTo>
                  <a:cubicBezTo>
                    <a:pt x="59" y="26"/>
                    <a:pt x="60" y="28"/>
                    <a:pt x="59" y="26"/>
                  </a:cubicBezTo>
                  <a:cubicBezTo>
                    <a:pt x="59" y="24"/>
                    <a:pt x="59" y="23"/>
                    <a:pt x="58" y="23"/>
                  </a:cubicBezTo>
                  <a:cubicBezTo>
                    <a:pt x="56" y="22"/>
                    <a:pt x="54" y="22"/>
                    <a:pt x="54" y="22"/>
                  </a:cubicBezTo>
                  <a:cubicBezTo>
                    <a:pt x="54" y="22"/>
                    <a:pt x="54" y="20"/>
                    <a:pt x="53" y="20"/>
                  </a:cubicBezTo>
                  <a:cubicBezTo>
                    <a:pt x="52" y="20"/>
                    <a:pt x="51" y="19"/>
                    <a:pt x="50" y="18"/>
                  </a:cubicBezTo>
                  <a:cubicBezTo>
                    <a:pt x="48" y="16"/>
                    <a:pt x="47" y="19"/>
                    <a:pt x="48" y="16"/>
                  </a:cubicBezTo>
                  <a:cubicBezTo>
                    <a:pt x="48" y="13"/>
                    <a:pt x="45" y="11"/>
                    <a:pt x="48" y="1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1" name="Line 30"/>
            <p:cNvSpPr>
              <a:spLocks noChangeShapeType="1"/>
            </p:cNvSpPr>
            <p:nvPr/>
          </p:nvSpPr>
          <p:spPr bwMode="auto">
            <a:xfrm>
              <a:off x="3161" y="1589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2" name="Line 31"/>
            <p:cNvSpPr>
              <a:spLocks noChangeShapeType="1"/>
            </p:cNvSpPr>
            <p:nvPr/>
          </p:nvSpPr>
          <p:spPr bwMode="auto">
            <a:xfrm>
              <a:off x="3161" y="1589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3" name="Freeform 32"/>
            <p:cNvSpPr>
              <a:spLocks/>
            </p:cNvSpPr>
            <p:nvPr/>
          </p:nvSpPr>
          <p:spPr bwMode="auto">
            <a:xfrm>
              <a:off x="3107" y="1568"/>
              <a:ext cx="64" cy="53"/>
            </a:xfrm>
            <a:custGeom>
              <a:avLst/>
              <a:gdLst>
                <a:gd name="T0" fmla="*/ 86 w 86"/>
                <a:gd name="T1" fmla="*/ 39 h 72"/>
                <a:gd name="T2" fmla="*/ 82 w 86"/>
                <a:gd name="T3" fmla="*/ 35 h 72"/>
                <a:gd name="T4" fmla="*/ 85 w 86"/>
                <a:gd name="T5" fmla="*/ 28 h 72"/>
                <a:gd name="T6" fmla="*/ 80 w 86"/>
                <a:gd name="T7" fmla="*/ 25 h 72"/>
                <a:gd name="T8" fmla="*/ 75 w 86"/>
                <a:gd name="T9" fmla="*/ 30 h 72"/>
                <a:gd name="T10" fmla="*/ 79 w 86"/>
                <a:gd name="T11" fmla="*/ 33 h 72"/>
                <a:gd name="T12" fmla="*/ 75 w 86"/>
                <a:gd name="T13" fmla="*/ 33 h 72"/>
                <a:gd name="T14" fmla="*/ 69 w 86"/>
                <a:gd name="T15" fmla="*/ 27 h 72"/>
                <a:gd name="T16" fmla="*/ 68 w 86"/>
                <a:gd name="T17" fmla="*/ 27 h 72"/>
                <a:gd name="T18" fmla="*/ 63 w 86"/>
                <a:gd name="T19" fmla="*/ 29 h 72"/>
                <a:gd name="T20" fmla="*/ 61 w 86"/>
                <a:gd name="T21" fmla="*/ 28 h 72"/>
                <a:gd name="T22" fmla="*/ 65 w 86"/>
                <a:gd name="T23" fmla="*/ 24 h 72"/>
                <a:gd name="T24" fmla="*/ 72 w 86"/>
                <a:gd name="T25" fmla="*/ 19 h 72"/>
                <a:gd name="T26" fmla="*/ 76 w 86"/>
                <a:gd name="T27" fmla="*/ 15 h 72"/>
                <a:gd name="T28" fmla="*/ 77 w 86"/>
                <a:gd name="T29" fmla="*/ 9 h 72"/>
                <a:gd name="T30" fmla="*/ 70 w 86"/>
                <a:gd name="T31" fmla="*/ 6 h 72"/>
                <a:gd name="T32" fmla="*/ 68 w 86"/>
                <a:gd name="T33" fmla="*/ 4 h 72"/>
                <a:gd name="T34" fmla="*/ 64 w 86"/>
                <a:gd name="T35" fmla="*/ 0 h 72"/>
                <a:gd name="T36" fmla="*/ 59 w 86"/>
                <a:gd name="T37" fmla="*/ 1 h 72"/>
                <a:gd name="T38" fmla="*/ 53 w 86"/>
                <a:gd name="T39" fmla="*/ 3 h 72"/>
                <a:gd name="T40" fmla="*/ 47 w 86"/>
                <a:gd name="T41" fmla="*/ 5 h 72"/>
                <a:gd name="T42" fmla="*/ 51 w 86"/>
                <a:gd name="T43" fmla="*/ 10 h 72"/>
                <a:gd name="T44" fmla="*/ 46 w 86"/>
                <a:gd name="T45" fmla="*/ 9 h 72"/>
                <a:gd name="T46" fmla="*/ 38 w 86"/>
                <a:gd name="T47" fmla="*/ 4 h 72"/>
                <a:gd name="T48" fmla="*/ 35 w 86"/>
                <a:gd name="T49" fmla="*/ 7 h 72"/>
                <a:gd name="T50" fmla="*/ 29 w 86"/>
                <a:gd name="T51" fmla="*/ 7 h 72"/>
                <a:gd name="T52" fmla="*/ 23 w 86"/>
                <a:gd name="T53" fmla="*/ 8 h 72"/>
                <a:gd name="T54" fmla="*/ 21 w 86"/>
                <a:gd name="T55" fmla="*/ 12 h 72"/>
                <a:gd name="T56" fmla="*/ 16 w 86"/>
                <a:gd name="T57" fmla="*/ 14 h 72"/>
                <a:gd name="T58" fmla="*/ 16 w 86"/>
                <a:gd name="T59" fmla="*/ 17 h 72"/>
                <a:gd name="T60" fmla="*/ 20 w 86"/>
                <a:gd name="T61" fmla="*/ 23 h 72"/>
                <a:gd name="T62" fmla="*/ 28 w 86"/>
                <a:gd name="T63" fmla="*/ 25 h 72"/>
                <a:gd name="T64" fmla="*/ 33 w 86"/>
                <a:gd name="T65" fmla="*/ 27 h 72"/>
                <a:gd name="T66" fmla="*/ 32 w 86"/>
                <a:gd name="T67" fmla="*/ 33 h 72"/>
                <a:gd name="T68" fmla="*/ 25 w 86"/>
                <a:gd name="T69" fmla="*/ 36 h 72"/>
                <a:gd name="T70" fmla="*/ 20 w 86"/>
                <a:gd name="T71" fmla="*/ 36 h 72"/>
                <a:gd name="T72" fmla="*/ 9 w 86"/>
                <a:gd name="T73" fmla="*/ 26 h 72"/>
                <a:gd name="T74" fmla="*/ 0 w 86"/>
                <a:gd name="T75" fmla="*/ 31 h 72"/>
                <a:gd name="T76" fmla="*/ 2 w 86"/>
                <a:gd name="T77" fmla="*/ 37 h 72"/>
                <a:gd name="T78" fmla="*/ 9 w 86"/>
                <a:gd name="T79" fmla="*/ 43 h 72"/>
                <a:gd name="T80" fmla="*/ 13 w 86"/>
                <a:gd name="T81" fmla="*/ 47 h 72"/>
                <a:gd name="T82" fmla="*/ 20 w 86"/>
                <a:gd name="T83" fmla="*/ 46 h 72"/>
                <a:gd name="T84" fmla="*/ 24 w 86"/>
                <a:gd name="T85" fmla="*/ 49 h 72"/>
                <a:gd name="T86" fmla="*/ 30 w 86"/>
                <a:gd name="T87" fmla="*/ 52 h 72"/>
                <a:gd name="T88" fmla="*/ 36 w 86"/>
                <a:gd name="T89" fmla="*/ 57 h 72"/>
                <a:gd name="T90" fmla="*/ 44 w 86"/>
                <a:gd name="T91" fmla="*/ 63 h 72"/>
                <a:gd name="T92" fmla="*/ 49 w 86"/>
                <a:gd name="T93" fmla="*/ 70 h 72"/>
                <a:gd name="T94" fmla="*/ 55 w 86"/>
                <a:gd name="T95" fmla="*/ 71 h 72"/>
                <a:gd name="T96" fmla="*/ 62 w 86"/>
                <a:gd name="T97" fmla="*/ 69 h 72"/>
                <a:gd name="T98" fmla="*/ 60 w 86"/>
                <a:gd name="T99" fmla="*/ 61 h 72"/>
                <a:gd name="T100" fmla="*/ 62 w 86"/>
                <a:gd name="T101" fmla="*/ 62 h 72"/>
                <a:gd name="T102" fmla="*/ 67 w 86"/>
                <a:gd name="T103" fmla="*/ 64 h 72"/>
                <a:gd name="T104" fmla="*/ 76 w 86"/>
                <a:gd name="T105" fmla="*/ 63 h 72"/>
                <a:gd name="T106" fmla="*/ 81 w 86"/>
                <a:gd name="T107" fmla="*/ 59 h 72"/>
                <a:gd name="T108" fmla="*/ 84 w 86"/>
                <a:gd name="T109" fmla="*/ 52 h 72"/>
                <a:gd name="T110" fmla="*/ 83 w 86"/>
                <a:gd name="T111" fmla="*/ 4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" h="72">
                  <a:moveTo>
                    <a:pt x="84" y="43"/>
                  </a:moveTo>
                  <a:cubicBezTo>
                    <a:pt x="85" y="41"/>
                    <a:pt x="85" y="43"/>
                    <a:pt x="86" y="39"/>
                  </a:cubicBezTo>
                  <a:cubicBezTo>
                    <a:pt x="86" y="38"/>
                    <a:pt x="85" y="37"/>
                    <a:pt x="84" y="36"/>
                  </a:cubicBezTo>
                  <a:cubicBezTo>
                    <a:pt x="83" y="35"/>
                    <a:pt x="83" y="36"/>
                    <a:pt x="82" y="35"/>
                  </a:cubicBezTo>
                  <a:cubicBezTo>
                    <a:pt x="80" y="34"/>
                    <a:pt x="82" y="33"/>
                    <a:pt x="84" y="31"/>
                  </a:cubicBezTo>
                  <a:cubicBezTo>
                    <a:pt x="85" y="31"/>
                    <a:pt x="85" y="30"/>
                    <a:pt x="85" y="28"/>
                  </a:cubicBezTo>
                  <a:cubicBezTo>
                    <a:pt x="85" y="26"/>
                    <a:pt x="84" y="27"/>
                    <a:pt x="83" y="26"/>
                  </a:cubicBezTo>
                  <a:cubicBezTo>
                    <a:pt x="83" y="25"/>
                    <a:pt x="81" y="25"/>
                    <a:pt x="80" y="25"/>
                  </a:cubicBezTo>
                  <a:cubicBezTo>
                    <a:pt x="79" y="25"/>
                    <a:pt x="79" y="25"/>
                    <a:pt x="77" y="26"/>
                  </a:cubicBezTo>
                  <a:cubicBezTo>
                    <a:pt x="75" y="26"/>
                    <a:pt x="75" y="28"/>
                    <a:pt x="75" y="30"/>
                  </a:cubicBezTo>
                  <a:cubicBezTo>
                    <a:pt x="75" y="31"/>
                    <a:pt x="77" y="31"/>
                    <a:pt x="78" y="31"/>
                  </a:cubicBezTo>
                  <a:cubicBezTo>
                    <a:pt x="79" y="31"/>
                    <a:pt x="79" y="32"/>
                    <a:pt x="79" y="33"/>
                  </a:cubicBezTo>
                  <a:cubicBezTo>
                    <a:pt x="80" y="34"/>
                    <a:pt x="79" y="34"/>
                    <a:pt x="76" y="35"/>
                  </a:cubicBezTo>
                  <a:cubicBezTo>
                    <a:pt x="75" y="36"/>
                    <a:pt x="75" y="35"/>
                    <a:pt x="75" y="33"/>
                  </a:cubicBezTo>
                  <a:cubicBezTo>
                    <a:pt x="74" y="31"/>
                    <a:pt x="74" y="32"/>
                    <a:pt x="72" y="29"/>
                  </a:cubicBezTo>
                  <a:cubicBezTo>
                    <a:pt x="71" y="28"/>
                    <a:pt x="72" y="29"/>
                    <a:pt x="69" y="27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7" y="26"/>
                    <a:pt x="68" y="26"/>
                    <a:pt x="68" y="27"/>
                  </a:cubicBezTo>
                  <a:cubicBezTo>
                    <a:pt x="68" y="27"/>
                    <a:pt x="68" y="27"/>
                    <a:pt x="67" y="27"/>
                  </a:cubicBezTo>
                  <a:cubicBezTo>
                    <a:pt x="66" y="27"/>
                    <a:pt x="66" y="28"/>
                    <a:pt x="63" y="29"/>
                  </a:cubicBezTo>
                  <a:cubicBezTo>
                    <a:pt x="62" y="30"/>
                    <a:pt x="60" y="31"/>
                    <a:pt x="59" y="30"/>
                  </a:cubicBezTo>
                  <a:cubicBezTo>
                    <a:pt x="59" y="29"/>
                    <a:pt x="59" y="30"/>
                    <a:pt x="61" y="28"/>
                  </a:cubicBezTo>
                  <a:cubicBezTo>
                    <a:pt x="62" y="27"/>
                    <a:pt x="63" y="28"/>
                    <a:pt x="63" y="26"/>
                  </a:cubicBezTo>
                  <a:cubicBezTo>
                    <a:pt x="63" y="25"/>
                    <a:pt x="64" y="25"/>
                    <a:pt x="65" y="24"/>
                  </a:cubicBezTo>
                  <a:cubicBezTo>
                    <a:pt x="65" y="23"/>
                    <a:pt x="66" y="22"/>
                    <a:pt x="68" y="21"/>
                  </a:cubicBezTo>
                  <a:cubicBezTo>
                    <a:pt x="70" y="20"/>
                    <a:pt x="70" y="21"/>
                    <a:pt x="72" y="19"/>
                  </a:cubicBezTo>
                  <a:cubicBezTo>
                    <a:pt x="73" y="19"/>
                    <a:pt x="72" y="18"/>
                    <a:pt x="74" y="15"/>
                  </a:cubicBezTo>
                  <a:cubicBezTo>
                    <a:pt x="75" y="14"/>
                    <a:pt x="75" y="16"/>
                    <a:pt x="76" y="15"/>
                  </a:cubicBezTo>
                  <a:cubicBezTo>
                    <a:pt x="77" y="14"/>
                    <a:pt x="77" y="14"/>
                    <a:pt x="77" y="12"/>
                  </a:cubicBezTo>
                  <a:cubicBezTo>
                    <a:pt x="78" y="11"/>
                    <a:pt x="78" y="10"/>
                    <a:pt x="77" y="9"/>
                  </a:cubicBezTo>
                  <a:cubicBezTo>
                    <a:pt x="76" y="8"/>
                    <a:pt x="75" y="7"/>
                    <a:pt x="72" y="6"/>
                  </a:cubicBezTo>
                  <a:cubicBezTo>
                    <a:pt x="71" y="6"/>
                    <a:pt x="70" y="6"/>
                    <a:pt x="70" y="6"/>
                  </a:cubicBezTo>
                  <a:cubicBezTo>
                    <a:pt x="69" y="6"/>
                    <a:pt x="67" y="5"/>
                    <a:pt x="67" y="5"/>
                  </a:cubicBezTo>
                  <a:cubicBezTo>
                    <a:pt x="68" y="4"/>
                    <a:pt x="68" y="5"/>
                    <a:pt x="68" y="4"/>
                  </a:cubicBezTo>
                  <a:cubicBezTo>
                    <a:pt x="69" y="2"/>
                    <a:pt x="69" y="2"/>
                    <a:pt x="68" y="0"/>
                  </a:cubicBezTo>
                  <a:cubicBezTo>
                    <a:pt x="68" y="0"/>
                    <a:pt x="66" y="0"/>
                    <a:pt x="64" y="0"/>
                  </a:cubicBezTo>
                  <a:cubicBezTo>
                    <a:pt x="63" y="0"/>
                    <a:pt x="62" y="0"/>
                    <a:pt x="62" y="0"/>
                  </a:cubicBezTo>
                  <a:cubicBezTo>
                    <a:pt x="61" y="0"/>
                    <a:pt x="60" y="1"/>
                    <a:pt x="59" y="1"/>
                  </a:cubicBezTo>
                  <a:cubicBezTo>
                    <a:pt x="57" y="2"/>
                    <a:pt x="56" y="2"/>
                    <a:pt x="56" y="2"/>
                  </a:cubicBezTo>
                  <a:cubicBezTo>
                    <a:pt x="56" y="2"/>
                    <a:pt x="54" y="3"/>
                    <a:pt x="53" y="3"/>
                  </a:cubicBezTo>
                  <a:cubicBezTo>
                    <a:pt x="52" y="4"/>
                    <a:pt x="52" y="3"/>
                    <a:pt x="50" y="3"/>
                  </a:cubicBezTo>
                  <a:cubicBezTo>
                    <a:pt x="49" y="2"/>
                    <a:pt x="49" y="3"/>
                    <a:pt x="47" y="5"/>
                  </a:cubicBezTo>
                  <a:cubicBezTo>
                    <a:pt x="45" y="6"/>
                    <a:pt x="47" y="6"/>
                    <a:pt x="49" y="7"/>
                  </a:cubicBezTo>
                  <a:cubicBezTo>
                    <a:pt x="51" y="7"/>
                    <a:pt x="50" y="8"/>
                    <a:pt x="51" y="10"/>
                  </a:cubicBezTo>
                  <a:cubicBezTo>
                    <a:pt x="52" y="11"/>
                    <a:pt x="51" y="11"/>
                    <a:pt x="50" y="10"/>
                  </a:cubicBezTo>
                  <a:cubicBezTo>
                    <a:pt x="49" y="10"/>
                    <a:pt x="47" y="11"/>
                    <a:pt x="46" y="9"/>
                  </a:cubicBezTo>
                  <a:cubicBezTo>
                    <a:pt x="44" y="7"/>
                    <a:pt x="44" y="9"/>
                    <a:pt x="42" y="7"/>
                  </a:cubicBezTo>
                  <a:cubicBezTo>
                    <a:pt x="40" y="5"/>
                    <a:pt x="41" y="5"/>
                    <a:pt x="38" y="4"/>
                  </a:cubicBezTo>
                  <a:cubicBezTo>
                    <a:pt x="35" y="4"/>
                    <a:pt x="38" y="4"/>
                    <a:pt x="35" y="4"/>
                  </a:cubicBezTo>
                  <a:cubicBezTo>
                    <a:pt x="33" y="4"/>
                    <a:pt x="35" y="7"/>
                    <a:pt x="35" y="7"/>
                  </a:cubicBezTo>
                  <a:cubicBezTo>
                    <a:pt x="35" y="7"/>
                    <a:pt x="34" y="8"/>
                    <a:pt x="33" y="8"/>
                  </a:cubicBezTo>
                  <a:cubicBezTo>
                    <a:pt x="32" y="9"/>
                    <a:pt x="31" y="9"/>
                    <a:pt x="29" y="7"/>
                  </a:cubicBezTo>
                  <a:cubicBezTo>
                    <a:pt x="26" y="6"/>
                    <a:pt x="28" y="7"/>
                    <a:pt x="26" y="7"/>
                  </a:cubicBezTo>
                  <a:cubicBezTo>
                    <a:pt x="23" y="7"/>
                    <a:pt x="24" y="8"/>
                    <a:pt x="23" y="8"/>
                  </a:cubicBezTo>
                  <a:cubicBezTo>
                    <a:pt x="23" y="8"/>
                    <a:pt x="23" y="10"/>
                    <a:pt x="23" y="10"/>
                  </a:cubicBezTo>
                  <a:cubicBezTo>
                    <a:pt x="23" y="10"/>
                    <a:pt x="23" y="12"/>
                    <a:pt x="21" y="12"/>
                  </a:cubicBezTo>
                  <a:cubicBezTo>
                    <a:pt x="20" y="13"/>
                    <a:pt x="21" y="12"/>
                    <a:pt x="20" y="12"/>
                  </a:cubicBezTo>
                  <a:cubicBezTo>
                    <a:pt x="18" y="12"/>
                    <a:pt x="17" y="13"/>
                    <a:pt x="16" y="14"/>
                  </a:cubicBezTo>
                  <a:cubicBezTo>
                    <a:pt x="15" y="14"/>
                    <a:pt x="15" y="16"/>
                    <a:pt x="14" y="17"/>
                  </a:cubicBezTo>
                  <a:cubicBezTo>
                    <a:pt x="13" y="18"/>
                    <a:pt x="16" y="17"/>
                    <a:pt x="16" y="17"/>
                  </a:cubicBezTo>
                  <a:cubicBezTo>
                    <a:pt x="17" y="17"/>
                    <a:pt x="17" y="20"/>
                    <a:pt x="18" y="21"/>
                  </a:cubicBezTo>
                  <a:cubicBezTo>
                    <a:pt x="19" y="22"/>
                    <a:pt x="20" y="23"/>
                    <a:pt x="20" y="23"/>
                  </a:cubicBezTo>
                  <a:cubicBezTo>
                    <a:pt x="20" y="23"/>
                    <a:pt x="22" y="23"/>
                    <a:pt x="26" y="25"/>
                  </a:cubicBezTo>
                  <a:cubicBezTo>
                    <a:pt x="27" y="25"/>
                    <a:pt x="27" y="25"/>
                    <a:pt x="28" y="25"/>
                  </a:cubicBezTo>
                  <a:cubicBezTo>
                    <a:pt x="29" y="24"/>
                    <a:pt x="30" y="25"/>
                    <a:pt x="31" y="25"/>
                  </a:cubicBezTo>
                  <a:cubicBezTo>
                    <a:pt x="32" y="25"/>
                    <a:pt x="33" y="27"/>
                    <a:pt x="33" y="27"/>
                  </a:cubicBezTo>
                  <a:cubicBezTo>
                    <a:pt x="34" y="28"/>
                    <a:pt x="34" y="30"/>
                    <a:pt x="31" y="29"/>
                  </a:cubicBezTo>
                  <a:cubicBezTo>
                    <a:pt x="28" y="28"/>
                    <a:pt x="31" y="30"/>
                    <a:pt x="32" y="33"/>
                  </a:cubicBezTo>
                  <a:cubicBezTo>
                    <a:pt x="33" y="35"/>
                    <a:pt x="31" y="34"/>
                    <a:pt x="29" y="34"/>
                  </a:cubicBezTo>
                  <a:cubicBezTo>
                    <a:pt x="28" y="34"/>
                    <a:pt x="28" y="35"/>
                    <a:pt x="25" y="36"/>
                  </a:cubicBezTo>
                  <a:cubicBezTo>
                    <a:pt x="24" y="36"/>
                    <a:pt x="23" y="37"/>
                    <a:pt x="22" y="37"/>
                  </a:cubicBezTo>
                  <a:cubicBezTo>
                    <a:pt x="21" y="37"/>
                    <a:pt x="20" y="37"/>
                    <a:pt x="20" y="36"/>
                  </a:cubicBezTo>
                  <a:cubicBezTo>
                    <a:pt x="19" y="35"/>
                    <a:pt x="18" y="34"/>
                    <a:pt x="13" y="29"/>
                  </a:cubicBezTo>
                  <a:cubicBezTo>
                    <a:pt x="8" y="24"/>
                    <a:pt x="11" y="26"/>
                    <a:pt x="9" y="26"/>
                  </a:cubicBezTo>
                  <a:cubicBezTo>
                    <a:pt x="8" y="26"/>
                    <a:pt x="7" y="27"/>
                    <a:pt x="3" y="28"/>
                  </a:cubicBezTo>
                  <a:cubicBezTo>
                    <a:pt x="3" y="28"/>
                    <a:pt x="1" y="31"/>
                    <a:pt x="0" y="31"/>
                  </a:cubicBezTo>
                  <a:cubicBezTo>
                    <a:pt x="0" y="31"/>
                    <a:pt x="0" y="33"/>
                    <a:pt x="0" y="34"/>
                  </a:cubicBezTo>
                  <a:cubicBezTo>
                    <a:pt x="0" y="35"/>
                    <a:pt x="1" y="36"/>
                    <a:pt x="2" y="37"/>
                  </a:cubicBezTo>
                  <a:cubicBezTo>
                    <a:pt x="3" y="38"/>
                    <a:pt x="3" y="39"/>
                    <a:pt x="5" y="40"/>
                  </a:cubicBezTo>
                  <a:cubicBezTo>
                    <a:pt x="7" y="42"/>
                    <a:pt x="7" y="42"/>
                    <a:pt x="9" y="43"/>
                  </a:cubicBezTo>
                  <a:cubicBezTo>
                    <a:pt x="10" y="43"/>
                    <a:pt x="11" y="44"/>
                    <a:pt x="11" y="45"/>
                  </a:cubicBezTo>
                  <a:cubicBezTo>
                    <a:pt x="11" y="46"/>
                    <a:pt x="12" y="46"/>
                    <a:pt x="13" y="47"/>
                  </a:cubicBezTo>
                  <a:cubicBezTo>
                    <a:pt x="14" y="47"/>
                    <a:pt x="15" y="47"/>
                    <a:pt x="16" y="47"/>
                  </a:cubicBezTo>
                  <a:cubicBezTo>
                    <a:pt x="16" y="46"/>
                    <a:pt x="18" y="47"/>
                    <a:pt x="20" y="46"/>
                  </a:cubicBezTo>
                  <a:cubicBezTo>
                    <a:pt x="22" y="46"/>
                    <a:pt x="21" y="47"/>
                    <a:pt x="22" y="49"/>
                  </a:cubicBezTo>
                  <a:cubicBezTo>
                    <a:pt x="22" y="50"/>
                    <a:pt x="24" y="49"/>
                    <a:pt x="24" y="49"/>
                  </a:cubicBezTo>
                  <a:cubicBezTo>
                    <a:pt x="24" y="49"/>
                    <a:pt x="26" y="49"/>
                    <a:pt x="28" y="50"/>
                  </a:cubicBezTo>
                  <a:cubicBezTo>
                    <a:pt x="29" y="50"/>
                    <a:pt x="30" y="52"/>
                    <a:pt x="30" y="52"/>
                  </a:cubicBezTo>
                  <a:cubicBezTo>
                    <a:pt x="31" y="53"/>
                    <a:pt x="33" y="55"/>
                    <a:pt x="33" y="56"/>
                  </a:cubicBezTo>
                  <a:cubicBezTo>
                    <a:pt x="34" y="57"/>
                    <a:pt x="36" y="56"/>
                    <a:pt x="36" y="57"/>
                  </a:cubicBezTo>
                  <a:cubicBezTo>
                    <a:pt x="37" y="57"/>
                    <a:pt x="40" y="60"/>
                    <a:pt x="41" y="60"/>
                  </a:cubicBezTo>
                  <a:cubicBezTo>
                    <a:pt x="41" y="61"/>
                    <a:pt x="44" y="63"/>
                    <a:pt x="44" y="63"/>
                  </a:cubicBezTo>
                  <a:cubicBezTo>
                    <a:pt x="44" y="63"/>
                    <a:pt x="47" y="65"/>
                    <a:pt x="47" y="67"/>
                  </a:cubicBezTo>
                  <a:cubicBezTo>
                    <a:pt x="47" y="69"/>
                    <a:pt x="48" y="69"/>
                    <a:pt x="49" y="70"/>
                  </a:cubicBezTo>
                  <a:cubicBezTo>
                    <a:pt x="49" y="71"/>
                    <a:pt x="50" y="71"/>
                    <a:pt x="51" y="71"/>
                  </a:cubicBezTo>
                  <a:cubicBezTo>
                    <a:pt x="52" y="72"/>
                    <a:pt x="53" y="72"/>
                    <a:pt x="55" y="71"/>
                  </a:cubicBezTo>
                  <a:cubicBezTo>
                    <a:pt x="57" y="70"/>
                    <a:pt x="57" y="72"/>
                    <a:pt x="57" y="72"/>
                  </a:cubicBezTo>
                  <a:cubicBezTo>
                    <a:pt x="57" y="72"/>
                    <a:pt x="59" y="71"/>
                    <a:pt x="62" y="69"/>
                  </a:cubicBezTo>
                  <a:cubicBezTo>
                    <a:pt x="63" y="68"/>
                    <a:pt x="63" y="67"/>
                    <a:pt x="62" y="66"/>
                  </a:cubicBezTo>
                  <a:cubicBezTo>
                    <a:pt x="62" y="66"/>
                    <a:pt x="61" y="64"/>
                    <a:pt x="60" y="61"/>
                  </a:cubicBezTo>
                  <a:cubicBezTo>
                    <a:pt x="59" y="59"/>
                    <a:pt x="61" y="59"/>
                    <a:pt x="61" y="59"/>
                  </a:cubicBezTo>
                  <a:cubicBezTo>
                    <a:pt x="61" y="59"/>
                    <a:pt x="62" y="60"/>
                    <a:pt x="62" y="62"/>
                  </a:cubicBezTo>
                  <a:cubicBezTo>
                    <a:pt x="62" y="63"/>
                    <a:pt x="63" y="64"/>
                    <a:pt x="65" y="66"/>
                  </a:cubicBezTo>
                  <a:cubicBezTo>
                    <a:pt x="66" y="67"/>
                    <a:pt x="65" y="66"/>
                    <a:pt x="67" y="64"/>
                  </a:cubicBezTo>
                  <a:cubicBezTo>
                    <a:pt x="69" y="63"/>
                    <a:pt x="70" y="64"/>
                    <a:pt x="71" y="64"/>
                  </a:cubicBezTo>
                  <a:cubicBezTo>
                    <a:pt x="72" y="64"/>
                    <a:pt x="75" y="64"/>
                    <a:pt x="76" y="63"/>
                  </a:cubicBezTo>
                  <a:cubicBezTo>
                    <a:pt x="77" y="62"/>
                    <a:pt x="77" y="61"/>
                    <a:pt x="78" y="60"/>
                  </a:cubicBezTo>
                  <a:cubicBezTo>
                    <a:pt x="79" y="59"/>
                    <a:pt x="78" y="60"/>
                    <a:pt x="81" y="59"/>
                  </a:cubicBezTo>
                  <a:cubicBezTo>
                    <a:pt x="84" y="58"/>
                    <a:pt x="83" y="59"/>
                    <a:pt x="83" y="57"/>
                  </a:cubicBezTo>
                  <a:cubicBezTo>
                    <a:pt x="84" y="55"/>
                    <a:pt x="84" y="54"/>
                    <a:pt x="84" y="52"/>
                  </a:cubicBezTo>
                  <a:cubicBezTo>
                    <a:pt x="85" y="50"/>
                    <a:pt x="84" y="50"/>
                    <a:pt x="83" y="49"/>
                  </a:cubicBezTo>
                  <a:cubicBezTo>
                    <a:pt x="83" y="48"/>
                    <a:pt x="82" y="46"/>
                    <a:pt x="83" y="46"/>
                  </a:cubicBezTo>
                  <a:cubicBezTo>
                    <a:pt x="83" y="45"/>
                    <a:pt x="83" y="46"/>
                    <a:pt x="84" y="4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4" name="Freeform 33"/>
            <p:cNvSpPr>
              <a:spLocks/>
            </p:cNvSpPr>
            <p:nvPr/>
          </p:nvSpPr>
          <p:spPr bwMode="auto">
            <a:xfrm>
              <a:off x="3160" y="1533"/>
              <a:ext cx="1" cy="3"/>
            </a:xfrm>
            <a:custGeom>
              <a:avLst/>
              <a:gdLst>
                <a:gd name="T0" fmla="*/ 0 w 1"/>
                <a:gd name="T1" fmla="*/ 1 h 3"/>
                <a:gd name="T2" fmla="*/ 0 w 1"/>
                <a:gd name="T3" fmla="*/ 2 h 3"/>
                <a:gd name="T4" fmla="*/ 0 w 1"/>
                <a:gd name="T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3">
                  <a:moveTo>
                    <a:pt x="0" y="1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1" y="3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5" name="Freeform 34"/>
            <p:cNvSpPr>
              <a:spLocks/>
            </p:cNvSpPr>
            <p:nvPr/>
          </p:nvSpPr>
          <p:spPr bwMode="auto">
            <a:xfrm>
              <a:off x="3087" y="1512"/>
              <a:ext cx="76" cy="39"/>
            </a:xfrm>
            <a:custGeom>
              <a:avLst/>
              <a:gdLst>
                <a:gd name="T0" fmla="*/ 74 w 102"/>
                <a:gd name="T1" fmla="*/ 8 h 53"/>
                <a:gd name="T2" fmla="*/ 71 w 102"/>
                <a:gd name="T3" fmla="*/ 2 h 53"/>
                <a:gd name="T4" fmla="*/ 65 w 102"/>
                <a:gd name="T5" fmla="*/ 4 h 53"/>
                <a:gd name="T6" fmla="*/ 59 w 102"/>
                <a:gd name="T7" fmla="*/ 3 h 53"/>
                <a:gd name="T8" fmla="*/ 53 w 102"/>
                <a:gd name="T9" fmla="*/ 3 h 53"/>
                <a:gd name="T10" fmla="*/ 44 w 102"/>
                <a:gd name="T11" fmla="*/ 8 h 53"/>
                <a:gd name="T12" fmla="*/ 51 w 102"/>
                <a:gd name="T13" fmla="*/ 10 h 53"/>
                <a:gd name="T14" fmla="*/ 55 w 102"/>
                <a:gd name="T15" fmla="*/ 13 h 53"/>
                <a:gd name="T16" fmla="*/ 61 w 102"/>
                <a:gd name="T17" fmla="*/ 17 h 53"/>
                <a:gd name="T18" fmla="*/ 66 w 102"/>
                <a:gd name="T19" fmla="*/ 23 h 53"/>
                <a:gd name="T20" fmla="*/ 62 w 102"/>
                <a:gd name="T21" fmla="*/ 23 h 53"/>
                <a:gd name="T22" fmla="*/ 55 w 102"/>
                <a:gd name="T23" fmla="*/ 19 h 53"/>
                <a:gd name="T24" fmla="*/ 47 w 102"/>
                <a:gd name="T25" fmla="*/ 13 h 53"/>
                <a:gd name="T26" fmla="*/ 39 w 102"/>
                <a:gd name="T27" fmla="*/ 11 h 53"/>
                <a:gd name="T28" fmla="*/ 34 w 102"/>
                <a:gd name="T29" fmla="*/ 17 h 53"/>
                <a:gd name="T30" fmla="*/ 40 w 102"/>
                <a:gd name="T31" fmla="*/ 23 h 53"/>
                <a:gd name="T32" fmla="*/ 44 w 102"/>
                <a:gd name="T33" fmla="*/ 26 h 53"/>
                <a:gd name="T34" fmla="*/ 45 w 102"/>
                <a:gd name="T35" fmla="*/ 30 h 53"/>
                <a:gd name="T36" fmla="*/ 41 w 102"/>
                <a:gd name="T37" fmla="*/ 28 h 53"/>
                <a:gd name="T38" fmla="*/ 38 w 102"/>
                <a:gd name="T39" fmla="*/ 23 h 53"/>
                <a:gd name="T40" fmla="*/ 31 w 102"/>
                <a:gd name="T41" fmla="*/ 22 h 53"/>
                <a:gd name="T42" fmla="*/ 28 w 102"/>
                <a:gd name="T43" fmla="*/ 18 h 53"/>
                <a:gd name="T44" fmla="*/ 22 w 102"/>
                <a:gd name="T45" fmla="*/ 13 h 53"/>
                <a:gd name="T46" fmla="*/ 18 w 102"/>
                <a:gd name="T47" fmla="*/ 9 h 53"/>
                <a:gd name="T48" fmla="*/ 1 w 102"/>
                <a:gd name="T49" fmla="*/ 6 h 53"/>
                <a:gd name="T50" fmla="*/ 5 w 102"/>
                <a:gd name="T51" fmla="*/ 15 h 53"/>
                <a:gd name="T52" fmla="*/ 6 w 102"/>
                <a:gd name="T53" fmla="*/ 23 h 53"/>
                <a:gd name="T54" fmla="*/ 13 w 102"/>
                <a:gd name="T55" fmla="*/ 25 h 53"/>
                <a:gd name="T56" fmla="*/ 16 w 102"/>
                <a:gd name="T57" fmla="*/ 27 h 53"/>
                <a:gd name="T58" fmla="*/ 22 w 102"/>
                <a:gd name="T59" fmla="*/ 30 h 53"/>
                <a:gd name="T60" fmla="*/ 27 w 102"/>
                <a:gd name="T61" fmla="*/ 31 h 53"/>
                <a:gd name="T62" fmla="*/ 26 w 102"/>
                <a:gd name="T63" fmla="*/ 36 h 53"/>
                <a:gd name="T64" fmla="*/ 34 w 102"/>
                <a:gd name="T65" fmla="*/ 36 h 53"/>
                <a:gd name="T66" fmla="*/ 43 w 102"/>
                <a:gd name="T67" fmla="*/ 36 h 53"/>
                <a:gd name="T68" fmla="*/ 52 w 102"/>
                <a:gd name="T69" fmla="*/ 36 h 53"/>
                <a:gd name="T70" fmla="*/ 57 w 102"/>
                <a:gd name="T71" fmla="*/ 34 h 53"/>
                <a:gd name="T72" fmla="*/ 61 w 102"/>
                <a:gd name="T73" fmla="*/ 36 h 53"/>
                <a:gd name="T74" fmla="*/ 56 w 102"/>
                <a:gd name="T75" fmla="*/ 39 h 53"/>
                <a:gd name="T76" fmla="*/ 58 w 102"/>
                <a:gd name="T77" fmla="*/ 47 h 53"/>
                <a:gd name="T78" fmla="*/ 69 w 102"/>
                <a:gd name="T79" fmla="*/ 53 h 53"/>
                <a:gd name="T80" fmla="*/ 76 w 102"/>
                <a:gd name="T81" fmla="*/ 51 h 53"/>
                <a:gd name="T82" fmla="*/ 82 w 102"/>
                <a:gd name="T83" fmla="*/ 52 h 53"/>
                <a:gd name="T84" fmla="*/ 89 w 102"/>
                <a:gd name="T85" fmla="*/ 51 h 53"/>
                <a:gd name="T86" fmla="*/ 96 w 102"/>
                <a:gd name="T87" fmla="*/ 46 h 53"/>
                <a:gd name="T88" fmla="*/ 92 w 102"/>
                <a:gd name="T89" fmla="*/ 43 h 53"/>
                <a:gd name="T90" fmla="*/ 95 w 102"/>
                <a:gd name="T91" fmla="*/ 38 h 53"/>
                <a:gd name="T92" fmla="*/ 100 w 102"/>
                <a:gd name="T93" fmla="*/ 41 h 53"/>
                <a:gd name="T94" fmla="*/ 100 w 102"/>
                <a:gd name="T95" fmla="*/ 35 h 53"/>
                <a:gd name="T96" fmla="*/ 98 w 102"/>
                <a:gd name="T97" fmla="*/ 30 h 53"/>
                <a:gd name="T98" fmla="*/ 96 w 102"/>
                <a:gd name="T99" fmla="*/ 26 h 53"/>
                <a:gd name="T100" fmla="*/ 97 w 102"/>
                <a:gd name="T101" fmla="*/ 17 h 53"/>
                <a:gd name="T102" fmla="*/ 95 w 102"/>
                <a:gd name="T103" fmla="*/ 12 h 53"/>
                <a:gd name="T104" fmla="*/ 91 w 102"/>
                <a:gd name="T105" fmla="*/ 7 h 53"/>
                <a:gd name="T106" fmla="*/ 81 w 102"/>
                <a:gd name="T107" fmla="*/ 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02" h="53">
                  <a:moveTo>
                    <a:pt x="79" y="8"/>
                  </a:moveTo>
                  <a:cubicBezTo>
                    <a:pt x="79" y="8"/>
                    <a:pt x="75" y="9"/>
                    <a:pt x="74" y="8"/>
                  </a:cubicBezTo>
                  <a:cubicBezTo>
                    <a:pt x="74" y="8"/>
                    <a:pt x="72" y="8"/>
                    <a:pt x="71" y="7"/>
                  </a:cubicBezTo>
                  <a:cubicBezTo>
                    <a:pt x="71" y="6"/>
                    <a:pt x="71" y="5"/>
                    <a:pt x="71" y="2"/>
                  </a:cubicBezTo>
                  <a:cubicBezTo>
                    <a:pt x="71" y="0"/>
                    <a:pt x="67" y="3"/>
                    <a:pt x="66" y="2"/>
                  </a:cubicBezTo>
                  <a:cubicBezTo>
                    <a:pt x="65" y="0"/>
                    <a:pt x="65" y="4"/>
                    <a:pt x="65" y="4"/>
                  </a:cubicBezTo>
                  <a:cubicBezTo>
                    <a:pt x="65" y="4"/>
                    <a:pt x="63" y="5"/>
                    <a:pt x="62" y="4"/>
                  </a:cubicBezTo>
                  <a:cubicBezTo>
                    <a:pt x="61" y="3"/>
                    <a:pt x="62" y="3"/>
                    <a:pt x="59" y="3"/>
                  </a:cubicBezTo>
                  <a:cubicBezTo>
                    <a:pt x="58" y="3"/>
                    <a:pt x="55" y="5"/>
                    <a:pt x="53" y="5"/>
                  </a:cubicBezTo>
                  <a:cubicBezTo>
                    <a:pt x="51" y="5"/>
                    <a:pt x="54" y="4"/>
                    <a:pt x="53" y="3"/>
                  </a:cubicBezTo>
                  <a:cubicBezTo>
                    <a:pt x="52" y="2"/>
                    <a:pt x="48" y="4"/>
                    <a:pt x="47" y="4"/>
                  </a:cubicBezTo>
                  <a:cubicBezTo>
                    <a:pt x="45" y="4"/>
                    <a:pt x="43" y="8"/>
                    <a:pt x="44" y="8"/>
                  </a:cubicBezTo>
                  <a:cubicBezTo>
                    <a:pt x="45" y="8"/>
                    <a:pt x="47" y="9"/>
                    <a:pt x="48" y="9"/>
                  </a:cubicBezTo>
                  <a:cubicBezTo>
                    <a:pt x="50" y="9"/>
                    <a:pt x="51" y="9"/>
                    <a:pt x="51" y="10"/>
                  </a:cubicBezTo>
                  <a:cubicBezTo>
                    <a:pt x="52" y="10"/>
                    <a:pt x="52" y="11"/>
                    <a:pt x="52" y="13"/>
                  </a:cubicBezTo>
                  <a:cubicBezTo>
                    <a:pt x="52" y="14"/>
                    <a:pt x="54" y="13"/>
                    <a:pt x="55" y="13"/>
                  </a:cubicBezTo>
                  <a:cubicBezTo>
                    <a:pt x="56" y="14"/>
                    <a:pt x="58" y="14"/>
                    <a:pt x="59" y="15"/>
                  </a:cubicBezTo>
                  <a:cubicBezTo>
                    <a:pt x="60" y="15"/>
                    <a:pt x="61" y="16"/>
                    <a:pt x="61" y="17"/>
                  </a:cubicBezTo>
                  <a:cubicBezTo>
                    <a:pt x="62" y="18"/>
                    <a:pt x="63" y="18"/>
                    <a:pt x="63" y="21"/>
                  </a:cubicBezTo>
                  <a:cubicBezTo>
                    <a:pt x="63" y="23"/>
                    <a:pt x="66" y="23"/>
                    <a:pt x="66" y="23"/>
                  </a:cubicBezTo>
                  <a:cubicBezTo>
                    <a:pt x="66" y="23"/>
                    <a:pt x="67" y="25"/>
                    <a:pt x="67" y="25"/>
                  </a:cubicBezTo>
                  <a:cubicBezTo>
                    <a:pt x="66" y="25"/>
                    <a:pt x="65" y="25"/>
                    <a:pt x="62" y="23"/>
                  </a:cubicBezTo>
                  <a:cubicBezTo>
                    <a:pt x="61" y="23"/>
                    <a:pt x="59" y="23"/>
                    <a:pt x="59" y="21"/>
                  </a:cubicBezTo>
                  <a:cubicBezTo>
                    <a:pt x="59" y="20"/>
                    <a:pt x="55" y="20"/>
                    <a:pt x="55" y="19"/>
                  </a:cubicBezTo>
                  <a:cubicBezTo>
                    <a:pt x="55" y="18"/>
                    <a:pt x="52" y="19"/>
                    <a:pt x="52" y="17"/>
                  </a:cubicBezTo>
                  <a:cubicBezTo>
                    <a:pt x="51" y="15"/>
                    <a:pt x="49" y="16"/>
                    <a:pt x="47" y="13"/>
                  </a:cubicBezTo>
                  <a:cubicBezTo>
                    <a:pt x="45" y="9"/>
                    <a:pt x="45" y="13"/>
                    <a:pt x="43" y="12"/>
                  </a:cubicBezTo>
                  <a:cubicBezTo>
                    <a:pt x="42" y="12"/>
                    <a:pt x="40" y="11"/>
                    <a:pt x="39" y="11"/>
                  </a:cubicBezTo>
                  <a:cubicBezTo>
                    <a:pt x="38" y="10"/>
                    <a:pt x="37" y="11"/>
                    <a:pt x="35" y="13"/>
                  </a:cubicBezTo>
                  <a:cubicBezTo>
                    <a:pt x="34" y="14"/>
                    <a:pt x="35" y="15"/>
                    <a:pt x="34" y="17"/>
                  </a:cubicBezTo>
                  <a:cubicBezTo>
                    <a:pt x="33" y="18"/>
                    <a:pt x="35" y="20"/>
                    <a:pt x="38" y="21"/>
                  </a:cubicBezTo>
                  <a:cubicBezTo>
                    <a:pt x="39" y="22"/>
                    <a:pt x="40" y="23"/>
                    <a:pt x="40" y="23"/>
                  </a:cubicBezTo>
                  <a:cubicBezTo>
                    <a:pt x="41" y="23"/>
                    <a:pt x="43" y="23"/>
                    <a:pt x="43" y="23"/>
                  </a:cubicBezTo>
                  <a:cubicBezTo>
                    <a:pt x="43" y="23"/>
                    <a:pt x="44" y="26"/>
                    <a:pt x="44" y="26"/>
                  </a:cubicBezTo>
                  <a:cubicBezTo>
                    <a:pt x="44" y="27"/>
                    <a:pt x="49" y="29"/>
                    <a:pt x="49" y="30"/>
                  </a:cubicBezTo>
                  <a:cubicBezTo>
                    <a:pt x="49" y="31"/>
                    <a:pt x="45" y="30"/>
                    <a:pt x="45" y="30"/>
                  </a:cubicBezTo>
                  <a:cubicBezTo>
                    <a:pt x="45" y="30"/>
                    <a:pt x="44" y="31"/>
                    <a:pt x="43" y="30"/>
                  </a:cubicBezTo>
                  <a:cubicBezTo>
                    <a:pt x="41" y="29"/>
                    <a:pt x="42" y="29"/>
                    <a:pt x="41" y="28"/>
                  </a:cubicBezTo>
                  <a:cubicBezTo>
                    <a:pt x="40" y="26"/>
                    <a:pt x="40" y="28"/>
                    <a:pt x="38" y="26"/>
                  </a:cubicBezTo>
                  <a:cubicBezTo>
                    <a:pt x="37" y="26"/>
                    <a:pt x="38" y="23"/>
                    <a:pt x="38" y="23"/>
                  </a:cubicBezTo>
                  <a:cubicBezTo>
                    <a:pt x="38" y="23"/>
                    <a:pt x="35" y="24"/>
                    <a:pt x="34" y="23"/>
                  </a:cubicBezTo>
                  <a:cubicBezTo>
                    <a:pt x="33" y="23"/>
                    <a:pt x="32" y="24"/>
                    <a:pt x="31" y="22"/>
                  </a:cubicBezTo>
                  <a:cubicBezTo>
                    <a:pt x="30" y="20"/>
                    <a:pt x="31" y="22"/>
                    <a:pt x="30" y="20"/>
                  </a:cubicBezTo>
                  <a:cubicBezTo>
                    <a:pt x="30" y="19"/>
                    <a:pt x="30" y="20"/>
                    <a:pt x="28" y="18"/>
                  </a:cubicBezTo>
                  <a:cubicBezTo>
                    <a:pt x="28" y="17"/>
                    <a:pt x="29" y="17"/>
                    <a:pt x="27" y="14"/>
                  </a:cubicBezTo>
                  <a:cubicBezTo>
                    <a:pt x="26" y="14"/>
                    <a:pt x="23" y="13"/>
                    <a:pt x="22" y="13"/>
                  </a:cubicBezTo>
                  <a:cubicBezTo>
                    <a:pt x="21" y="13"/>
                    <a:pt x="21" y="13"/>
                    <a:pt x="21" y="11"/>
                  </a:cubicBezTo>
                  <a:cubicBezTo>
                    <a:pt x="21" y="9"/>
                    <a:pt x="19" y="10"/>
                    <a:pt x="18" y="9"/>
                  </a:cubicBezTo>
                  <a:cubicBezTo>
                    <a:pt x="17" y="9"/>
                    <a:pt x="15" y="8"/>
                    <a:pt x="14" y="6"/>
                  </a:cubicBezTo>
                  <a:cubicBezTo>
                    <a:pt x="13" y="5"/>
                    <a:pt x="2" y="5"/>
                    <a:pt x="1" y="6"/>
                  </a:cubicBezTo>
                  <a:cubicBezTo>
                    <a:pt x="0" y="7"/>
                    <a:pt x="1" y="9"/>
                    <a:pt x="2" y="11"/>
                  </a:cubicBezTo>
                  <a:cubicBezTo>
                    <a:pt x="2" y="13"/>
                    <a:pt x="4" y="14"/>
                    <a:pt x="5" y="15"/>
                  </a:cubicBezTo>
                  <a:cubicBezTo>
                    <a:pt x="6" y="16"/>
                    <a:pt x="5" y="16"/>
                    <a:pt x="3" y="21"/>
                  </a:cubicBezTo>
                  <a:cubicBezTo>
                    <a:pt x="1" y="26"/>
                    <a:pt x="5" y="23"/>
                    <a:pt x="6" y="23"/>
                  </a:cubicBezTo>
                  <a:cubicBezTo>
                    <a:pt x="7" y="24"/>
                    <a:pt x="11" y="23"/>
                    <a:pt x="13" y="23"/>
                  </a:cubicBezTo>
                  <a:cubicBezTo>
                    <a:pt x="14" y="22"/>
                    <a:pt x="13" y="25"/>
                    <a:pt x="13" y="25"/>
                  </a:cubicBezTo>
                  <a:cubicBezTo>
                    <a:pt x="13" y="26"/>
                    <a:pt x="14" y="28"/>
                    <a:pt x="14" y="28"/>
                  </a:cubicBezTo>
                  <a:cubicBezTo>
                    <a:pt x="14" y="28"/>
                    <a:pt x="16" y="26"/>
                    <a:pt x="16" y="27"/>
                  </a:cubicBezTo>
                  <a:cubicBezTo>
                    <a:pt x="16" y="29"/>
                    <a:pt x="18" y="30"/>
                    <a:pt x="18" y="30"/>
                  </a:cubicBezTo>
                  <a:cubicBezTo>
                    <a:pt x="22" y="30"/>
                    <a:pt x="22" y="30"/>
                    <a:pt x="22" y="30"/>
                  </a:cubicBezTo>
                  <a:cubicBezTo>
                    <a:pt x="22" y="29"/>
                    <a:pt x="24" y="30"/>
                    <a:pt x="24" y="30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7" y="32"/>
                    <a:pt x="26" y="34"/>
                  </a:cubicBezTo>
                  <a:cubicBezTo>
                    <a:pt x="26" y="35"/>
                    <a:pt x="26" y="34"/>
                    <a:pt x="26" y="36"/>
                  </a:cubicBezTo>
                  <a:cubicBezTo>
                    <a:pt x="25" y="38"/>
                    <a:pt x="27" y="37"/>
                    <a:pt x="31" y="38"/>
                  </a:cubicBezTo>
                  <a:cubicBezTo>
                    <a:pt x="36" y="38"/>
                    <a:pt x="33" y="38"/>
                    <a:pt x="34" y="36"/>
                  </a:cubicBezTo>
                  <a:cubicBezTo>
                    <a:pt x="35" y="35"/>
                    <a:pt x="36" y="36"/>
                    <a:pt x="39" y="35"/>
                  </a:cubicBezTo>
                  <a:cubicBezTo>
                    <a:pt x="41" y="34"/>
                    <a:pt x="40" y="35"/>
                    <a:pt x="43" y="36"/>
                  </a:cubicBezTo>
                  <a:cubicBezTo>
                    <a:pt x="43" y="37"/>
                    <a:pt x="46" y="37"/>
                    <a:pt x="48" y="36"/>
                  </a:cubicBezTo>
                  <a:cubicBezTo>
                    <a:pt x="50" y="36"/>
                    <a:pt x="50" y="38"/>
                    <a:pt x="52" y="36"/>
                  </a:cubicBezTo>
                  <a:cubicBezTo>
                    <a:pt x="53" y="35"/>
                    <a:pt x="53" y="36"/>
                    <a:pt x="54" y="35"/>
                  </a:cubicBezTo>
                  <a:cubicBezTo>
                    <a:pt x="54" y="34"/>
                    <a:pt x="56" y="34"/>
                    <a:pt x="57" y="34"/>
                  </a:cubicBezTo>
                  <a:cubicBezTo>
                    <a:pt x="58" y="33"/>
                    <a:pt x="60" y="34"/>
                    <a:pt x="62" y="33"/>
                  </a:cubicBezTo>
                  <a:cubicBezTo>
                    <a:pt x="65" y="32"/>
                    <a:pt x="61" y="36"/>
                    <a:pt x="61" y="36"/>
                  </a:cubicBezTo>
                  <a:cubicBezTo>
                    <a:pt x="61" y="35"/>
                    <a:pt x="58" y="37"/>
                    <a:pt x="58" y="37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6" y="39"/>
                    <a:pt x="58" y="43"/>
                    <a:pt x="58" y="44"/>
                  </a:cubicBezTo>
                  <a:cubicBezTo>
                    <a:pt x="59" y="44"/>
                    <a:pt x="58" y="47"/>
                    <a:pt x="58" y="47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58" y="51"/>
                    <a:pt x="67" y="53"/>
                    <a:pt x="69" y="53"/>
                  </a:cubicBezTo>
                  <a:cubicBezTo>
                    <a:pt x="72" y="52"/>
                    <a:pt x="72" y="52"/>
                    <a:pt x="73" y="52"/>
                  </a:cubicBezTo>
                  <a:cubicBezTo>
                    <a:pt x="73" y="51"/>
                    <a:pt x="75" y="51"/>
                    <a:pt x="76" y="51"/>
                  </a:cubicBezTo>
                  <a:cubicBezTo>
                    <a:pt x="77" y="51"/>
                    <a:pt x="78" y="51"/>
                    <a:pt x="80" y="51"/>
                  </a:cubicBezTo>
                  <a:cubicBezTo>
                    <a:pt x="81" y="51"/>
                    <a:pt x="81" y="51"/>
                    <a:pt x="82" y="52"/>
                  </a:cubicBezTo>
                  <a:cubicBezTo>
                    <a:pt x="84" y="52"/>
                    <a:pt x="85" y="53"/>
                    <a:pt x="85" y="53"/>
                  </a:cubicBezTo>
                  <a:cubicBezTo>
                    <a:pt x="85" y="53"/>
                    <a:pt x="88" y="53"/>
                    <a:pt x="89" y="51"/>
                  </a:cubicBezTo>
                  <a:cubicBezTo>
                    <a:pt x="90" y="50"/>
                    <a:pt x="91" y="50"/>
                    <a:pt x="92" y="50"/>
                  </a:cubicBezTo>
                  <a:cubicBezTo>
                    <a:pt x="93" y="50"/>
                    <a:pt x="94" y="50"/>
                    <a:pt x="96" y="46"/>
                  </a:cubicBezTo>
                  <a:cubicBezTo>
                    <a:pt x="97" y="42"/>
                    <a:pt x="96" y="46"/>
                    <a:pt x="95" y="44"/>
                  </a:cubicBezTo>
                  <a:cubicBezTo>
                    <a:pt x="94" y="41"/>
                    <a:pt x="94" y="44"/>
                    <a:pt x="92" y="43"/>
                  </a:cubicBezTo>
                  <a:cubicBezTo>
                    <a:pt x="91" y="43"/>
                    <a:pt x="92" y="43"/>
                    <a:pt x="92" y="39"/>
                  </a:cubicBezTo>
                  <a:cubicBezTo>
                    <a:pt x="92" y="35"/>
                    <a:pt x="92" y="39"/>
                    <a:pt x="95" y="38"/>
                  </a:cubicBezTo>
                  <a:cubicBezTo>
                    <a:pt x="96" y="38"/>
                    <a:pt x="96" y="39"/>
                    <a:pt x="97" y="41"/>
                  </a:cubicBezTo>
                  <a:cubicBezTo>
                    <a:pt x="97" y="42"/>
                    <a:pt x="100" y="42"/>
                    <a:pt x="100" y="41"/>
                  </a:cubicBezTo>
                  <a:cubicBezTo>
                    <a:pt x="100" y="40"/>
                    <a:pt x="100" y="39"/>
                    <a:pt x="99" y="37"/>
                  </a:cubicBezTo>
                  <a:cubicBezTo>
                    <a:pt x="99" y="35"/>
                    <a:pt x="99" y="36"/>
                    <a:pt x="100" y="35"/>
                  </a:cubicBezTo>
                  <a:cubicBezTo>
                    <a:pt x="102" y="33"/>
                    <a:pt x="100" y="35"/>
                    <a:pt x="99" y="31"/>
                  </a:cubicBezTo>
                  <a:cubicBezTo>
                    <a:pt x="98" y="31"/>
                    <a:pt x="98" y="31"/>
                    <a:pt x="98" y="30"/>
                  </a:cubicBezTo>
                  <a:cubicBezTo>
                    <a:pt x="97" y="29"/>
                    <a:pt x="98" y="30"/>
                    <a:pt x="97" y="28"/>
                  </a:cubicBezTo>
                  <a:cubicBezTo>
                    <a:pt x="96" y="26"/>
                    <a:pt x="96" y="27"/>
                    <a:pt x="96" y="26"/>
                  </a:cubicBezTo>
                  <a:cubicBezTo>
                    <a:pt x="96" y="24"/>
                    <a:pt x="96" y="26"/>
                    <a:pt x="97" y="23"/>
                  </a:cubicBezTo>
                  <a:cubicBezTo>
                    <a:pt x="97" y="21"/>
                    <a:pt x="97" y="19"/>
                    <a:pt x="97" y="17"/>
                  </a:cubicBezTo>
                  <a:cubicBezTo>
                    <a:pt x="97" y="15"/>
                    <a:pt x="97" y="17"/>
                    <a:pt x="96" y="15"/>
                  </a:cubicBezTo>
                  <a:cubicBezTo>
                    <a:pt x="94" y="13"/>
                    <a:pt x="96" y="14"/>
                    <a:pt x="95" y="12"/>
                  </a:cubicBezTo>
                  <a:cubicBezTo>
                    <a:pt x="95" y="11"/>
                    <a:pt x="96" y="11"/>
                    <a:pt x="96" y="10"/>
                  </a:cubicBezTo>
                  <a:cubicBezTo>
                    <a:pt x="97" y="8"/>
                    <a:pt x="94" y="10"/>
                    <a:pt x="91" y="7"/>
                  </a:cubicBezTo>
                  <a:cubicBezTo>
                    <a:pt x="91" y="7"/>
                    <a:pt x="88" y="7"/>
                    <a:pt x="87" y="5"/>
                  </a:cubicBezTo>
                  <a:cubicBezTo>
                    <a:pt x="86" y="4"/>
                    <a:pt x="84" y="5"/>
                    <a:pt x="81" y="6"/>
                  </a:cubicBezTo>
                  <a:cubicBezTo>
                    <a:pt x="80" y="6"/>
                    <a:pt x="79" y="8"/>
                    <a:pt x="79" y="8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6" name="Freeform 35"/>
            <p:cNvSpPr>
              <a:spLocks/>
            </p:cNvSpPr>
            <p:nvPr/>
          </p:nvSpPr>
          <p:spPr bwMode="auto">
            <a:xfrm>
              <a:off x="3164" y="1536"/>
              <a:ext cx="11" cy="6"/>
            </a:xfrm>
            <a:custGeom>
              <a:avLst/>
              <a:gdLst>
                <a:gd name="T0" fmla="*/ 9 w 15"/>
                <a:gd name="T1" fmla="*/ 7 h 8"/>
                <a:gd name="T2" fmla="*/ 14 w 15"/>
                <a:gd name="T3" fmla="*/ 5 h 8"/>
                <a:gd name="T4" fmla="*/ 15 w 15"/>
                <a:gd name="T5" fmla="*/ 2 h 8"/>
                <a:gd name="T6" fmla="*/ 12 w 15"/>
                <a:gd name="T7" fmla="*/ 0 h 8"/>
                <a:gd name="T8" fmla="*/ 8 w 15"/>
                <a:gd name="T9" fmla="*/ 1 h 8"/>
                <a:gd name="T10" fmla="*/ 1 w 15"/>
                <a:gd name="T11" fmla="*/ 4 h 8"/>
                <a:gd name="T12" fmla="*/ 1 w 15"/>
                <a:gd name="T13" fmla="*/ 6 h 8"/>
                <a:gd name="T14" fmla="*/ 4 w 15"/>
                <a:gd name="T15" fmla="*/ 7 h 8"/>
                <a:gd name="T16" fmla="*/ 7 w 15"/>
                <a:gd name="T17" fmla="*/ 8 h 8"/>
                <a:gd name="T18" fmla="*/ 9 w 15"/>
                <a:gd name="T1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8">
                  <a:moveTo>
                    <a:pt x="9" y="7"/>
                  </a:moveTo>
                  <a:cubicBezTo>
                    <a:pt x="13" y="5"/>
                    <a:pt x="13" y="5"/>
                    <a:pt x="14" y="5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3" y="1"/>
                    <a:pt x="12" y="0"/>
                  </a:cubicBezTo>
                  <a:cubicBezTo>
                    <a:pt x="10" y="0"/>
                    <a:pt x="9" y="1"/>
                    <a:pt x="8" y="1"/>
                  </a:cubicBezTo>
                  <a:cubicBezTo>
                    <a:pt x="5" y="3"/>
                    <a:pt x="1" y="2"/>
                    <a:pt x="1" y="4"/>
                  </a:cubicBezTo>
                  <a:cubicBezTo>
                    <a:pt x="1" y="4"/>
                    <a:pt x="0" y="5"/>
                    <a:pt x="1" y="6"/>
                  </a:cubicBezTo>
                  <a:cubicBezTo>
                    <a:pt x="3" y="7"/>
                    <a:pt x="2" y="7"/>
                    <a:pt x="4" y="7"/>
                  </a:cubicBezTo>
                  <a:cubicBezTo>
                    <a:pt x="5" y="7"/>
                    <a:pt x="6" y="8"/>
                    <a:pt x="7" y="8"/>
                  </a:cubicBezTo>
                  <a:cubicBezTo>
                    <a:pt x="9" y="7"/>
                    <a:pt x="5" y="8"/>
                    <a:pt x="9" y="7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7" name="Freeform 36"/>
            <p:cNvSpPr>
              <a:spLocks/>
            </p:cNvSpPr>
            <p:nvPr/>
          </p:nvSpPr>
          <p:spPr bwMode="auto">
            <a:xfrm>
              <a:off x="3168" y="1536"/>
              <a:ext cx="33" cy="23"/>
            </a:xfrm>
            <a:custGeom>
              <a:avLst/>
              <a:gdLst>
                <a:gd name="T0" fmla="*/ 31 w 44"/>
                <a:gd name="T1" fmla="*/ 29 h 30"/>
                <a:gd name="T2" fmla="*/ 33 w 44"/>
                <a:gd name="T3" fmla="*/ 29 h 30"/>
                <a:gd name="T4" fmla="*/ 38 w 44"/>
                <a:gd name="T5" fmla="*/ 28 h 30"/>
                <a:gd name="T6" fmla="*/ 41 w 44"/>
                <a:gd name="T7" fmla="*/ 28 h 30"/>
                <a:gd name="T8" fmla="*/ 43 w 44"/>
                <a:gd name="T9" fmla="*/ 24 h 30"/>
                <a:gd name="T10" fmla="*/ 44 w 44"/>
                <a:gd name="T11" fmla="*/ 21 h 30"/>
                <a:gd name="T12" fmla="*/ 42 w 44"/>
                <a:gd name="T13" fmla="*/ 17 h 30"/>
                <a:gd name="T14" fmla="*/ 39 w 44"/>
                <a:gd name="T15" fmla="*/ 9 h 30"/>
                <a:gd name="T16" fmla="*/ 37 w 44"/>
                <a:gd name="T17" fmla="*/ 7 h 30"/>
                <a:gd name="T18" fmla="*/ 34 w 44"/>
                <a:gd name="T19" fmla="*/ 3 h 30"/>
                <a:gd name="T20" fmla="*/ 31 w 44"/>
                <a:gd name="T21" fmla="*/ 3 h 30"/>
                <a:gd name="T22" fmla="*/ 27 w 44"/>
                <a:gd name="T23" fmla="*/ 2 h 30"/>
                <a:gd name="T24" fmla="*/ 24 w 44"/>
                <a:gd name="T25" fmla="*/ 1 h 30"/>
                <a:gd name="T26" fmla="*/ 18 w 44"/>
                <a:gd name="T27" fmla="*/ 1 h 30"/>
                <a:gd name="T28" fmla="*/ 14 w 44"/>
                <a:gd name="T29" fmla="*/ 5 h 30"/>
                <a:gd name="T30" fmla="*/ 11 w 44"/>
                <a:gd name="T31" fmla="*/ 7 h 30"/>
                <a:gd name="T32" fmla="*/ 7 w 44"/>
                <a:gd name="T33" fmla="*/ 9 h 30"/>
                <a:gd name="T34" fmla="*/ 5 w 44"/>
                <a:gd name="T35" fmla="*/ 12 h 30"/>
                <a:gd name="T36" fmla="*/ 2 w 44"/>
                <a:gd name="T37" fmla="*/ 14 h 30"/>
                <a:gd name="T38" fmla="*/ 2 w 44"/>
                <a:gd name="T39" fmla="*/ 18 h 30"/>
                <a:gd name="T40" fmla="*/ 5 w 44"/>
                <a:gd name="T41" fmla="*/ 20 h 30"/>
                <a:gd name="T42" fmla="*/ 8 w 44"/>
                <a:gd name="T43" fmla="*/ 21 h 30"/>
                <a:gd name="T44" fmla="*/ 12 w 44"/>
                <a:gd name="T45" fmla="*/ 23 h 30"/>
                <a:gd name="T46" fmla="*/ 16 w 44"/>
                <a:gd name="T47" fmla="*/ 24 h 30"/>
                <a:gd name="T48" fmla="*/ 26 w 44"/>
                <a:gd name="T49" fmla="*/ 28 h 30"/>
                <a:gd name="T50" fmla="*/ 31 w 44"/>
                <a:gd name="T51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4" h="30">
                  <a:moveTo>
                    <a:pt x="31" y="29"/>
                  </a:moveTo>
                  <a:cubicBezTo>
                    <a:pt x="32" y="29"/>
                    <a:pt x="32" y="29"/>
                    <a:pt x="33" y="29"/>
                  </a:cubicBezTo>
                  <a:cubicBezTo>
                    <a:pt x="34" y="30"/>
                    <a:pt x="37" y="28"/>
                    <a:pt x="38" y="28"/>
                  </a:cubicBezTo>
                  <a:cubicBezTo>
                    <a:pt x="39" y="29"/>
                    <a:pt x="40" y="29"/>
                    <a:pt x="41" y="28"/>
                  </a:cubicBezTo>
                  <a:cubicBezTo>
                    <a:pt x="43" y="26"/>
                    <a:pt x="43" y="26"/>
                    <a:pt x="43" y="24"/>
                  </a:cubicBezTo>
                  <a:cubicBezTo>
                    <a:pt x="44" y="22"/>
                    <a:pt x="44" y="23"/>
                    <a:pt x="44" y="21"/>
                  </a:cubicBezTo>
                  <a:cubicBezTo>
                    <a:pt x="43" y="18"/>
                    <a:pt x="44" y="23"/>
                    <a:pt x="42" y="17"/>
                  </a:cubicBezTo>
                  <a:cubicBezTo>
                    <a:pt x="41" y="11"/>
                    <a:pt x="40" y="10"/>
                    <a:pt x="39" y="9"/>
                  </a:cubicBezTo>
                  <a:cubicBezTo>
                    <a:pt x="39" y="9"/>
                    <a:pt x="38" y="8"/>
                    <a:pt x="37" y="7"/>
                  </a:cubicBezTo>
                  <a:cubicBezTo>
                    <a:pt x="36" y="6"/>
                    <a:pt x="34" y="3"/>
                    <a:pt x="34" y="3"/>
                  </a:cubicBezTo>
                  <a:cubicBezTo>
                    <a:pt x="34" y="3"/>
                    <a:pt x="32" y="2"/>
                    <a:pt x="31" y="3"/>
                  </a:cubicBezTo>
                  <a:cubicBezTo>
                    <a:pt x="31" y="3"/>
                    <a:pt x="28" y="2"/>
                    <a:pt x="27" y="2"/>
                  </a:cubicBezTo>
                  <a:cubicBezTo>
                    <a:pt x="26" y="2"/>
                    <a:pt x="26" y="0"/>
                    <a:pt x="24" y="1"/>
                  </a:cubicBezTo>
                  <a:cubicBezTo>
                    <a:pt x="22" y="2"/>
                    <a:pt x="18" y="0"/>
                    <a:pt x="18" y="1"/>
                  </a:cubicBezTo>
                  <a:cubicBezTo>
                    <a:pt x="17" y="2"/>
                    <a:pt x="14" y="4"/>
                    <a:pt x="14" y="5"/>
                  </a:cubicBezTo>
                  <a:cubicBezTo>
                    <a:pt x="14" y="5"/>
                    <a:pt x="12" y="6"/>
                    <a:pt x="11" y="7"/>
                  </a:cubicBezTo>
                  <a:cubicBezTo>
                    <a:pt x="10" y="8"/>
                    <a:pt x="9" y="7"/>
                    <a:pt x="7" y="9"/>
                  </a:cubicBezTo>
                  <a:cubicBezTo>
                    <a:pt x="6" y="11"/>
                    <a:pt x="6" y="10"/>
                    <a:pt x="5" y="12"/>
                  </a:cubicBezTo>
                  <a:cubicBezTo>
                    <a:pt x="3" y="13"/>
                    <a:pt x="2" y="12"/>
                    <a:pt x="2" y="14"/>
                  </a:cubicBezTo>
                  <a:cubicBezTo>
                    <a:pt x="2" y="16"/>
                    <a:pt x="0" y="17"/>
                    <a:pt x="2" y="18"/>
                  </a:cubicBezTo>
                  <a:cubicBezTo>
                    <a:pt x="4" y="19"/>
                    <a:pt x="3" y="19"/>
                    <a:pt x="5" y="20"/>
                  </a:cubicBezTo>
                  <a:cubicBezTo>
                    <a:pt x="7" y="21"/>
                    <a:pt x="4" y="19"/>
                    <a:pt x="8" y="21"/>
                  </a:cubicBezTo>
                  <a:cubicBezTo>
                    <a:pt x="12" y="23"/>
                    <a:pt x="9" y="22"/>
                    <a:pt x="12" y="23"/>
                  </a:cubicBezTo>
                  <a:cubicBezTo>
                    <a:pt x="15" y="24"/>
                    <a:pt x="14" y="24"/>
                    <a:pt x="16" y="24"/>
                  </a:cubicBezTo>
                  <a:cubicBezTo>
                    <a:pt x="22" y="26"/>
                    <a:pt x="25" y="27"/>
                    <a:pt x="26" y="28"/>
                  </a:cubicBezTo>
                  <a:cubicBezTo>
                    <a:pt x="29" y="30"/>
                    <a:pt x="30" y="29"/>
                    <a:pt x="31" y="29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8" name="Freeform 37"/>
            <p:cNvSpPr>
              <a:spLocks/>
            </p:cNvSpPr>
            <p:nvPr/>
          </p:nvSpPr>
          <p:spPr bwMode="auto">
            <a:xfrm>
              <a:off x="3175" y="1556"/>
              <a:ext cx="7" cy="6"/>
            </a:xfrm>
            <a:custGeom>
              <a:avLst/>
              <a:gdLst>
                <a:gd name="T0" fmla="*/ 6 w 9"/>
                <a:gd name="T1" fmla="*/ 0 h 8"/>
                <a:gd name="T2" fmla="*/ 4 w 9"/>
                <a:gd name="T3" fmla="*/ 2 h 8"/>
                <a:gd name="T4" fmla="*/ 2 w 9"/>
                <a:gd name="T5" fmla="*/ 2 h 8"/>
                <a:gd name="T6" fmla="*/ 1 w 9"/>
                <a:gd name="T7" fmla="*/ 5 h 8"/>
                <a:gd name="T8" fmla="*/ 4 w 9"/>
                <a:gd name="T9" fmla="*/ 6 h 8"/>
                <a:gd name="T10" fmla="*/ 6 w 9"/>
                <a:gd name="T11" fmla="*/ 7 h 8"/>
                <a:gd name="T12" fmla="*/ 9 w 9"/>
                <a:gd name="T13" fmla="*/ 6 h 8"/>
                <a:gd name="T14" fmla="*/ 9 w 9"/>
                <a:gd name="T15" fmla="*/ 3 h 8"/>
                <a:gd name="T16" fmla="*/ 6 w 9"/>
                <a:gd name="T1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" h="8">
                  <a:moveTo>
                    <a:pt x="6" y="0"/>
                  </a:moveTo>
                  <a:cubicBezTo>
                    <a:pt x="6" y="0"/>
                    <a:pt x="4" y="1"/>
                    <a:pt x="4" y="2"/>
                  </a:cubicBezTo>
                  <a:cubicBezTo>
                    <a:pt x="3" y="2"/>
                    <a:pt x="2" y="0"/>
                    <a:pt x="2" y="2"/>
                  </a:cubicBezTo>
                  <a:cubicBezTo>
                    <a:pt x="1" y="5"/>
                    <a:pt x="0" y="4"/>
                    <a:pt x="1" y="5"/>
                  </a:cubicBezTo>
                  <a:cubicBezTo>
                    <a:pt x="2" y="5"/>
                    <a:pt x="3" y="5"/>
                    <a:pt x="4" y="6"/>
                  </a:cubicBezTo>
                  <a:cubicBezTo>
                    <a:pt x="4" y="7"/>
                    <a:pt x="4" y="7"/>
                    <a:pt x="6" y="7"/>
                  </a:cubicBezTo>
                  <a:cubicBezTo>
                    <a:pt x="8" y="7"/>
                    <a:pt x="9" y="8"/>
                    <a:pt x="9" y="6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2"/>
                    <a:pt x="6" y="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9" name="Freeform 38"/>
            <p:cNvSpPr>
              <a:spLocks/>
            </p:cNvSpPr>
            <p:nvPr/>
          </p:nvSpPr>
          <p:spPr bwMode="auto">
            <a:xfrm>
              <a:off x="3186" y="1530"/>
              <a:ext cx="7" cy="4"/>
            </a:xfrm>
            <a:custGeom>
              <a:avLst/>
              <a:gdLst>
                <a:gd name="T0" fmla="*/ 1 w 9"/>
                <a:gd name="T1" fmla="*/ 5 h 6"/>
                <a:gd name="T2" fmla="*/ 5 w 9"/>
                <a:gd name="T3" fmla="*/ 6 h 6"/>
                <a:gd name="T4" fmla="*/ 7 w 9"/>
                <a:gd name="T5" fmla="*/ 6 h 6"/>
                <a:gd name="T6" fmla="*/ 7 w 9"/>
                <a:gd name="T7" fmla="*/ 4 h 6"/>
                <a:gd name="T8" fmla="*/ 4 w 9"/>
                <a:gd name="T9" fmla="*/ 1 h 6"/>
                <a:gd name="T10" fmla="*/ 2 w 9"/>
                <a:gd name="T11" fmla="*/ 0 h 6"/>
                <a:gd name="T12" fmla="*/ 0 w 9"/>
                <a:gd name="T13" fmla="*/ 3 h 6"/>
                <a:gd name="T14" fmla="*/ 1 w 9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1" y="5"/>
                  </a:moveTo>
                  <a:cubicBezTo>
                    <a:pt x="2" y="6"/>
                    <a:pt x="4" y="6"/>
                    <a:pt x="5" y="6"/>
                  </a:cubicBezTo>
                  <a:cubicBezTo>
                    <a:pt x="7" y="6"/>
                    <a:pt x="6" y="6"/>
                    <a:pt x="7" y="6"/>
                  </a:cubicBezTo>
                  <a:cubicBezTo>
                    <a:pt x="9" y="5"/>
                    <a:pt x="7" y="5"/>
                    <a:pt x="7" y="4"/>
                  </a:cubicBezTo>
                  <a:cubicBezTo>
                    <a:pt x="6" y="2"/>
                    <a:pt x="4" y="1"/>
                    <a:pt x="4" y="1"/>
                  </a:cubicBezTo>
                  <a:cubicBezTo>
                    <a:pt x="4" y="1"/>
                    <a:pt x="4" y="1"/>
                    <a:pt x="2" y="0"/>
                  </a:cubicBezTo>
                  <a:cubicBezTo>
                    <a:pt x="0" y="0"/>
                    <a:pt x="0" y="3"/>
                    <a:pt x="0" y="3"/>
                  </a:cubicBezTo>
                  <a:cubicBezTo>
                    <a:pt x="0" y="4"/>
                    <a:pt x="1" y="4"/>
                    <a:pt x="1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0" name="Freeform 39"/>
            <p:cNvSpPr>
              <a:spLocks/>
            </p:cNvSpPr>
            <p:nvPr/>
          </p:nvSpPr>
          <p:spPr bwMode="auto">
            <a:xfrm>
              <a:off x="2956" y="1510"/>
              <a:ext cx="125" cy="52"/>
            </a:xfrm>
            <a:custGeom>
              <a:avLst/>
              <a:gdLst>
                <a:gd name="T0" fmla="*/ 27 w 168"/>
                <a:gd name="T1" fmla="*/ 20 h 70"/>
                <a:gd name="T2" fmla="*/ 30 w 168"/>
                <a:gd name="T3" fmla="*/ 21 h 70"/>
                <a:gd name="T4" fmla="*/ 16 w 168"/>
                <a:gd name="T5" fmla="*/ 23 h 70"/>
                <a:gd name="T6" fmla="*/ 23 w 168"/>
                <a:gd name="T7" fmla="*/ 29 h 70"/>
                <a:gd name="T8" fmla="*/ 36 w 168"/>
                <a:gd name="T9" fmla="*/ 30 h 70"/>
                <a:gd name="T10" fmla="*/ 22 w 168"/>
                <a:gd name="T11" fmla="*/ 31 h 70"/>
                <a:gd name="T12" fmla="*/ 10 w 168"/>
                <a:gd name="T13" fmla="*/ 33 h 70"/>
                <a:gd name="T14" fmla="*/ 17 w 168"/>
                <a:gd name="T15" fmla="*/ 38 h 70"/>
                <a:gd name="T16" fmla="*/ 32 w 168"/>
                <a:gd name="T17" fmla="*/ 36 h 70"/>
                <a:gd name="T18" fmla="*/ 21 w 168"/>
                <a:gd name="T19" fmla="*/ 41 h 70"/>
                <a:gd name="T20" fmla="*/ 7 w 168"/>
                <a:gd name="T21" fmla="*/ 40 h 70"/>
                <a:gd name="T22" fmla="*/ 4 w 168"/>
                <a:gd name="T23" fmla="*/ 48 h 70"/>
                <a:gd name="T24" fmla="*/ 13 w 168"/>
                <a:gd name="T25" fmla="*/ 51 h 70"/>
                <a:gd name="T26" fmla="*/ 20 w 168"/>
                <a:gd name="T27" fmla="*/ 50 h 70"/>
                <a:gd name="T28" fmla="*/ 30 w 168"/>
                <a:gd name="T29" fmla="*/ 51 h 70"/>
                <a:gd name="T30" fmla="*/ 42 w 168"/>
                <a:gd name="T31" fmla="*/ 54 h 70"/>
                <a:gd name="T32" fmla="*/ 49 w 168"/>
                <a:gd name="T33" fmla="*/ 48 h 70"/>
                <a:gd name="T34" fmla="*/ 52 w 168"/>
                <a:gd name="T35" fmla="*/ 50 h 70"/>
                <a:gd name="T36" fmla="*/ 59 w 168"/>
                <a:gd name="T37" fmla="*/ 51 h 70"/>
                <a:gd name="T38" fmla="*/ 70 w 168"/>
                <a:gd name="T39" fmla="*/ 48 h 70"/>
                <a:gd name="T40" fmla="*/ 77 w 168"/>
                <a:gd name="T41" fmla="*/ 51 h 70"/>
                <a:gd name="T42" fmla="*/ 88 w 168"/>
                <a:gd name="T43" fmla="*/ 47 h 70"/>
                <a:gd name="T44" fmla="*/ 87 w 168"/>
                <a:gd name="T45" fmla="*/ 50 h 70"/>
                <a:gd name="T46" fmla="*/ 70 w 168"/>
                <a:gd name="T47" fmla="*/ 52 h 70"/>
                <a:gd name="T48" fmla="*/ 56 w 168"/>
                <a:gd name="T49" fmla="*/ 57 h 70"/>
                <a:gd name="T50" fmla="*/ 51 w 168"/>
                <a:gd name="T51" fmla="*/ 66 h 70"/>
                <a:gd name="T52" fmla="*/ 72 w 168"/>
                <a:gd name="T53" fmla="*/ 69 h 70"/>
                <a:gd name="T54" fmla="*/ 95 w 168"/>
                <a:gd name="T55" fmla="*/ 61 h 70"/>
                <a:gd name="T56" fmla="*/ 102 w 168"/>
                <a:gd name="T57" fmla="*/ 60 h 70"/>
                <a:gd name="T58" fmla="*/ 115 w 168"/>
                <a:gd name="T59" fmla="*/ 56 h 70"/>
                <a:gd name="T60" fmla="*/ 128 w 168"/>
                <a:gd name="T61" fmla="*/ 55 h 70"/>
                <a:gd name="T62" fmla="*/ 137 w 168"/>
                <a:gd name="T63" fmla="*/ 53 h 70"/>
                <a:gd name="T64" fmla="*/ 145 w 168"/>
                <a:gd name="T65" fmla="*/ 56 h 70"/>
                <a:gd name="T66" fmla="*/ 155 w 168"/>
                <a:gd name="T67" fmla="*/ 53 h 70"/>
                <a:gd name="T68" fmla="*/ 163 w 168"/>
                <a:gd name="T69" fmla="*/ 45 h 70"/>
                <a:gd name="T70" fmla="*/ 167 w 168"/>
                <a:gd name="T71" fmla="*/ 34 h 70"/>
                <a:gd name="T72" fmla="*/ 159 w 168"/>
                <a:gd name="T73" fmla="*/ 24 h 70"/>
                <a:gd name="T74" fmla="*/ 147 w 168"/>
                <a:gd name="T75" fmla="*/ 30 h 70"/>
                <a:gd name="T76" fmla="*/ 134 w 168"/>
                <a:gd name="T77" fmla="*/ 30 h 70"/>
                <a:gd name="T78" fmla="*/ 128 w 168"/>
                <a:gd name="T79" fmla="*/ 22 h 70"/>
                <a:gd name="T80" fmla="*/ 126 w 168"/>
                <a:gd name="T81" fmla="*/ 9 h 70"/>
                <a:gd name="T82" fmla="*/ 118 w 168"/>
                <a:gd name="T83" fmla="*/ 1 h 70"/>
                <a:gd name="T84" fmla="*/ 108 w 168"/>
                <a:gd name="T85" fmla="*/ 10 h 70"/>
                <a:gd name="T86" fmla="*/ 102 w 168"/>
                <a:gd name="T87" fmla="*/ 17 h 70"/>
                <a:gd name="T88" fmla="*/ 109 w 168"/>
                <a:gd name="T89" fmla="*/ 22 h 70"/>
                <a:gd name="T90" fmla="*/ 109 w 168"/>
                <a:gd name="T91" fmla="*/ 27 h 70"/>
                <a:gd name="T92" fmla="*/ 107 w 168"/>
                <a:gd name="T93" fmla="*/ 31 h 70"/>
                <a:gd name="T94" fmla="*/ 115 w 168"/>
                <a:gd name="T95" fmla="*/ 33 h 70"/>
                <a:gd name="T96" fmla="*/ 113 w 168"/>
                <a:gd name="T97" fmla="*/ 38 h 70"/>
                <a:gd name="T98" fmla="*/ 101 w 168"/>
                <a:gd name="T99" fmla="*/ 39 h 70"/>
                <a:gd name="T100" fmla="*/ 94 w 168"/>
                <a:gd name="T101" fmla="*/ 37 h 70"/>
                <a:gd name="T102" fmla="*/ 89 w 168"/>
                <a:gd name="T103" fmla="*/ 31 h 70"/>
                <a:gd name="T104" fmla="*/ 78 w 168"/>
                <a:gd name="T105" fmla="*/ 26 h 70"/>
                <a:gd name="T106" fmla="*/ 67 w 168"/>
                <a:gd name="T107" fmla="*/ 19 h 70"/>
                <a:gd name="T108" fmla="*/ 54 w 168"/>
                <a:gd name="T109" fmla="*/ 19 h 70"/>
                <a:gd name="T110" fmla="*/ 47 w 168"/>
                <a:gd name="T111" fmla="*/ 11 h 70"/>
                <a:gd name="T112" fmla="*/ 30 w 168"/>
                <a:gd name="T113" fmla="*/ 13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8" h="70">
                  <a:moveTo>
                    <a:pt x="28" y="16"/>
                  </a:moveTo>
                  <a:cubicBezTo>
                    <a:pt x="28" y="16"/>
                    <a:pt x="26" y="17"/>
                    <a:pt x="26" y="18"/>
                  </a:cubicBezTo>
                  <a:cubicBezTo>
                    <a:pt x="25" y="18"/>
                    <a:pt x="25" y="19"/>
                    <a:pt x="27" y="20"/>
                  </a:cubicBezTo>
                  <a:cubicBezTo>
                    <a:pt x="28" y="20"/>
                    <a:pt x="40" y="21"/>
                    <a:pt x="40" y="21"/>
                  </a:cubicBezTo>
                  <a:cubicBezTo>
                    <a:pt x="39" y="21"/>
                    <a:pt x="38" y="21"/>
                    <a:pt x="36" y="21"/>
                  </a:cubicBezTo>
                  <a:cubicBezTo>
                    <a:pt x="34" y="21"/>
                    <a:pt x="32" y="21"/>
                    <a:pt x="30" y="21"/>
                  </a:cubicBezTo>
                  <a:cubicBezTo>
                    <a:pt x="28" y="20"/>
                    <a:pt x="26" y="21"/>
                    <a:pt x="23" y="20"/>
                  </a:cubicBezTo>
                  <a:cubicBezTo>
                    <a:pt x="19" y="19"/>
                    <a:pt x="20" y="20"/>
                    <a:pt x="19" y="20"/>
                  </a:cubicBezTo>
                  <a:cubicBezTo>
                    <a:pt x="19" y="20"/>
                    <a:pt x="17" y="22"/>
                    <a:pt x="16" y="23"/>
                  </a:cubicBezTo>
                  <a:cubicBezTo>
                    <a:pt x="15" y="25"/>
                    <a:pt x="15" y="26"/>
                    <a:pt x="15" y="27"/>
                  </a:cubicBezTo>
                  <a:cubicBezTo>
                    <a:pt x="15" y="28"/>
                    <a:pt x="17" y="28"/>
                    <a:pt x="19" y="29"/>
                  </a:cubicBezTo>
                  <a:cubicBezTo>
                    <a:pt x="21" y="30"/>
                    <a:pt x="22" y="29"/>
                    <a:pt x="23" y="29"/>
                  </a:cubicBezTo>
                  <a:cubicBezTo>
                    <a:pt x="25" y="29"/>
                    <a:pt x="30" y="28"/>
                    <a:pt x="32" y="27"/>
                  </a:cubicBezTo>
                  <a:cubicBezTo>
                    <a:pt x="33" y="26"/>
                    <a:pt x="35" y="27"/>
                    <a:pt x="36" y="28"/>
                  </a:cubicBezTo>
                  <a:cubicBezTo>
                    <a:pt x="38" y="28"/>
                    <a:pt x="36" y="30"/>
                    <a:pt x="36" y="30"/>
                  </a:cubicBezTo>
                  <a:cubicBezTo>
                    <a:pt x="35" y="29"/>
                    <a:pt x="33" y="31"/>
                    <a:pt x="31" y="31"/>
                  </a:cubicBezTo>
                  <a:cubicBezTo>
                    <a:pt x="30" y="31"/>
                    <a:pt x="28" y="31"/>
                    <a:pt x="27" y="31"/>
                  </a:cubicBezTo>
                  <a:cubicBezTo>
                    <a:pt x="26" y="30"/>
                    <a:pt x="24" y="31"/>
                    <a:pt x="22" y="31"/>
                  </a:cubicBezTo>
                  <a:cubicBezTo>
                    <a:pt x="19" y="30"/>
                    <a:pt x="18" y="31"/>
                    <a:pt x="17" y="30"/>
                  </a:cubicBezTo>
                  <a:cubicBezTo>
                    <a:pt x="15" y="30"/>
                    <a:pt x="14" y="31"/>
                    <a:pt x="13" y="31"/>
                  </a:cubicBezTo>
                  <a:cubicBezTo>
                    <a:pt x="13" y="31"/>
                    <a:pt x="11" y="32"/>
                    <a:pt x="10" y="33"/>
                  </a:cubicBezTo>
                  <a:cubicBezTo>
                    <a:pt x="8" y="35"/>
                    <a:pt x="7" y="36"/>
                    <a:pt x="8" y="37"/>
                  </a:cubicBezTo>
                  <a:cubicBezTo>
                    <a:pt x="8" y="38"/>
                    <a:pt x="10" y="38"/>
                    <a:pt x="11" y="38"/>
                  </a:cubicBezTo>
                  <a:cubicBezTo>
                    <a:pt x="13" y="38"/>
                    <a:pt x="15" y="39"/>
                    <a:pt x="17" y="38"/>
                  </a:cubicBezTo>
                  <a:cubicBezTo>
                    <a:pt x="19" y="38"/>
                    <a:pt x="20" y="38"/>
                    <a:pt x="21" y="38"/>
                  </a:cubicBezTo>
                  <a:cubicBezTo>
                    <a:pt x="21" y="38"/>
                    <a:pt x="25" y="37"/>
                    <a:pt x="26" y="36"/>
                  </a:cubicBezTo>
                  <a:cubicBezTo>
                    <a:pt x="28" y="35"/>
                    <a:pt x="32" y="36"/>
                    <a:pt x="32" y="36"/>
                  </a:cubicBezTo>
                  <a:cubicBezTo>
                    <a:pt x="31" y="37"/>
                    <a:pt x="30" y="37"/>
                    <a:pt x="28" y="37"/>
                  </a:cubicBezTo>
                  <a:cubicBezTo>
                    <a:pt x="26" y="38"/>
                    <a:pt x="23" y="40"/>
                    <a:pt x="23" y="40"/>
                  </a:cubicBezTo>
                  <a:cubicBezTo>
                    <a:pt x="21" y="41"/>
                    <a:pt x="21" y="41"/>
                    <a:pt x="21" y="41"/>
                  </a:cubicBezTo>
                  <a:cubicBezTo>
                    <a:pt x="21" y="41"/>
                    <a:pt x="19" y="42"/>
                    <a:pt x="18" y="41"/>
                  </a:cubicBezTo>
                  <a:cubicBezTo>
                    <a:pt x="17" y="41"/>
                    <a:pt x="13" y="41"/>
                    <a:pt x="13" y="41"/>
                  </a:cubicBezTo>
                  <a:cubicBezTo>
                    <a:pt x="13" y="41"/>
                    <a:pt x="9" y="40"/>
                    <a:pt x="7" y="40"/>
                  </a:cubicBezTo>
                  <a:cubicBezTo>
                    <a:pt x="6" y="39"/>
                    <a:pt x="6" y="40"/>
                    <a:pt x="5" y="41"/>
                  </a:cubicBezTo>
                  <a:cubicBezTo>
                    <a:pt x="4" y="41"/>
                    <a:pt x="3" y="43"/>
                    <a:pt x="2" y="43"/>
                  </a:cubicBezTo>
                  <a:cubicBezTo>
                    <a:pt x="0" y="44"/>
                    <a:pt x="4" y="48"/>
                    <a:pt x="4" y="48"/>
                  </a:cubicBezTo>
                  <a:cubicBezTo>
                    <a:pt x="4" y="48"/>
                    <a:pt x="4" y="48"/>
                    <a:pt x="6" y="48"/>
                  </a:cubicBezTo>
                  <a:cubicBezTo>
                    <a:pt x="9" y="48"/>
                    <a:pt x="8" y="50"/>
                    <a:pt x="9" y="50"/>
                  </a:cubicBezTo>
                  <a:cubicBezTo>
                    <a:pt x="10" y="50"/>
                    <a:pt x="13" y="51"/>
                    <a:pt x="13" y="51"/>
                  </a:cubicBezTo>
                  <a:cubicBezTo>
                    <a:pt x="13" y="51"/>
                    <a:pt x="14" y="49"/>
                    <a:pt x="15" y="48"/>
                  </a:cubicBezTo>
                  <a:cubicBezTo>
                    <a:pt x="16" y="48"/>
                    <a:pt x="16" y="48"/>
                    <a:pt x="18" y="48"/>
                  </a:cubicBezTo>
                  <a:cubicBezTo>
                    <a:pt x="19" y="47"/>
                    <a:pt x="19" y="49"/>
                    <a:pt x="20" y="50"/>
                  </a:cubicBezTo>
                  <a:cubicBezTo>
                    <a:pt x="20" y="51"/>
                    <a:pt x="23" y="53"/>
                    <a:pt x="23" y="53"/>
                  </a:cubicBezTo>
                  <a:cubicBezTo>
                    <a:pt x="23" y="53"/>
                    <a:pt x="25" y="54"/>
                    <a:pt x="26" y="53"/>
                  </a:cubicBezTo>
                  <a:cubicBezTo>
                    <a:pt x="26" y="51"/>
                    <a:pt x="26" y="53"/>
                    <a:pt x="30" y="51"/>
                  </a:cubicBezTo>
                  <a:cubicBezTo>
                    <a:pt x="30" y="50"/>
                    <a:pt x="31" y="52"/>
                    <a:pt x="31" y="53"/>
                  </a:cubicBezTo>
                  <a:cubicBezTo>
                    <a:pt x="32" y="54"/>
                    <a:pt x="33" y="53"/>
                    <a:pt x="34" y="53"/>
                  </a:cubicBezTo>
                  <a:cubicBezTo>
                    <a:pt x="34" y="53"/>
                    <a:pt x="41" y="53"/>
                    <a:pt x="42" y="54"/>
                  </a:cubicBezTo>
                  <a:cubicBezTo>
                    <a:pt x="43" y="54"/>
                    <a:pt x="45" y="52"/>
                    <a:pt x="45" y="51"/>
                  </a:cubicBezTo>
                  <a:cubicBezTo>
                    <a:pt x="46" y="50"/>
                    <a:pt x="45" y="49"/>
                    <a:pt x="45" y="48"/>
                  </a:cubicBezTo>
                  <a:cubicBezTo>
                    <a:pt x="45" y="46"/>
                    <a:pt x="48" y="48"/>
                    <a:pt x="49" y="48"/>
                  </a:cubicBezTo>
                  <a:cubicBezTo>
                    <a:pt x="49" y="48"/>
                    <a:pt x="49" y="47"/>
                    <a:pt x="50" y="43"/>
                  </a:cubicBezTo>
                  <a:cubicBezTo>
                    <a:pt x="50" y="42"/>
                    <a:pt x="54" y="45"/>
                    <a:pt x="54" y="45"/>
                  </a:cubicBezTo>
                  <a:cubicBezTo>
                    <a:pt x="54" y="45"/>
                    <a:pt x="53" y="48"/>
                    <a:pt x="52" y="50"/>
                  </a:cubicBezTo>
                  <a:cubicBezTo>
                    <a:pt x="51" y="52"/>
                    <a:pt x="53" y="53"/>
                    <a:pt x="53" y="53"/>
                  </a:cubicBezTo>
                  <a:cubicBezTo>
                    <a:pt x="53" y="53"/>
                    <a:pt x="53" y="53"/>
                    <a:pt x="57" y="54"/>
                  </a:cubicBezTo>
                  <a:cubicBezTo>
                    <a:pt x="60" y="56"/>
                    <a:pt x="59" y="54"/>
                    <a:pt x="59" y="51"/>
                  </a:cubicBezTo>
                  <a:cubicBezTo>
                    <a:pt x="59" y="48"/>
                    <a:pt x="61" y="50"/>
                    <a:pt x="64" y="51"/>
                  </a:cubicBezTo>
                  <a:cubicBezTo>
                    <a:pt x="66" y="51"/>
                    <a:pt x="66" y="51"/>
                    <a:pt x="66" y="50"/>
                  </a:cubicBezTo>
                  <a:cubicBezTo>
                    <a:pt x="67" y="49"/>
                    <a:pt x="68" y="49"/>
                    <a:pt x="70" y="48"/>
                  </a:cubicBezTo>
                  <a:cubicBezTo>
                    <a:pt x="72" y="47"/>
                    <a:pt x="72" y="48"/>
                    <a:pt x="72" y="48"/>
                  </a:cubicBezTo>
                  <a:cubicBezTo>
                    <a:pt x="73" y="49"/>
                    <a:pt x="74" y="49"/>
                    <a:pt x="75" y="49"/>
                  </a:cubicBezTo>
                  <a:cubicBezTo>
                    <a:pt x="75" y="49"/>
                    <a:pt x="77" y="51"/>
                    <a:pt x="77" y="51"/>
                  </a:cubicBezTo>
                  <a:cubicBezTo>
                    <a:pt x="78" y="51"/>
                    <a:pt x="80" y="51"/>
                    <a:pt x="82" y="49"/>
                  </a:cubicBezTo>
                  <a:cubicBezTo>
                    <a:pt x="83" y="47"/>
                    <a:pt x="83" y="49"/>
                    <a:pt x="84" y="48"/>
                  </a:cubicBezTo>
                  <a:cubicBezTo>
                    <a:pt x="85" y="48"/>
                    <a:pt x="87" y="48"/>
                    <a:pt x="88" y="47"/>
                  </a:cubicBezTo>
                  <a:cubicBezTo>
                    <a:pt x="89" y="46"/>
                    <a:pt x="90" y="46"/>
                    <a:pt x="91" y="45"/>
                  </a:cubicBezTo>
                  <a:cubicBezTo>
                    <a:pt x="92" y="44"/>
                    <a:pt x="93" y="46"/>
                    <a:pt x="91" y="48"/>
                  </a:cubicBezTo>
                  <a:cubicBezTo>
                    <a:pt x="90" y="49"/>
                    <a:pt x="87" y="50"/>
                    <a:pt x="87" y="50"/>
                  </a:cubicBezTo>
                  <a:cubicBezTo>
                    <a:pt x="86" y="50"/>
                    <a:pt x="85" y="51"/>
                    <a:pt x="84" y="51"/>
                  </a:cubicBezTo>
                  <a:cubicBezTo>
                    <a:pt x="83" y="51"/>
                    <a:pt x="79" y="53"/>
                    <a:pt x="78" y="53"/>
                  </a:cubicBezTo>
                  <a:cubicBezTo>
                    <a:pt x="77" y="53"/>
                    <a:pt x="70" y="52"/>
                    <a:pt x="70" y="52"/>
                  </a:cubicBezTo>
                  <a:cubicBezTo>
                    <a:pt x="70" y="52"/>
                    <a:pt x="65" y="54"/>
                    <a:pt x="65" y="54"/>
                  </a:cubicBezTo>
                  <a:cubicBezTo>
                    <a:pt x="64" y="54"/>
                    <a:pt x="61" y="56"/>
                    <a:pt x="60" y="56"/>
                  </a:cubicBezTo>
                  <a:cubicBezTo>
                    <a:pt x="59" y="56"/>
                    <a:pt x="58" y="57"/>
                    <a:pt x="56" y="57"/>
                  </a:cubicBezTo>
                  <a:cubicBezTo>
                    <a:pt x="54" y="57"/>
                    <a:pt x="52" y="59"/>
                    <a:pt x="46" y="61"/>
                  </a:cubicBezTo>
                  <a:cubicBezTo>
                    <a:pt x="40" y="64"/>
                    <a:pt x="46" y="63"/>
                    <a:pt x="47" y="64"/>
                  </a:cubicBezTo>
                  <a:cubicBezTo>
                    <a:pt x="47" y="66"/>
                    <a:pt x="49" y="66"/>
                    <a:pt x="51" y="66"/>
                  </a:cubicBezTo>
                  <a:cubicBezTo>
                    <a:pt x="53" y="66"/>
                    <a:pt x="56" y="68"/>
                    <a:pt x="57" y="69"/>
                  </a:cubicBezTo>
                  <a:cubicBezTo>
                    <a:pt x="59" y="70"/>
                    <a:pt x="62" y="70"/>
                    <a:pt x="65" y="70"/>
                  </a:cubicBezTo>
                  <a:cubicBezTo>
                    <a:pt x="67" y="70"/>
                    <a:pt x="71" y="69"/>
                    <a:pt x="72" y="69"/>
                  </a:cubicBezTo>
                  <a:cubicBezTo>
                    <a:pt x="74" y="69"/>
                    <a:pt x="80" y="67"/>
                    <a:pt x="83" y="67"/>
                  </a:cubicBezTo>
                  <a:cubicBezTo>
                    <a:pt x="87" y="66"/>
                    <a:pt x="91" y="64"/>
                    <a:pt x="93" y="63"/>
                  </a:cubicBezTo>
                  <a:cubicBezTo>
                    <a:pt x="95" y="62"/>
                    <a:pt x="95" y="61"/>
                    <a:pt x="95" y="61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99" y="60"/>
                    <a:pt x="101" y="59"/>
                  </a:cubicBezTo>
                  <a:cubicBezTo>
                    <a:pt x="103" y="58"/>
                    <a:pt x="102" y="60"/>
                    <a:pt x="102" y="60"/>
                  </a:cubicBezTo>
                  <a:cubicBezTo>
                    <a:pt x="102" y="60"/>
                    <a:pt x="103" y="59"/>
                    <a:pt x="107" y="59"/>
                  </a:cubicBezTo>
                  <a:cubicBezTo>
                    <a:pt x="111" y="58"/>
                    <a:pt x="108" y="59"/>
                    <a:pt x="110" y="59"/>
                  </a:cubicBezTo>
                  <a:cubicBezTo>
                    <a:pt x="111" y="58"/>
                    <a:pt x="112" y="59"/>
                    <a:pt x="115" y="56"/>
                  </a:cubicBezTo>
                  <a:cubicBezTo>
                    <a:pt x="119" y="52"/>
                    <a:pt x="117" y="56"/>
                    <a:pt x="117" y="55"/>
                  </a:cubicBezTo>
                  <a:cubicBezTo>
                    <a:pt x="118" y="54"/>
                    <a:pt x="121" y="53"/>
                    <a:pt x="125" y="54"/>
                  </a:cubicBezTo>
                  <a:cubicBezTo>
                    <a:pt x="125" y="54"/>
                    <a:pt x="127" y="55"/>
                    <a:pt x="128" y="55"/>
                  </a:cubicBezTo>
                  <a:cubicBezTo>
                    <a:pt x="129" y="55"/>
                    <a:pt x="131" y="56"/>
                    <a:pt x="131" y="56"/>
                  </a:cubicBezTo>
                  <a:cubicBezTo>
                    <a:pt x="131" y="56"/>
                    <a:pt x="132" y="55"/>
                    <a:pt x="134" y="53"/>
                  </a:cubicBezTo>
                  <a:cubicBezTo>
                    <a:pt x="135" y="52"/>
                    <a:pt x="136" y="53"/>
                    <a:pt x="137" y="53"/>
                  </a:cubicBezTo>
                  <a:cubicBezTo>
                    <a:pt x="138" y="53"/>
                    <a:pt x="138" y="54"/>
                    <a:pt x="138" y="56"/>
                  </a:cubicBezTo>
                  <a:cubicBezTo>
                    <a:pt x="138" y="57"/>
                    <a:pt x="139" y="56"/>
                    <a:pt x="142" y="56"/>
                  </a:cubicBezTo>
                  <a:cubicBezTo>
                    <a:pt x="145" y="56"/>
                    <a:pt x="144" y="56"/>
                    <a:pt x="145" y="56"/>
                  </a:cubicBezTo>
                  <a:cubicBezTo>
                    <a:pt x="145" y="56"/>
                    <a:pt x="147" y="56"/>
                    <a:pt x="148" y="55"/>
                  </a:cubicBezTo>
                  <a:cubicBezTo>
                    <a:pt x="149" y="55"/>
                    <a:pt x="150" y="56"/>
                    <a:pt x="152" y="55"/>
                  </a:cubicBezTo>
                  <a:cubicBezTo>
                    <a:pt x="153" y="54"/>
                    <a:pt x="155" y="53"/>
                    <a:pt x="155" y="53"/>
                  </a:cubicBezTo>
                  <a:cubicBezTo>
                    <a:pt x="155" y="52"/>
                    <a:pt x="157" y="53"/>
                    <a:pt x="160" y="51"/>
                  </a:cubicBezTo>
                  <a:cubicBezTo>
                    <a:pt x="162" y="50"/>
                    <a:pt x="160" y="50"/>
                    <a:pt x="160" y="48"/>
                  </a:cubicBezTo>
                  <a:cubicBezTo>
                    <a:pt x="159" y="46"/>
                    <a:pt x="160" y="48"/>
                    <a:pt x="163" y="45"/>
                  </a:cubicBezTo>
                  <a:cubicBezTo>
                    <a:pt x="163" y="45"/>
                    <a:pt x="164" y="42"/>
                    <a:pt x="165" y="38"/>
                  </a:cubicBezTo>
                  <a:cubicBezTo>
                    <a:pt x="165" y="35"/>
                    <a:pt x="165" y="38"/>
                    <a:pt x="165" y="37"/>
                  </a:cubicBezTo>
                  <a:cubicBezTo>
                    <a:pt x="166" y="36"/>
                    <a:pt x="167" y="36"/>
                    <a:pt x="167" y="34"/>
                  </a:cubicBezTo>
                  <a:cubicBezTo>
                    <a:pt x="168" y="32"/>
                    <a:pt x="168" y="32"/>
                    <a:pt x="167" y="30"/>
                  </a:cubicBezTo>
                  <a:cubicBezTo>
                    <a:pt x="167" y="28"/>
                    <a:pt x="166" y="28"/>
                    <a:pt x="166" y="27"/>
                  </a:cubicBezTo>
                  <a:cubicBezTo>
                    <a:pt x="165" y="25"/>
                    <a:pt x="161" y="26"/>
                    <a:pt x="159" y="24"/>
                  </a:cubicBezTo>
                  <a:cubicBezTo>
                    <a:pt x="159" y="24"/>
                    <a:pt x="152" y="25"/>
                    <a:pt x="151" y="25"/>
                  </a:cubicBezTo>
                  <a:cubicBezTo>
                    <a:pt x="151" y="25"/>
                    <a:pt x="150" y="26"/>
                    <a:pt x="149" y="27"/>
                  </a:cubicBezTo>
                  <a:cubicBezTo>
                    <a:pt x="149" y="27"/>
                    <a:pt x="148" y="31"/>
                    <a:pt x="147" y="30"/>
                  </a:cubicBezTo>
                  <a:cubicBezTo>
                    <a:pt x="147" y="29"/>
                    <a:pt x="144" y="28"/>
                    <a:pt x="144" y="27"/>
                  </a:cubicBezTo>
                  <a:cubicBezTo>
                    <a:pt x="144" y="26"/>
                    <a:pt x="141" y="28"/>
                    <a:pt x="140" y="28"/>
                  </a:cubicBezTo>
                  <a:cubicBezTo>
                    <a:pt x="139" y="28"/>
                    <a:pt x="136" y="30"/>
                    <a:pt x="134" y="30"/>
                  </a:cubicBezTo>
                  <a:cubicBezTo>
                    <a:pt x="132" y="30"/>
                    <a:pt x="135" y="29"/>
                    <a:pt x="137" y="27"/>
                  </a:cubicBezTo>
                  <a:cubicBezTo>
                    <a:pt x="139" y="24"/>
                    <a:pt x="137" y="26"/>
                    <a:pt x="136" y="24"/>
                  </a:cubicBezTo>
                  <a:cubicBezTo>
                    <a:pt x="134" y="22"/>
                    <a:pt x="130" y="24"/>
                    <a:pt x="128" y="22"/>
                  </a:cubicBezTo>
                  <a:cubicBezTo>
                    <a:pt x="127" y="21"/>
                    <a:pt x="128" y="22"/>
                    <a:pt x="129" y="20"/>
                  </a:cubicBezTo>
                  <a:cubicBezTo>
                    <a:pt x="130" y="18"/>
                    <a:pt x="129" y="19"/>
                    <a:pt x="127" y="15"/>
                  </a:cubicBezTo>
                  <a:cubicBezTo>
                    <a:pt x="127" y="13"/>
                    <a:pt x="126" y="14"/>
                    <a:pt x="126" y="9"/>
                  </a:cubicBezTo>
                  <a:cubicBezTo>
                    <a:pt x="126" y="7"/>
                    <a:pt x="125" y="6"/>
                    <a:pt x="125" y="3"/>
                  </a:cubicBezTo>
                  <a:cubicBezTo>
                    <a:pt x="125" y="0"/>
                    <a:pt x="124" y="2"/>
                    <a:pt x="122" y="2"/>
                  </a:cubicBezTo>
                  <a:cubicBezTo>
                    <a:pt x="120" y="1"/>
                    <a:pt x="119" y="1"/>
                    <a:pt x="118" y="1"/>
                  </a:cubicBezTo>
                  <a:cubicBezTo>
                    <a:pt x="116" y="1"/>
                    <a:pt x="115" y="3"/>
                    <a:pt x="114" y="3"/>
                  </a:cubicBezTo>
                  <a:cubicBezTo>
                    <a:pt x="113" y="3"/>
                    <a:pt x="113" y="4"/>
                    <a:pt x="111" y="6"/>
                  </a:cubicBezTo>
                  <a:cubicBezTo>
                    <a:pt x="109" y="7"/>
                    <a:pt x="109" y="8"/>
                    <a:pt x="108" y="10"/>
                  </a:cubicBezTo>
                  <a:cubicBezTo>
                    <a:pt x="106" y="11"/>
                    <a:pt x="106" y="11"/>
                    <a:pt x="105" y="11"/>
                  </a:cubicBezTo>
                  <a:cubicBezTo>
                    <a:pt x="104" y="11"/>
                    <a:pt x="104" y="12"/>
                    <a:pt x="102" y="14"/>
                  </a:cubicBezTo>
                  <a:cubicBezTo>
                    <a:pt x="100" y="17"/>
                    <a:pt x="102" y="14"/>
                    <a:pt x="102" y="17"/>
                  </a:cubicBezTo>
                  <a:cubicBezTo>
                    <a:pt x="101" y="21"/>
                    <a:pt x="104" y="18"/>
                    <a:pt x="105" y="19"/>
                  </a:cubicBezTo>
                  <a:cubicBezTo>
                    <a:pt x="106" y="19"/>
                    <a:pt x="107" y="20"/>
                    <a:pt x="108" y="20"/>
                  </a:cubicBezTo>
                  <a:cubicBezTo>
                    <a:pt x="108" y="20"/>
                    <a:pt x="109" y="22"/>
                    <a:pt x="109" y="22"/>
                  </a:cubicBezTo>
                  <a:cubicBezTo>
                    <a:pt x="109" y="22"/>
                    <a:pt x="111" y="23"/>
                    <a:pt x="113" y="24"/>
                  </a:cubicBezTo>
                  <a:cubicBezTo>
                    <a:pt x="114" y="24"/>
                    <a:pt x="112" y="25"/>
                    <a:pt x="112" y="26"/>
                  </a:cubicBezTo>
                  <a:cubicBezTo>
                    <a:pt x="111" y="26"/>
                    <a:pt x="110" y="27"/>
                    <a:pt x="109" y="27"/>
                  </a:cubicBezTo>
                  <a:cubicBezTo>
                    <a:pt x="107" y="28"/>
                    <a:pt x="107" y="28"/>
                    <a:pt x="106" y="28"/>
                  </a:cubicBezTo>
                  <a:cubicBezTo>
                    <a:pt x="105" y="28"/>
                    <a:pt x="105" y="29"/>
                    <a:pt x="104" y="30"/>
                  </a:cubicBezTo>
                  <a:cubicBezTo>
                    <a:pt x="103" y="31"/>
                    <a:pt x="106" y="31"/>
                    <a:pt x="107" y="31"/>
                  </a:cubicBezTo>
                  <a:cubicBezTo>
                    <a:pt x="108" y="31"/>
                    <a:pt x="108" y="31"/>
                    <a:pt x="109" y="32"/>
                  </a:cubicBezTo>
                  <a:cubicBezTo>
                    <a:pt x="110" y="33"/>
                    <a:pt x="111" y="33"/>
                    <a:pt x="112" y="33"/>
                  </a:cubicBezTo>
                  <a:cubicBezTo>
                    <a:pt x="113" y="33"/>
                    <a:pt x="114" y="33"/>
                    <a:pt x="115" y="33"/>
                  </a:cubicBezTo>
                  <a:cubicBezTo>
                    <a:pt x="117" y="34"/>
                    <a:pt x="118" y="34"/>
                    <a:pt x="117" y="36"/>
                  </a:cubicBezTo>
                  <a:cubicBezTo>
                    <a:pt x="117" y="38"/>
                    <a:pt x="116" y="37"/>
                    <a:pt x="115" y="37"/>
                  </a:cubicBezTo>
                  <a:cubicBezTo>
                    <a:pt x="114" y="37"/>
                    <a:pt x="114" y="38"/>
                    <a:pt x="113" y="38"/>
                  </a:cubicBezTo>
                  <a:cubicBezTo>
                    <a:pt x="111" y="39"/>
                    <a:pt x="110" y="38"/>
                    <a:pt x="109" y="38"/>
                  </a:cubicBezTo>
                  <a:cubicBezTo>
                    <a:pt x="108" y="37"/>
                    <a:pt x="107" y="38"/>
                    <a:pt x="106" y="39"/>
                  </a:cubicBezTo>
                  <a:cubicBezTo>
                    <a:pt x="104" y="39"/>
                    <a:pt x="102" y="40"/>
                    <a:pt x="101" y="39"/>
                  </a:cubicBezTo>
                  <a:cubicBezTo>
                    <a:pt x="99" y="38"/>
                    <a:pt x="101" y="38"/>
                    <a:pt x="101" y="37"/>
                  </a:cubicBezTo>
                  <a:cubicBezTo>
                    <a:pt x="100" y="36"/>
                    <a:pt x="97" y="37"/>
                    <a:pt x="97" y="36"/>
                  </a:cubicBezTo>
                  <a:cubicBezTo>
                    <a:pt x="97" y="35"/>
                    <a:pt x="95" y="37"/>
                    <a:pt x="94" y="37"/>
                  </a:cubicBezTo>
                  <a:cubicBezTo>
                    <a:pt x="93" y="37"/>
                    <a:pt x="91" y="38"/>
                    <a:pt x="90" y="38"/>
                  </a:cubicBezTo>
                  <a:cubicBezTo>
                    <a:pt x="88" y="38"/>
                    <a:pt x="89" y="37"/>
                    <a:pt x="88" y="35"/>
                  </a:cubicBezTo>
                  <a:cubicBezTo>
                    <a:pt x="87" y="33"/>
                    <a:pt x="89" y="32"/>
                    <a:pt x="89" y="31"/>
                  </a:cubicBezTo>
                  <a:cubicBezTo>
                    <a:pt x="89" y="30"/>
                    <a:pt x="86" y="30"/>
                    <a:pt x="85" y="29"/>
                  </a:cubicBezTo>
                  <a:cubicBezTo>
                    <a:pt x="84" y="28"/>
                    <a:pt x="84" y="28"/>
                    <a:pt x="82" y="28"/>
                  </a:cubicBezTo>
                  <a:cubicBezTo>
                    <a:pt x="81" y="28"/>
                    <a:pt x="80" y="27"/>
                    <a:pt x="78" y="26"/>
                  </a:cubicBezTo>
                  <a:cubicBezTo>
                    <a:pt x="77" y="25"/>
                    <a:pt x="77" y="26"/>
                    <a:pt x="75" y="24"/>
                  </a:cubicBezTo>
                  <a:cubicBezTo>
                    <a:pt x="74" y="22"/>
                    <a:pt x="74" y="23"/>
                    <a:pt x="71" y="22"/>
                  </a:cubicBezTo>
                  <a:cubicBezTo>
                    <a:pt x="68" y="22"/>
                    <a:pt x="68" y="20"/>
                    <a:pt x="67" y="19"/>
                  </a:cubicBezTo>
                  <a:cubicBezTo>
                    <a:pt x="65" y="17"/>
                    <a:pt x="64" y="19"/>
                    <a:pt x="61" y="18"/>
                  </a:cubicBezTo>
                  <a:cubicBezTo>
                    <a:pt x="58" y="17"/>
                    <a:pt x="59" y="19"/>
                    <a:pt x="58" y="18"/>
                  </a:cubicBezTo>
                  <a:cubicBezTo>
                    <a:pt x="57" y="18"/>
                    <a:pt x="55" y="19"/>
                    <a:pt x="54" y="19"/>
                  </a:cubicBezTo>
                  <a:cubicBezTo>
                    <a:pt x="52" y="19"/>
                    <a:pt x="52" y="20"/>
                    <a:pt x="51" y="19"/>
                  </a:cubicBezTo>
                  <a:cubicBezTo>
                    <a:pt x="50" y="17"/>
                    <a:pt x="50" y="18"/>
                    <a:pt x="49" y="14"/>
                  </a:cubicBezTo>
                  <a:cubicBezTo>
                    <a:pt x="49" y="10"/>
                    <a:pt x="49" y="13"/>
                    <a:pt x="47" y="11"/>
                  </a:cubicBezTo>
                  <a:cubicBezTo>
                    <a:pt x="46" y="9"/>
                    <a:pt x="43" y="12"/>
                    <a:pt x="41" y="11"/>
                  </a:cubicBezTo>
                  <a:cubicBezTo>
                    <a:pt x="40" y="11"/>
                    <a:pt x="37" y="12"/>
                    <a:pt x="36" y="12"/>
                  </a:cubicBezTo>
                  <a:cubicBezTo>
                    <a:pt x="34" y="12"/>
                    <a:pt x="31" y="13"/>
                    <a:pt x="30" y="13"/>
                  </a:cubicBezTo>
                  <a:cubicBezTo>
                    <a:pt x="29" y="14"/>
                    <a:pt x="28" y="16"/>
                    <a:pt x="28" y="1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1" name="Freeform 40"/>
            <p:cNvSpPr>
              <a:spLocks/>
            </p:cNvSpPr>
            <p:nvPr/>
          </p:nvSpPr>
          <p:spPr bwMode="auto">
            <a:xfrm>
              <a:off x="2940" y="1525"/>
              <a:ext cx="20" cy="15"/>
            </a:xfrm>
            <a:custGeom>
              <a:avLst/>
              <a:gdLst>
                <a:gd name="T0" fmla="*/ 20 w 27"/>
                <a:gd name="T1" fmla="*/ 1 h 20"/>
                <a:gd name="T2" fmla="*/ 17 w 27"/>
                <a:gd name="T3" fmla="*/ 3 h 20"/>
                <a:gd name="T4" fmla="*/ 14 w 27"/>
                <a:gd name="T5" fmla="*/ 6 h 20"/>
                <a:gd name="T6" fmla="*/ 7 w 27"/>
                <a:gd name="T7" fmla="*/ 11 h 20"/>
                <a:gd name="T8" fmla="*/ 2 w 27"/>
                <a:gd name="T9" fmla="*/ 15 h 20"/>
                <a:gd name="T10" fmla="*/ 4 w 27"/>
                <a:gd name="T11" fmla="*/ 18 h 20"/>
                <a:gd name="T12" fmla="*/ 8 w 27"/>
                <a:gd name="T13" fmla="*/ 19 h 20"/>
                <a:gd name="T14" fmla="*/ 13 w 27"/>
                <a:gd name="T15" fmla="*/ 18 h 20"/>
                <a:gd name="T16" fmla="*/ 16 w 27"/>
                <a:gd name="T17" fmla="*/ 17 h 20"/>
                <a:gd name="T18" fmla="*/ 20 w 27"/>
                <a:gd name="T19" fmla="*/ 15 h 20"/>
                <a:gd name="T20" fmla="*/ 23 w 27"/>
                <a:gd name="T21" fmla="*/ 10 h 20"/>
                <a:gd name="T22" fmla="*/ 26 w 27"/>
                <a:gd name="T23" fmla="*/ 5 h 20"/>
                <a:gd name="T24" fmla="*/ 22 w 27"/>
                <a:gd name="T25" fmla="*/ 1 h 20"/>
                <a:gd name="T26" fmla="*/ 20 w 27"/>
                <a:gd name="T2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20">
                  <a:moveTo>
                    <a:pt x="20" y="1"/>
                  </a:moveTo>
                  <a:cubicBezTo>
                    <a:pt x="18" y="2"/>
                    <a:pt x="18" y="2"/>
                    <a:pt x="17" y="3"/>
                  </a:cubicBezTo>
                  <a:cubicBezTo>
                    <a:pt x="16" y="4"/>
                    <a:pt x="15" y="5"/>
                    <a:pt x="14" y="6"/>
                  </a:cubicBezTo>
                  <a:cubicBezTo>
                    <a:pt x="14" y="6"/>
                    <a:pt x="8" y="9"/>
                    <a:pt x="7" y="11"/>
                  </a:cubicBezTo>
                  <a:cubicBezTo>
                    <a:pt x="5" y="12"/>
                    <a:pt x="4" y="13"/>
                    <a:pt x="2" y="15"/>
                  </a:cubicBezTo>
                  <a:cubicBezTo>
                    <a:pt x="0" y="17"/>
                    <a:pt x="1" y="16"/>
                    <a:pt x="4" y="18"/>
                  </a:cubicBezTo>
                  <a:cubicBezTo>
                    <a:pt x="7" y="20"/>
                    <a:pt x="6" y="19"/>
                    <a:pt x="8" y="19"/>
                  </a:cubicBezTo>
                  <a:cubicBezTo>
                    <a:pt x="10" y="20"/>
                    <a:pt x="10" y="20"/>
                    <a:pt x="13" y="18"/>
                  </a:cubicBezTo>
                  <a:cubicBezTo>
                    <a:pt x="16" y="17"/>
                    <a:pt x="13" y="18"/>
                    <a:pt x="16" y="17"/>
                  </a:cubicBezTo>
                  <a:cubicBezTo>
                    <a:pt x="20" y="15"/>
                    <a:pt x="18" y="16"/>
                    <a:pt x="20" y="15"/>
                  </a:cubicBezTo>
                  <a:cubicBezTo>
                    <a:pt x="21" y="14"/>
                    <a:pt x="22" y="13"/>
                    <a:pt x="23" y="10"/>
                  </a:cubicBezTo>
                  <a:cubicBezTo>
                    <a:pt x="24" y="8"/>
                    <a:pt x="25" y="7"/>
                    <a:pt x="26" y="5"/>
                  </a:cubicBezTo>
                  <a:cubicBezTo>
                    <a:pt x="27" y="4"/>
                    <a:pt x="26" y="3"/>
                    <a:pt x="22" y="1"/>
                  </a:cubicBezTo>
                  <a:cubicBezTo>
                    <a:pt x="17" y="0"/>
                    <a:pt x="22" y="1"/>
                    <a:pt x="20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2" name="Line 41"/>
            <p:cNvSpPr>
              <a:spLocks noChangeShapeType="1"/>
            </p:cNvSpPr>
            <p:nvPr/>
          </p:nvSpPr>
          <p:spPr bwMode="auto">
            <a:xfrm>
              <a:off x="2924" y="1530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3" name="Line 42"/>
            <p:cNvSpPr>
              <a:spLocks noChangeShapeType="1"/>
            </p:cNvSpPr>
            <p:nvPr/>
          </p:nvSpPr>
          <p:spPr bwMode="auto">
            <a:xfrm>
              <a:off x="2924" y="1530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4" name="Freeform 43"/>
            <p:cNvSpPr>
              <a:spLocks/>
            </p:cNvSpPr>
            <p:nvPr/>
          </p:nvSpPr>
          <p:spPr bwMode="auto">
            <a:xfrm>
              <a:off x="2905" y="1496"/>
              <a:ext cx="76" cy="38"/>
            </a:xfrm>
            <a:custGeom>
              <a:avLst/>
              <a:gdLst>
                <a:gd name="T0" fmla="*/ 2 w 102"/>
                <a:gd name="T1" fmla="*/ 45 h 51"/>
                <a:gd name="T2" fmla="*/ 6 w 102"/>
                <a:gd name="T3" fmla="*/ 49 h 51"/>
                <a:gd name="T4" fmla="*/ 14 w 102"/>
                <a:gd name="T5" fmla="*/ 45 h 51"/>
                <a:gd name="T6" fmla="*/ 23 w 102"/>
                <a:gd name="T7" fmla="*/ 47 h 51"/>
                <a:gd name="T8" fmla="*/ 26 w 102"/>
                <a:gd name="T9" fmla="*/ 43 h 51"/>
                <a:gd name="T10" fmla="*/ 31 w 102"/>
                <a:gd name="T11" fmla="*/ 47 h 51"/>
                <a:gd name="T12" fmla="*/ 37 w 102"/>
                <a:gd name="T13" fmla="*/ 50 h 51"/>
                <a:gd name="T14" fmla="*/ 46 w 102"/>
                <a:gd name="T15" fmla="*/ 46 h 51"/>
                <a:gd name="T16" fmla="*/ 44 w 102"/>
                <a:gd name="T17" fmla="*/ 42 h 51"/>
                <a:gd name="T18" fmla="*/ 50 w 102"/>
                <a:gd name="T19" fmla="*/ 42 h 51"/>
                <a:gd name="T20" fmla="*/ 54 w 102"/>
                <a:gd name="T21" fmla="*/ 37 h 51"/>
                <a:gd name="T22" fmla="*/ 57 w 102"/>
                <a:gd name="T23" fmla="*/ 33 h 51"/>
                <a:gd name="T24" fmla="*/ 59 w 102"/>
                <a:gd name="T25" fmla="*/ 29 h 51"/>
                <a:gd name="T26" fmla="*/ 62 w 102"/>
                <a:gd name="T27" fmla="*/ 24 h 51"/>
                <a:gd name="T28" fmla="*/ 67 w 102"/>
                <a:gd name="T29" fmla="*/ 30 h 51"/>
                <a:gd name="T30" fmla="*/ 69 w 102"/>
                <a:gd name="T31" fmla="*/ 36 h 51"/>
                <a:gd name="T32" fmla="*/ 79 w 102"/>
                <a:gd name="T33" fmla="*/ 36 h 51"/>
                <a:gd name="T34" fmla="*/ 81 w 102"/>
                <a:gd name="T35" fmla="*/ 30 h 51"/>
                <a:gd name="T36" fmla="*/ 87 w 102"/>
                <a:gd name="T37" fmla="*/ 30 h 51"/>
                <a:gd name="T38" fmla="*/ 93 w 102"/>
                <a:gd name="T39" fmla="*/ 24 h 51"/>
                <a:gd name="T40" fmla="*/ 94 w 102"/>
                <a:gd name="T41" fmla="*/ 20 h 51"/>
                <a:gd name="T42" fmla="*/ 92 w 102"/>
                <a:gd name="T43" fmla="*/ 12 h 51"/>
                <a:gd name="T44" fmla="*/ 101 w 102"/>
                <a:gd name="T45" fmla="*/ 7 h 51"/>
                <a:gd name="T46" fmla="*/ 93 w 102"/>
                <a:gd name="T47" fmla="*/ 1 h 51"/>
                <a:gd name="T48" fmla="*/ 80 w 102"/>
                <a:gd name="T49" fmla="*/ 1 h 51"/>
                <a:gd name="T50" fmla="*/ 76 w 102"/>
                <a:gd name="T51" fmla="*/ 7 h 51"/>
                <a:gd name="T52" fmla="*/ 66 w 102"/>
                <a:gd name="T53" fmla="*/ 6 h 51"/>
                <a:gd name="T54" fmla="*/ 54 w 102"/>
                <a:gd name="T55" fmla="*/ 6 h 51"/>
                <a:gd name="T56" fmla="*/ 36 w 102"/>
                <a:gd name="T57" fmla="*/ 18 h 51"/>
                <a:gd name="T58" fmla="*/ 31 w 102"/>
                <a:gd name="T59" fmla="*/ 23 h 51"/>
                <a:gd name="T60" fmla="*/ 22 w 102"/>
                <a:gd name="T61" fmla="*/ 28 h 51"/>
                <a:gd name="T62" fmla="*/ 5 w 102"/>
                <a:gd name="T63" fmla="*/ 33 h 51"/>
                <a:gd name="T64" fmla="*/ 4 w 102"/>
                <a:gd name="T65" fmla="*/ 4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2" h="51">
                  <a:moveTo>
                    <a:pt x="4" y="41"/>
                  </a:moveTo>
                  <a:cubicBezTo>
                    <a:pt x="5" y="42"/>
                    <a:pt x="2" y="45"/>
                    <a:pt x="2" y="45"/>
                  </a:cubicBezTo>
                  <a:cubicBezTo>
                    <a:pt x="2" y="45"/>
                    <a:pt x="3" y="47"/>
                    <a:pt x="3" y="48"/>
                  </a:cubicBezTo>
                  <a:cubicBezTo>
                    <a:pt x="3" y="48"/>
                    <a:pt x="5" y="49"/>
                    <a:pt x="6" y="49"/>
                  </a:cubicBezTo>
                  <a:cubicBezTo>
                    <a:pt x="7" y="49"/>
                    <a:pt x="8" y="47"/>
                    <a:pt x="10" y="46"/>
                  </a:cubicBezTo>
                  <a:cubicBezTo>
                    <a:pt x="11" y="44"/>
                    <a:pt x="10" y="46"/>
                    <a:pt x="14" y="45"/>
                  </a:cubicBezTo>
                  <a:cubicBezTo>
                    <a:pt x="15" y="45"/>
                    <a:pt x="16" y="47"/>
                    <a:pt x="18" y="47"/>
                  </a:cubicBezTo>
                  <a:cubicBezTo>
                    <a:pt x="19" y="47"/>
                    <a:pt x="22" y="46"/>
                    <a:pt x="23" y="47"/>
                  </a:cubicBezTo>
                  <a:cubicBezTo>
                    <a:pt x="23" y="49"/>
                    <a:pt x="25" y="48"/>
                    <a:pt x="26" y="45"/>
                  </a:cubicBezTo>
                  <a:cubicBezTo>
                    <a:pt x="26" y="43"/>
                    <a:pt x="26" y="45"/>
                    <a:pt x="26" y="43"/>
                  </a:cubicBezTo>
                  <a:cubicBezTo>
                    <a:pt x="26" y="40"/>
                    <a:pt x="26" y="43"/>
                    <a:pt x="28" y="42"/>
                  </a:cubicBezTo>
                  <a:cubicBezTo>
                    <a:pt x="31" y="41"/>
                    <a:pt x="28" y="44"/>
                    <a:pt x="31" y="47"/>
                  </a:cubicBezTo>
                  <a:cubicBezTo>
                    <a:pt x="32" y="48"/>
                    <a:pt x="32" y="48"/>
                    <a:pt x="32" y="49"/>
                  </a:cubicBezTo>
                  <a:cubicBezTo>
                    <a:pt x="33" y="51"/>
                    <a:pt x="35" y="51"/>
                    <a:pt x="37" y="50"/>
                  </a:cubicBezTo>
                  <a:cubicBezTo>
                    <a:pt x="38" y="50"/>
                    <a:pt x="39" y="49"/>
                    <a:pt x="41" y="49"/>
                  </a:cubicBezTo>
                  <a:cubicBezTo>
                    <a:pt x="43" y="48"/>
                    <a:pt x="44" y="48"/>
                    <a:pt x="46" y="46"/>
                  </a:cubicBezTo>
                  <a:cubicBezTo>
                    <a:pt x="47" y="43"/>
                    <a:pt x="46" y="46"/>
                    <a:pt x="45" y="44"/>
                  </a:cubicBezTo>
                  <a:cubicBezTo>
                    <a:pt x="44" y="42"/>
                    <a:pt x="45" y="44"/>
                    <a:pt x="44" y="42"/>
                  </a:cubicBezTo>
                  <a:cubicBezTo>
                    <a:pt x="44" y="40"/>
                    <a:pt x="44" y="40"/>
                    <a:pt x="48" y="42"/>
                  </a:cubicBezTo>
                  <a:cubicBezTo>
                    <a:pt x="52" y="44"/>
                    <a:pt x="49" y="42"/>
                    <a:pt x="50" y="42"/>
                  </a:cubicBezTo>
                  <a:cubicBezTo>
                    <a:pt x="51" y="41"/>
                    <a:pt x="52" y="41"/>
                    <a:pt x="53" y="40"/>
                  </a:cubicBezTo>
                  <a:cubicBezTo>
                    <a:pt x="54" y="38"/>
                    <a:pt x="53" y="38"/>
                    <a:pt x="54" y="37"/>
                  </a:cubicBezTo>
                  <a:cubicBezTo>
                    <a:pt x="54" y="36"/>
                    <a:pt x="56" y="37"/>
                    <a:pt x="56" y="36"/>
                  </a:cubicBezTo>
                  <a:cubicBezTo>
                    <a:pt x="57" y="35"/>
                    <a:pt x="57" y="35"/>
                    <a:pt x="57" y="33"/>
                  </a:cubicBezTo>
                  <a:cubicBezTo>
                    <a:pt x="57" y="31"/>
                    <a:pt x="57" y="32"/>
                    <a:pt x="56" y="31"/>
                  </a:cubicBezTo>
                  <a:cubicBezTo>
                    <a:pt x="56" y="29"/>
                    <a:pt x="58" y="30"/>
                    <a:pt x="59" y="29"/>
                  </a:cubicBezTo>
                  <a:cubicBezTo>
                    <a:pt x="61" y="28"/>
                    <a:pt x="61" y="29"/>
                    <a:pt x="61" y="27"/>
                  </a:cubicBezTo>
                  <a:cubicBezTo>
                    <a:pt x="61" y="25"/>
                    <a:pt x="62" y="25"/>
                    <a:pt x="62" y="24"/>
                  </a:cubicBezTo>
                  <a:cubicBezTo>
                    <a:pt x="62" y="23"/>
                    <a:pt x="64" y="25"/>
                    <a:pt x="67" y="26"/>
                  </a:cubicBezTo>
                  <a:cubicBezTo>
                    <a:pt x="68" y="26"/>
                    <a:pt x="67" y="28"/>
                    <a:pt x="67" y="30"/>
                  </a:cubicBezTo>
                  <a:cubicBezTo>
                    <a:pt x="66" y="32"/>
                    <a:pt x="67" y="31"/>
                    <a:pt x="67" y="33"/>
                  </a:cubicBezTo>
                  <a:cubicBezTo>
                    <a:pt x="66" y="35"/>
                    <a:pt x="68" y="36"/>
                    <a:pt x="69" y="36"/>
                  </a:cubicBezTo>
                  <a:cubicBezTo>
                    <a:pt x="70" y="38"/>
                    <a:pt x="73" y="38"/>
                    <a:pt x="74" y="37"/>
                  </a:cubicBezTo>
                  <a:cubicBezTo>
                    <a:pt x="76" y="36"/>
                    <a:pt x="78" y="37"/>
                    <a:pt x="79" y="36"/>
                  </a:cubicBezTo>
                  <a:cubicBezTo>
                    <a:pt x="80" y="35"/>
                    <a:pt x="79" y="36"/>
                    <a:pt x="80" y="33"/>
                  </a:cubicBezTo>
                  <a:cubicBezTo>
                    <a:pt x="80" y="29"/>
                    <a:pt x="81" y="31"/>
                    <a:pt x="81" y="30"/>
                  </a:cubicBezTo>
                  <a:cubicBezTo>
                    <a:pt x="82" y="29"/>
                    <a:pt x="83" y="30"/>
                    <a:pt x="84" y="30"/>
                  </a:cubicBezTo>
                  <a:cubicBezTo>
                    <a:pt x="85" y="29"/>
                    <a:pt x="86" y="31"/>
                    <a:pt x="87" y="30"/>
                  </a:cubicBezTo>
                  <a:cubicBezTo>
                    <a:pt x="89" y="29"/>
                    <a:pt x="92" y="28"/>
                    <a:pt x="93" y="26"/>
                  </a:cubicBezTo>
                  <a:cubicBezTo>
                    <a:pt x="94" y="25"/>
                    <a:pt x="94" y="26"/>
                    <a:pt x="93" y="24"/>
                  </a:cubicBezTo>
                  <a:cubicBezTo>
                    <a:pt x="93" y="23"/>
                    <a:pt x="92" y="23"/>
                    <a:pt x="91" y="21"/>
                  </a:cubicBezTo>
                  <a:cubicBezTo>
                    <a:pt x="91" y="19"/>
                    <a:pt x="93" y="20"/>
                    <a:pt x="94" y="20"/>
                  </a:cubicBezTo>
                  <a:cubicBezTo>
                    <a:pt x="95" y="19"/>
                    <a:pt x="95" y="18"/>
                    <a:pt x="91" y="15"/>
                  </a:cubicBezTo>
                  <a:cubicBezTo>
                    <a:pt x="88" y="11"/>
                    <a:pt x="91" y="15"/>
                    <a:pt x="92" y="12"/>
                  </a:cubicBezTo>
                  <a:cubicBezTo>
                    <a:pt x="93" y="10"/>
                    <a:pt x="96" y="11"/>
                    <a:pt x="97" y="10"/>
                  </a:cubicBezTo>
                  <a:cubicBezTo>
                    <a:pt x="99" y="9"/>
                    <a:pt x="101" y="9"/>
                    <a:pt x="101" y="7"/>
                  </a:cubicBezTo>
                  <a:cubicBezTo>
                    <a:pt x="102" y="5"/>
                    <a:pt x="100" y="6"/>
                    <a:pt x="97" y="3"/>
                  </a:cubicBezTo>
                  <a:cubicBezTo>
                    <a:pt x="94" y="0"/>
                    <a:pt x="94" y="2"/>
                    <a:pt x="93" y="1"/>
                  </a:cubicBezTo>
                  <a:cubicBezTo>
                    <a:pt x="91" y="0"/>
                    <a:pt x="89" y="1"/>
                    <a:pt x="87" y="2"/>
                  </a:cubicBezTo>
                  <a:cubicBezTo>
                    <a:pt x="85" y="2"/>
                    <a:pt x="80" y="1"/>
                    <a:pt x="80" y="1"/>
                  </a:cubicBezTo>
                  <a:cubicBezTo>
                    <a:pt x="80" y="1"/>
                    <a:pt x="79" y="2"/>
                    <a:pt x="78" y="3"/>
                  </a:cubicBezTo>
                  <a:cubicBezTo>
                    <a:pt x="78" y="4"/>
                    <a:pt x="78" y="5"/>
                    <a:pt x="76" y="7"/>
                  </a:cubicBezTo>
                  <a:cubicBezTo>
                    <a:pt x="76" y="7"/>
                    <a:pt x="73" y="6"/>
                    <a:pt x="71" y="6"/>
                  </a:cubicBezTo>
                  <a:cubicBezTo>
                    <a:pt x="69" y="5"/>
                    <a:pt x="68" y="6"/>
                    <a:pt x="66" y="6"/>
                  </a:cubicBezTo>
                  <a:cubicBezTo>
                    <a:pt x="64" y="6"/>
                    <a:pt x="57" y="6"/>
                    <a:pt x="56" y="6"/>
                  </a:cubicBezTo>
                  <a:cubicBezTo>
                    <a:pt x="56" y="6"/>
                    <a:pt x="54" y="6"/>
                    <a:pt x="54" y="6"/>
                  </a:cubicBezTo>
                  <a:cubicBezTo>
                    <a:pt x="53" y="6"/>
                    <a:pt x="50" y="8"/>
                    <a:pt x="46" y="11"/>
                  </a:cubicBezTo>
                  <a:cubicBezTo>
                    <a:pt x="42" y="15"/>
                    <a:pt x="44" y="13"/>
                    <a:pt x="36" y="18"/>
                  </a:cubicBezTo>
                  <a:cubicBezTo>
                    <a:pt x="29" y="24"/>
                    <a:pt x="34" y="20"/>
                    <a:pt x="33" y="21"/>
                  </a:cubicBezTo>
                  <a:cubicBezTo>
                    <a:pt x="31" y="22"/>
                    <a:pt x="31" y="22"/>
                    <a:pt x="31" y="23"/>
                  </a:cubicBezTo>
                  <a:cubicBezTo>
                    <a:pt x="30" y="23"/>
                    <a:pt x="25" y="26"/>
                    <a:pt x="25" y="26"/>
                  </a:cubicBezTo>
                  <a:cubicBezTo>
                    <a:pt x="25" y="26"/>
                    <a:pt x="23" y="27"/>
                    <a:pt x="22" y="28"/>
                  </a:cubicBezTo>
                  <a:cubicBezTo>
                    <a:pt x="20" y="29"/>
                    <a:pt x="18" y="31"/>
                    <a:pt x="15" y="32"/>
                  </a:cubicBezTo>
                  <a:cubicBezTo>
                    <a:pt x="13" y="32"/>
                    <a:pt x="9" y="32"/>
                    <a:pt x="5" y="33"/>
                  </a:cubicBezTo>
                  <a:cubicBezTo>
                    <a:pt x="5" y="33"/>
                    <a:pt x="2" y="36"/>
                    <a:pt x="1" y="40"/>
                  </a:cubicBezTo>
                  <a:cubicBezTo>
                    <a:pt x="0" y="41"/>
                    <a:pt x="2" y="40"/>
                    <a:pt x="4" y="4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5" name="Freeform 44"/>
            <p:cNvSpPr>
              <a:spLocks/>
            </p:cNvSpPr>
            <p:nvPr/>
          </p:nvSpPr>
          <p:spPr bwMode="auto">
            <a:xfrm>
              <a:off x="2986" y="1510"/>
              <a:ext cx="14" cy="5"/>
            </a:xfrm>
            <a:custGeom>
              <a:avLst/>
              <a:gdLst>
                <a:gd name="T0" fmla="*/ 11 w 19"/>
                <a:gd name="T1" fmla="*/ 0 h 7"/>
                <a:gd name="T2" fmla="*/ 8 w 19"/>
                <a:gd name="T3" fmla="*/ 1 h 7"/>
                <a:gd name="T4" fmla="*/ 2 w 19"/>
                <a:gd name="T5" fmla="*/ 1 h 7"/>
                <a:gd name="T6" fmla="*/ 1 w 19"/>
                <a:gd name="T7" fmla="*/ 5 h 7"/>
                <a:gd name="T8" fmla="*/ 4 w 19"/>
                <a:gd name="T9" fmla="*/ 6 h 7"/>
                <a:gd name="T10" fmla="*/ 7 w 19"/>
                <a:gd name="T11" fmla="*/ 7 h 7"/>
                <a:gd name="T12" fmla="*/ 11 w 19"/>
                <a:gd name="T13" fmla="*/ 7 h 7"/>
                <a:gd name="T14" fmla="*/ 15 w 19"/>
                <a:gd name="T15" fmla="*/ 6 h 7"/>
                <a:gd name="T16" fmla="*/ 18 w 19"/>
                <a:gd name="T17" fmla="*/ 6 h 7"/>
                <a:gd name="T18" fmla="*/ 19 w 19"/>
                <a:gd name="T19" fmla="*/ 4 h 7"/>
                <a:gd name="T20" fmla="*/ 18 w 19"/>
                <a:gd name="T21" fmla="*/ 1 h 7"/>
                <a:gd name="T22" fmla="*/ 11 w 19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7">
                  <a:moveTo>
                    <a:pt x="11" y="0"/>
                  </a:moveTo>
                  <a:cubicBezTo>
                    <a:pt x="11" y="1"/>
                    <a:pt x="9" y="0"/>
                    <a:pt x="8" y="1"/>
                  </a:cubicBezTo>
                  <a:cubicBezTo>
                    <a:pt x="6" y="2"/>
                    <a:pt x="3" y="0"/>
                    <a:pt x="2" y="1"/>
                  </a:cubicBezTo>
                  <a:cubicBezTo>
                    <a:pt x="0" y="1"/>
                    <a:pt x="0" y="4"/>
                    <a:pt x="1" y="5"/>
                  </a:cubicBezTo>
                  <a:cubicBezTo>
                    <a:pt x="2" y="5"/>
                    <a:pt x="2" y="6"/>
                    <a:pt x="4" y="6"/>
                  </a:cubicBezTo>
                  <a:cubicBezTo>
                    <a:pt x="6" y="6"/>
                    <a:pt x="6" y="6"/>
                    <a:pt x="7" y="7"/>
                  </a:cubicBezTo>
                  <a:cubicBezTo>
                    <a:pt x="9" y="7"/>
                    <a:pt x="9" y="7"/>
                    <a:pt x="11" y="7"/>
                  </a:cubicBezTo>
                  <a:cubicBezTo>
                    <a:pt x="13" y="7"/>
                    <a:pt x="14" y="6"/>
                    <a:pt x="15" y="6"/>
                  </a:cubicBezTo>
                  <a:cubicBezTo>
                    <a:pt x="16" y="7"/>
                    <a:pt x="17" y="7"/>
                    <a:pt x="18" y="6"/>
                  </a:cubicBezTo>
                  <a:cubicBezTo>
                    <a:pt x="18" y="5"/>
                    <a:pt x="19" y="4"/>
                    <a:pt x="19" y="4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2" y="0"/>
                    <a:pt x="11" y="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6" name="Freeform 45"/>
            <p:cNvSpPr>
              <a:spLocks/>
            </p:cNvSpPr>
            <p:nvPr/>
          </p:nvSpPr>
          <p:spPr bwMode="auto">
            <a:xfrm>
              <a:off x="2983" y="1485"/>
              <a:ext cx="16" cy="9"/>
            </a:xfrm>
            <a:custGeom>
              <a:avLst/>
              <a:gdLst>
                <a:gd name="T0" fmla="*/ 3 w 21"/>
                <a:gd name="T1" fmla="*/ 10 h 12"/>
                <a:gd name="T2" fmla="*/ 7 w 21"/>
                <a:gd name="T3" fmla="*/ 10 h 12"/>
                <a:gd name="T4" fmla="*/ 13 w 21"/>
                <a:gd name="T5" fmla="*/ 11 h 12"/>
                <a:gd name="T6" fmla="*/ 18 w 21"/>
                <a:gd name="T7" fmla="*/ 9 h 12"/>
                <a:gd name="T8" fmla="*/ 21 w 21"/>
                <a:gd name="T9" fmla="*/ 7 h 12"/>
                <a:gd name="T10" fmla="*/ 19 w 21"/>
                <a:gd name="T11" fmla="*/ 5 h 12"/>
                <a:gd name="T12" fmla="*/ 15 w 21"/>
                <a:gd name="T13" fmla="*/ 4 h 12"/>
                <a:gd name="T14" fmla="*/ 11 w 21"/>
                <a:gd name="T15" fmla="*/ 1 h 12"/>
                <a:gd name="T16" fmla="*/ 8 w 21"/>
                <a:gd name="T17" fmla="*/ 1 h 12"/>
                <a:gd name="T18" fmla="*/ 4 w 21"/>
                <a:gd name="T19" fmla="*/ 2 h 12"/>
                <a:gd name="T20" fmla="*/ 1 w 21"/>
                <a:gd name="T21" fmla="*/ 5 h 12"/>
                <a:gd name="T22" fmla="*/ 1 w 21"/>
                <a:gd name="T23" fmla="*/ 7 h 12"/>
                <a:gd name="T24" fmla="*/ 3 w 21"/>
                <a:gd name="T2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12">
                  <a:moveTo>
                    <a:pt x="3" y="10"/>
                  </a:moveTo>
                  <a:cubicBezTo>
                    <a:pt x="3" y="10"/>
                    <a:pt x="5" y="10"/>
                    <a:pt x="7" y="10"/>
                  </a:cubicBezTo>
                  <a:cubicBezTo>
                    <a:pt x="9" y="10"/>
                    <a:pt x="11" y="10"/>
                    <a:pt x="13" y="11"/>
                  </a:cubicBezTo>
                  <a:cubicBezTo>
                    <a:pt x="14" y="12"/>
                    <a:pt x="16" y="10"/>
                    <a:pt x="18" y="9"/>
                  </a:cubicBezTo>
                  <a:cubicBezTo>
                    <a:pt x="19" y="8"/>
                    <a:pt x="20" y="9"/>
                    <a:pt x="21" y="7"/>
                  </a:cubicBezTo>
                  <a:cubicBezTo>
                    <a:pt x="21" y="5"/>
                    <a:pt x="20" y="6"/>
                    <a:pt x="19" y="5"/>
                  </a:cubicBezTo>
                  <a:cubicBezTo>
                    <a:pt x="18" y="4"/>
                    <a:pt x="16" y="4"/>
                    <a:pt x="15" y="4"/>
                  </a:cubicBezTo>
                  <a:cubicBezTo>
                    <a:pt x="14" y="3"/>
                    <a:pt x="13" y="2"/>
                    <a:pt x="11" y="1"/>
                  </a:cubicBezTo>
                  <a:cubicBezTo>
                    <a:pt x="10" y="0"/>
                    <a:pt x="9" y="1"/>
                    <a:pt x="8" y="1"/>
                  </a:cubicBezTo>
                  <a:cubicBezTo>
                    <a:pt x="7" y="1"/>
                    <a:pt x="5" y="2"/>
                    <a:pt x="4" y="2"/>
                  </a:cubicBezTo>
                  <a:cubicBezTo>
                    <a:pt x="2" y="2"/>
                    <a:pt x="2" y="5"/>
                    <a:pt x="1" y="5"/>
                  </a:cubicBezTo>
                  <a:cubicBezTo>
                    <a:pt x="0" y="5"/>
                    <a:pt x="1" y="7"/>
                    <a:pt x="1" y="7"/>
                  </a:cubicBezTo>
                  <a:cubicBezTo>
                    <a:pt x="1" y="7"/>
                    <a:pt x="2" y="9"/>
                    <a:pt x="3" y="1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7" name="Freeform 46"/>
            <p:cNvSpPr>
              <a:spLocks/>
            </p:cNvSpPr>
            <p:nvPr/>
          </p:nvSpPr>
          <p:spPr bwMode="auto">
            <a:xfrm>
              <a:off x="3000" y="1484"/>
              <a:ext cx="39" cy="17"/>
            </a:xfrm>
            <a:custGeom>
              <a:avLst/>
              <a:gdLst>
                <a:gd name="T0" fmla="*/ 42 w 52"/>
                <a:gd name="T1" fmla="*/ 6 h 23"/>
                <a:gd name="T2" fmla="*/ 45 w 52"/>
                <a:gd name="T3" fmla="*/ 6 h 23"/>
                <a:gd name="T4" fmla="*/ 50 w 52"/>
                <a:gd name="T5" fmla="*/ 5 h 23"/>
                <a:gd name="T6" fmla="*/ 51 w 52"/>
                <a:gd name="T7" fmla="*/ 2 h 23"/>
                <a:gd name="T8" fmla="*/ 48 w 52"/>
                <a:gd name="T9" fmla="*/ 2 h 23"/>
                <a:gd name="T10" fmla="*/ 41 w 52"/>
                <a:gd name="T11" fmla="*/ 1 h 23"/>
                <a:gd name="T12" fmla="*/ 35 w 52"/>
                <a:gd name="T13" fmla="*/ 1 h 23"/>
                <a:gd name="T14" fmla="*/ 29 w 52"/>
                <a:gd name="T15" fmla="*/ 1 h 23"/>
                <a:gd name="T16" fmla="*/ 26 w 52"/>
                <a:gd name="T17" fmla="*/ 2 h 23"/>
                <a:gd name="T18" fmla="*/ 22 w 52"/>
                <a:gd name="T19" fmla="*/ 3 h 23"/>
                <a:gd name="T20" fmla="*/ 16 w 52"/>
                <a:gd name="T21" fmla="*/ 2 h 23"/>
                <a:gd name="T22" fmla="*/ 12 w 52"/>
                <a:gd name="T23" fmla="*/ 3 h 23"/>
                <a:gd name="T24" fmla="*/ 10 w 52"/>
                <a:gd name="T25" fmla="*/ 4 h 23"/>
                <a:gd name="T26" fmla="*/ 5 w 52"/>
                <a:gd name="T27" fmla="*/ 5 h 23"/>
                <a:gd name="T28" fmla="*/ 3 w 52"/>
                <a:gd name="T29" fmla="*/ 7 h 23"/>
                <a:gd name="T30" fmla="*/ 2 w 52"/>
                <a:gd name="T31" fmla="*/ 8 h 23"/>
                <a:gd name="T32" fmla="*/ 1 w 52"/>
                <a:gd name="T33" fmla="*/ 14 h 23"/>
                <a:gd name="T34" fmla="*/ 2 w 52"/>
                <a:gd name="T35" fmla="*/ 19 h 23"/>
                <a:gd name="T36" fmla="*/ 9 w 52"/>
                <a:gd name="T37" fmla="*/ 21 h 23"/>
                <a:gd name="T38" fmla="*/ 13 w 52"/>
                <a:gd name="T39" fmla="*/ 22 h 23"/>
                <a:gd name="T40" fmla="*/ 15 w 52"/>
                <a:gd name="T41" fmla="*/ 23 h 23"/>
                <a:gd name="T42" fmla="*/ 20 w 52"/>
                <a:gd name="T43" fmla="*/ 23 h 23"/>
                <a:gd name="T44" fmla="*/ 23 w 52"/>
                <a:gd name="T45" fmla="*/ 22 h 23"/>
                <a:gd name="T46" fmla="*/ 28 w 52"/>
                <a:gd name="T47" fmla="*/ 21 h 23"/>
                <a:gd name="T48" fmla="*/ 31 w 52"/>
                <a:gd name="T49" fmla="*/ 21 h 23"/>
                <a:gd name="T50" fmla="*/ 34 w 52"/>
                <a:gd name="T51" fmla="*/ 20 h 23"/>
                <a:gd name="T52" fmla="*/ 38 w 52"/>
                <a:gd name="T53" fmla="*/ 19 h 23"/>
                <a:gd name="T54" fmla="*/ 44 w 52"/>
                <a:gd name="T55" fmla="*/ 18 h 23"/>
                <a:gd name="T56" fmla="*/ 46 w 52"/>
                <a:gd name="T57" fmla="*/ 16 h 23"/>
                <a:gd name="T58" fmla="*/ 45 w 52"/>
                <a:gd name="T59" fmla="*/ 14 h 23"/>
                <a:gd name="T60" fmla="*/ 45 w 52"/>
                <a:gd name="T61" fmla="*/ 12 h 23"/>
                <a:gd name="T62" fmla="*/ 42 w 52"/>
                <a:gd name="T63" fmla="*/ 10 h 23"/>
                <a:gd name="T64" fmla="*/ 38 w 52"/>
                <a:gd name="T65" fmla="*/ 9 h 23"/>
                <a:gd name="T66" fmla="*/ 42 w 52"/>
                <a:gd name="T67" fmla="*/ 6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2" h="23">
                  <a:moveTo>
                    <a:pt x="42" y="6"/>
                  </a:moveTo>
                  <a:cubicBezTo>
                    <a:pt x="43" y="6"/>
                    <a:pt x="43" y="5"/>
                    <a:pt x="45" y="6"/>
                  </a:cubicBezTo>
                  <a:cubicBezTo>
                    <a:pt x="47" y="7"/>
                    <a:pt x="49" y="6"/>
                    <a:pt x="50" y="5"/>
                  </a:cubicBezTo>
                  <a:cubicBezTo>
                    <a:pt x="52" y="3"/>
                    <a:pt x="52" y="2"/>
                    <a:pt x="51" y="2"/>
                  </a:cubicBezTo>
                  <a:cubicBezTo>
                    <a:pt x="49" y="3"/>
                    <a:pt x="49" y="2"/>
                    <a:pt x="48" y="2"/>
                  </a:cubicBezTo>
                  <a:cubicBezTo>
                    <a:pt x="47" y="2"/>
                    <a:pt x="42" y="1"/>
                    <a:pt x="41" y="1"/>
                  </a:cubicBezTo>
                  <a:cubicBezTo>
                    <a:pt x="39" y="1"/>
                    <a:pt x="37" y="0"/>
                    <a:pt x="35" y="1"/>
                  </a:cubicBezTo>
                  <a:cubicBezTo>
                    <a:pt x="33" y="1"/>
                    <a:pt x="30" y="0"/>
                    <a:pt x="29" y="1"/>
                  </a:cubicBezTo>
                  <a:cubicBezTo>
                    <a:pt x="28" y="2"/>
                    <a:pt x="27" y="1"/>
                    <a:pt x="26" y="2"/>
                  </a:cubicBezTo>
                  <a:cubicBezTo>
                    <a:pt x="25" y="3"/>
                    <a:pt x="22" y="4"/>
                    <a:pt x="22" y="3"/>
                  </a:cubicBezTo>
                  <a:cubicBezTo>
                    <a:pt x="19" y="2"/>
                    <a:pt x="18" y="0"/>
                    <a:pt x="16" y="2"/>
                  </a:cubicBezTo>
                  <a:cubicBezTo>
                    <a:pt x="14" y="3"/>
                    <a:pt x="13" y="3"/>
                    <a:pt x="12" y="3"/>
                  </a:cubicBezTo>
                  <a:cubicBezTo>
                    <a:pt x="11" y="4"/>
                    <a:pt x="10" y="4"/>
                    <a:pt x="10" y="4"/>
                  </a:cubicBezTo>
                  <a:cubicBezTo>
                    <a:pt x="6" y="5"/>
                    <a:pt x="6" y="4"/>
                    <a:pt x="5" y="5"/>
                  </a:cubicBezTo>
                  <a:cubicBezTo>
                    <a:pt x="4" y="6"/>
                    <a:pt x="3" y="7"/>
                    <a:pt x="3" y="7"/>
                  </a:cubicBezTo>
                  <a:cubicBezTo>
                    <a:pt x="2" y="7"/>
                    <a:pt x="2" y="7"/>
                    <a:pt x="2" y="8"/>
                  </a:cubicBezTo>
                  <a:cubicBezTo>
                    <a:pt x="2" y="10"/>
                    <a:pt x="1" y="13"/>
                    <a:pt x="1" y="14"/>
                  </a:cubicBezTo>
                  <a:cubicBezTo>
                    <a:pt x="1" y="16"/>
                    <a:pt x="0" y="18"/>
                    <a:pt x="2" y="19"/>
                  </a:cubicBezTo>
                  <a:cubicBezTo>
                    <a:pt x="3" y="21"/>
                    <a:pt x="8" y="21"/>
                    <a:pt x="9" y="21"/>
                  </a:cubicBezTo>
                  <a:cubicBezTo>
                    <a:pt x="9" y="21"/>
                    <a:pt x="12" y="20"/>
                    <a:pt x="13" y="22"/>
                  </a:cubicBezTo>
                  <a:cubicBezTo>
                    <a:pt x="13" y="23"/>
                    <a:pt x="15" y="23"/>
                    <a:pt x="15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1"/>
                    <a:pt x="29" y="22"/>
                    <a:pt x="31" y="21"/>
                  </a:cubicBezTo>
                  <a:cubicBezTo>
                    <a:pt x="32" y="21"/>
                    <a:pt x="33" y="20"/>
                    <a:pt x="34" y="20"/>
                  </a:cubicBezTo>
                  <a:cubicBezTo>
                    <a:pt x="35" y="20"/>
                    <a:pt x="37" y="19"/>
                    <a:pt x="38" y="19"/>
                  </a:cubicBezTo>
                  <a:cubicBezTo>
                    <a:pt x="42" y="19"/>
                    <a:pt x="44" y="18"/>
                    <a:pt x="44" y="18"/>
                  </a:cubicBezTo>
                  <a:cubicBezTo>
                    <a:pt x="45" y="17"/>
                    <a:pt x="46" y="16"/>
                    <a:pt x="46" y="16"/>
                  </a:cubicBezTo>
                  <a:cubicBezTo>
                    <a:pt x="46" y="16"/>
                    <a:pt x="45" y="15"/>
                    <a:pt x="45" y="14"/>
                  </a:cubicBezTo>
                  <a:cubicBezTo>
                    <a:pt x="45" y="12"/>
                    <a:pt x="46" y="13"/>
                    <a:pt x="45" y="12"/>
                  </a:cubicBezTo>
                  <a:cubicBezTo>
                    <a:pt x="44" y="11"/>
                    <a:pt x="44" y="11"/>
                    <a:pt x="42" y="10"/>
                  </a:cubicBezTo>
                  <a:cubicBezTo>
                    <a:pt x="41" y="10"/>
                    <a:pt x="38" y="9"/>
                    <a:pt x="38" y="9"/>
                  </a:cubicBezTo>
                  <a:cubicBezTo>
                    <a:pt x="38" y="6"/>
                    <a:pt x="41" y="6"/>
                    <a:pt x="42" y="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8" name="Freeform 47"/>
            <p:cNvSpPr>
              <a:spLocks/>
            </p:cNvSpPr>
            <p:nvPr/>
          </p:nvSpPr>
          <p:spPr bwMode="auto">
            <a:xfrm>
              <a:off x="3000" y="1469"/>
              <a:ext cx="42" cy="13"/>
            </a:xfrm>
            <a:custGeom>
              <a:avLst/>
              <a:gdLst>
                <a:gd name="T0" fmla="*/ 4 w 56"/>
                <a:gd name="T1" fmla="*/ 16 h 17"/>
                <a:gd name="T2" fmla="*/ 9 w 56"/>
                <a:gd name="T3" fmla="*/ 17 h 17"/>
                <a:gd name="T4" fmla="*/ 12 w 56"/>
                <a:gd name="T5" fmla="*/ 15 h 17"/>
                <a:gd name="T6" fmla="*/ 15 w 56"/>
                <a:gd name="T7" fmla="*/ 14 h 17"/>
                <a:gd name="T8" fmla="*/ 18 w 56"/>
                <a:gd name="T9" fmla="*/ 14 h 17"/>
                <a:gd name="T10" fmla="*/ 21 w 56"/>
                <a:gd name="T11" fmla="*/ 15 h 17"/>
                <a:gd name="T12" fmla="*/ 24 w 56"/>
                <a:gd name="T13" fmla="*/ 17 h 17"/>
                <a:gd name="T14" fmla="*/ 28 w 56"/>
                <a:gd name="T15" fmla="*/ 15 h 17"/>
                <a:gd name="T16" fmla="*/ 30 w 56"/>
                <a:gd name="T17" fmla="*/ 14 h 17"/>
                <a:gd name="T18" fmla="*/ 33 w 56"/>
                <a:gd name="T19" fmla="*/ 15 h 17"/>
                <a:gd name="T20" fmla="*/ 38 w 56"/>
                <a:gd name="T21" fmla="*/ 15 h 17"/>
                <a:gd name="T22" fmla="*/ 45 w 56"/>
                <a:gd name="T23" fmla="*/ 16 h 17"/>
                <a:gd name="T24" fmla="*/ 51 w 56"/>
                <a:gd name="T25" fmla="*/ 16 h 17"/>
                <a:gd name="T26" fmla="*/ 55 w 56"/>
                <a:gd name="T27" fmla="*/ 14 h 17"/>
                <a:gd name="T28" fmla="*/ 55 w 56"/>
                <a:gd name="T29" fmla="*/ 8 h 17"/>
                <a:gd name="T30" fmla="*/ 52 w 56"/>
                <a:gd name="T31" fmla="*/ 6 h 17"/>
                <a:gd name="T32" fmla="*/ 47 w 56"/>
                <a:gd name="T33" fmla="*/ 3 h 17"/>
                <a:gd name="T34" fmla="*/ 44 w 56"/>
                <a:gd name="T35" fmla="*/ 1 h 17"/>
                <a:gd name="T36" fmla="*/ 38 w 56"/>
                <a:gd name="T37" fmla="*/ 1 h 17"/>
                <a:gd name="T38" fmla="*/ 33 w 56"/>
                <a:gd name="T39" fmla="*/ 2 h 17"/>
                <a:gd name="T40" fmla="*/ 30 w 56"/>
                <a:gd name="T41" fmla="*/ 3 h 17"/>
                <a:gd name="T42" fmla="*/ 25 w 56"/>
                <a:gd name="T43" fmla="*/ 6 h 17"/>
                <a:gd name="T44" fmla="*/ 22 w 56"/>
                <a:gd name="T45" fmla="*/ 7 h 17"/>
                <a:gd name="T46" fmla="*/ 18 w 56"/>
                <a:gd name="T47" fmla="*/ 8 h 17"/>
                <a:gd name="T48" fmla="*/ 14 w 56"/>
                <a:gd name="T49" fmla="*/ 8 h 17"/>
                <a:gd name="T50" fmla="*/ 12 w 56"/>
                <a:gd name="T51" fmla="*/ 8 h 17"/>
                <a:gd name="T52" fmla="*/ 9 w 56"/>
                <a:gd name="T53" fmla="*/ 10 h 17"/>
                <a:gd name="T54" fmla="*/ 7 w 56"/>
                <a:gd name="T55" fmla="*/ 11 h 17"/>
                <a:gd name="T56" fmla="*/ 0 w 56"/>
                <a:gd name="T57" fmla="*/ 14 h 17"/>
                <a:gd name="T58" fmla="*/ 0 w 56"/>
                <a:gd name="T59" fmla="*/ 16 h 17"/>
                <a:gd name="T60" fmla="*/ 4 w 56"/>
                <a:gd name="T6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6" h="17">
                  <a:moveTo>
                    <a:pt x="4" y="16"/>
                  </a:moveTo>
                  <a:cubicBezTo>
                    <a:pt x="5" y="16"/>
                    <a:pt x="6" y="16"/>
                    <a:pt x="9" y="17"/>
                  </a:cubicBezTo>
                  <a:cubicBezTo>
                    <a:pt x="9" y="17"/>
                    <a:pt x="11" y="16"/>
                    <a:pt x="12" y="15"/>
                  </a:cubicBezTo>
                  <a:cubicBezTo>
                    <a:pt x="13" y="14"/>
                    <a:pt x="13" y="15"/>
                    <a:pt x="15" y="14"/>
                  </a:cubicBezTo>
                  <a:cubicBezTo>
                    <a:pt x="17" y="14"/>
                    <a:pt x="17" y="15"/>
                    <a:pt x="18" y="14"/>
                  </a:cubicBezTo>
                  <a:cubicBezTo>
                    <a:pt x="19" y="14"/>
                    <a:pt x="19" y="15"/>
                    <a:pt x="21" y="15"/>
                  </a:cubicBezTo>
                  <a:cubicBezTo>
                    <a:pt x="22" y="15"/>
                    <a:pt x="23" y="17"/>
                    <a:pt x="24" y="17"/>
                  </a:cubicBezTo>
                  <a:cubicBezTo>
                    <a:pt x="25" y="17"/>
                    <a:pt x="26" y="17"/>
                    <a:pt x="28" y="15"/>
                  </a:cubicBezTo>
                  <a:cubicBezTo>
                    <a:pt x="29" y="13"/>
                    <a:pt x="28" y="15"/>
                    <a:pt x="30" y="14"/>
                  </a:cubicBezTo>
                  <a:cubicBezTo>
                    <a:pt x="33" y="13"/>
                    <a:pt x="31" y="14"/>
                    <a:pt x="33" y="15"/>
                  </a:cubicBezTo>
                  <a:cubicBezTo>
                    <a:pt x="34" y="15"/>
                    <a:pt x="36" y="16"/>
                    <a:pt x="38" y="15"/>
                  </a:cubicBezTo>
                  <a:cubicBezTo>
                    <a:pt x="40" y="15"/>
                    <a:pt x="43" y="16"/>
                    <a:pt x="45" y="16"/>
                  </a:cubicBezTo>
                  <a:cubicBezTo>
                    <a:pt x="47" y="17"/>
                    <a:pt x="48" y="17"/>
                    <a:pt x="51" y="16"/>
                  </a:cubicBezTo>
                  <a:cubicBezTo>
                    <a:pt x="55" y="15"/>
                    <a:pt x="54" y="15"/>
                    <a:pt x="55" y="14"/>
                  </a:cubicBezTo>
                  <a:cubicBezTo>
                    <a:pt x="56" y="13"/>
                    <a:pt x="56" y="10"/>
                    <a:pt x="55" y="8"/>
                  </a:cubicBezTo>
                  <a:cubicBezTo>
                    <a:pt x="55" y="6"/>
                    <a:pt x="54" y="7"/>
                    <a:pt x="52" y="6"/>
                  </a:cubicBezTo>
                  <a:cubicBezTo>
                    <a:pt x="51" y="5"/>
                    <a:pt x="49" y="4"/>
                    <a:pt x="47" y="3"/>
                  </a:cubicBezTo>
                  <a:cubicBezTo>
                    <a:pt x="45" y="2"/>
                    <a:pt x="44" y="2"/>
                    <a:pt x="44" y="1"/>
                  </a:cubicBezTo>
                  <a:cubicBezTo>
                    <a:pt x="43" y="0"/>
                    <a:pt x="40" y="1"/>
                    <a:pt x="38" y="1"/>
                  </a:cubicBezTo>
                  <a:cubicBezTo>
                    <a:pt x="36" y="0"/>
                    <a:pt x="34" y="1"/>
                    <a:pt x="33" y="2"/>
                  </a:cubicBezTo>
                  <a:cubicBezTo>
                    <a:pt x="31" y="2"/>
                    <a:pt x="30" y="3"/>
                    <a:pt x="30" y="3"/>
                  </a:cubicBezTo>
                  <a:cubicBezTo>
                    <a:pt x="30" y="3"/>
                    <a:pt x="26" y="5"/>
                    <a:pt x="25" y="6"/>
                  </a:cubicBezTo>
                  <a:cubicBezTo>
                    <a:pt x="24" y="6"/>
                    <a:pt x="22" y="7"/>
                    <a:pt x="22" y="7"/>
                  </a:cubicBezTo>
                  <a:cubicBezTo>
                    <a:pt x="22" y="7"/>
                    <a:pt x="18" y="8"/>
                    <a:pt x="18" y="8"/>
                  </a:cubicBezTo>
                  <a:cubicBezTo>
                    <a:pt x="17" y="8"/>
                    <a:pt x="16" y="9"/>
                    <a:pt x="14" y="8"/>
                  </a:cubicBezTo>
                  <a:cubicBezTo>
                    <a:pt x="13" y="8"/>
                    <a:pt x="13" y="9"/>
                    <a:pt x="12" y="8"/>
                  </a:cubicBezTo>
                  <a:cubicBezTo>
                    <a:pt x="10" y="8"/>
                    <a:pt x="11" y="9"/>
                    <a:pt x="9" y="10"/>
                  </a:cubicBezTo>
                  <a:cubicBezTo>
                    <a:pt x="8" y="10"/>
                    <a:pt x="7" y="11"/>
                    <a:pt x="7" y="11"/>
                  </a:cubicBezTo>
                  <a:cubicBezTo>
                    <a:pt x="6" y="10"/>
                    <a:pt x="3" y="12"/>
                    <a:pt x="0" y="14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1" y="17"/>
                    <a:pt x="2" y="16"/>
                    <a:pt x="4" y="1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89" name="Freeform 48"/>
            <p:cNvSpPr>
              <a:spLocks/>
            </p:cNvSpPr>
            <p:nvPr/>
          </p:nvSpPr>
          <p:spPr bwMode="auto">
            <a:xfrm>
              <a:off x="3074" y="1490"/>
              <a:ext cx="19" cy="17"/>
            </a:xfrm>
            <a:custGeom>
              <a:avLst/>
              <a:gdLst>
                <a:gd name="T0" fmla="*/ 4 w 26"/>
                <a:gd name="T1" fmla="*/ 14 h 23"/>
                <a:gd name="T2" fmla="*/ 11 w 26"/>
                <a:gd name="T3" fmla="*/ 20 h 23"/>
                <a:gd name="T4" fmla="*/ 14 w 26"/>
                <a:gd name="T5" fmla="*/ 22 h 23"/>
                <a:gd name="T6" fmla="*/ 19 w 26"/>
                <a:gd name="T7" fmla="*/ 22 h 23"/>
                <a:gd name="T8" fmla="*/ 24 w 26"/>
                <a:gd name="T9" fmla="*/ 22 h 23"/>
                <a:gd name="T10" fmla="*/ 24 w 26"/>
                <a:gd name="T11" fmla="*/ 19 h 23"/>
                <a:gd name="T12" fmla="*/ 21 w 26"/>
                <a:gd name="T13" fmla="*/ 15 h 23"/>
                <a:gd name="T14" fmla="*/ 17 w 26"/>
                <a:gd name="T15" fmla="*/ 11 h 23"/>
                <a:gd name="T16" fmla="*/ 14 w 26"/>
                <a:gd name="T17" fmla="*/ 7 h 23"/>
                <a:gd name="T18" fmla="*/ 10 w 26"/>
                <a:gd name="T19" fmla="*/ 4 h 23"/>
                <a:gd name="T20" fmla="*/ 3 w 26"/>
                <a:gd name="T21" fmla="*/ 2 h 23"/>
                <a:gd name="T22" fmla="*/ 1 w 26"/>
                <a:gd name="T23" fmla="*/ 9 h 23"/>
                <a:gd name="T24" fmla="*/ 4 w 26"/>
                <a:gd name="T25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23">
                  <a:moveTo>
                    <a:pt x="4" y="14"/>
                  </a:moveTo>
                  <a:cubicBezTo>
                    <a:pt x="4" y="15"/>
                    <a:pt x="9" y="19"/>
                    <a:pt x="11" y="20"/>
                  </a:cubicBezTo>
                  <a:cubicBezTo>
                    <a:pt x="12" y="20"/>
                    <a:pt x="12" y="22"/>
                    <a:pt x="14" y="22"/>
                  </a:cubicBezTo>
                  <a:cubicBezTo>
                    <a:pt x="15" y="23"/>
                    <a:pt x="17" y="21"/>
                    <a:pt x="19" y="22"/>
                  </a:cubicBezTo>
                  <a:cubicBezTo>
                    <a:pt x="21" y="22"/>
                    <a:pt x="22" y="22"/>
                    <a:pt x="24" y="22"/>
                  </a:cubicBezTo>
                  <a:cubicBezTo>
                    <a:pt x="26" y="22"/>
                    <a:pt x="25" y="21"/>
                    <a:pt x="24" y="19"/>
                  </a:cubicBezTo>
                  <a:cubicBezTo>
                    <a:pt x="24" y="17"/>
                    <a:pt x="21" y="17"/>
                    <a:pt x="21" y="15"/>
                  </a:cubicBezTo>
                  <a:cubicBezTo>
                    <a:pt x="21" y="14"/>
                    <a:pt x="18" y="12"/>
                    <a:pt x="17" y="11"/>
                  </a:cubicBezTo>
                  <a:cubicBezTo>
                    <a:pt x="17" y="9"/>
                    <a:pt x="15" y="7"/>
                    <a:pt x="14" y="7"/>
                  </a:cubicBezTo>
                  <a:cubicBezTo>
                    <a:pt x="12" y="6"/>
                    <a:pt x="11" y="4"/>
                    <a:pt x="10" y="4"/>
                  </a:cubicBezTo>
                  <a:cubicBezTo>
                    <a:pt x="9" y="4"/>
                    <a:pt x="5" y="0"/>
                    <a:pt x="3" y="2"/>
                  </a:cubicBezTo>
                  <a:cubicBezTo>
                    <a:pt x="3" y="2"/>
                    <a:pt x="0" y="7"/>
                    <a:pt x="1" y="9"/>
                  </a:cubicBezTo>
                  <a:cubicBezTo>
                    <a:pt x="2" y="11"/>
                    <a:pt x="3" y="12"/>
                    <a:pt x="4" y="1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0" name="Freeform 49"/>
            <p:cNvSpPr>
              <a:spLocks/>
            </p:cNvSpPr>
            <p:nvPr/>
          </p:nvSpPr>
          <p:spPr bwMode="auto">
            <a:xfrm>
              <a:off x="3086" y="1541"/>
              <a:ext cx="13" cy="9"/>
            </a:xfrm>
            <a:custGeom>
              <a:avLst/>
              <a:gdLst>
                <a:gd name="T0" fmla="*/ 15 w 17"/>
                <a:gd name="T1" fmla="*/ 3 h 13"/>
                <a:gd name="T2" fmla="*/ 6 w 17"/>
                <a:gd name="T3" fmla="*/ 0 h 13"/>
                <a:gd name="T4" fmla="*/ 0 w 17"/>
                <a:gd name="T5" fmla="*/ 5 h 13"/>
                <a:gd name="T6" fmla="*/ 0 w 17"/>
                <a:gd name="T7" fmla="*/ 7 h 13"/>
                <a:gd name="T8" fmla="*/ 2 w 17"/>
                <a:gd name="T9" fmla="*/ 11 h 13"/>
                <a:gd name="T10" fmla="*/ 6 w 17"/>
                <a:gd name="T11" fmla="*/ 12 h 13"/>
                <a:gd name="T12" fmla="*/ 10 w 17"/>
                <a:gd name="T13" fmla="*/ 12 h 13"/>
                <a:gd name="T14" fmla="*/ 15 w 17"/>
                <a:gd name="T15" fmla="*/ 12 h 13"/>
                <a:gd name="T16" fmla="*/ 16 w 17"/>
                <a:gd name="T17" fmla="*/ 6 h 13"/>
                <a:gd name="T18" fmla="*/ 15 w 17"/>
                <a:gd name="T1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3">
                  <a:moveTo>
                    <a:pt x="15" y="3"/>
                  </a:moveTo>
                  <a:cubicBezTo>
                    <a:pt x="11" y="1"/>
                    <a:pt x="8" y="0"/>
                    <a:pt x="6" y="0"/>
                  </a:cubicBezTo>
                  <a:cubicBezTo>
                    <a:pt x="4" y="0"/>
                    <a:pt x="0" y="4"/>
                    <a:pt x="0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0" y="9"/>
                    <a:pt x="0" y="10"/>
                    <a:pt x="2" y="11"/>
                  </a:cubicBezTo>
                  <a:cubicBezTo>
                    <a:pt x="3" y="12"/>
                    <a:pt x="4" y="12"/>
                    <a:pt x="6" y="12"/>
                  </a:cubicBezTo>
                  <a:cubicBezTo>
                    <a:pt x="8" y="12"/>
                    <a:pt x="8" y="12"/>
                    <a:pt x="10" y="12"/>
                  </a:cubicBezTo>
                  <a:cubicBezTo>
                    <a:pt x="12" y="12"/>
                    <a:pt x="13" y="13"/>
                    <a:pt x="15" y="12"/>
                  </a:cubicBezTo>
                  <a:cubicBezTo>
                    <a:pt x="17" y="8"/>
                    <a:pt x="16" y="8"/>
                    <a:pt x="16" y="6"/>
                  </a:cubicBezTo>
                  <a:cubicBezTo>
                    <a:pt x="16" y="4"/>
                    <a:pt x="17" y="3"/>
                    <a:pt x="15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1" name="Freeform 50"/>
            <p:cNvSpPr>
              <a:spLocks/>
            </p:cNvSpPr>
            <p:nvPr/>
          </p:nvSpPr>
          <p:spPr bwMode="auto">
            <a:xfrm>
              <a:off x="3132" y="1439"/>
              <a:ext cx="16" cy="10"/>
            </a:xfrm>
            <a:custGeom>
              <a:avLst/>
              <a:gdLst>
                <a:gd name="T0" fmla="*/ 5 w 22"/>
                <a:gd name="T1" fmla="*/ 11 h 14"/>
                <a:gd name="T2" fmla="*/ 9 w 22"/>
                <a:gd name="T3" fmla="*/ 10 h 14"/>
                <a:gd name="T4" fmla="*/ 13 w 22"/>
                <a:gd name="T5" fmla="*/ 13 h 14"/>
                <a:gd name="T6" fmla="*/ 19 w 22"/>
                <a:gd name="T7" fmla="*/ 13 h 14"/>
                <a:gd name="T8" fmla="*/ 22 w 22"/>
                <a:gd name="T9" fmla="*/ 8 h 14"/>
                <a:gd name="T10" fmla="*/ 21 w 22"/>
                <a:gd name="T11" fmla="*/ 4 h 14"/>
                <a:gd name="T12" fmla="*/ 15 w 22"/>
                <a:gd name="T13" fmla="*/ 1 h 14"/>
                <a:gd name="T14" fmla="*/ 11 w 22"/>
                <a:gd name="T15" fmla="*/ 0 h 14"/>
                <a:gd name="T16" fmla="*/ 8 w 22"/>
                <a:gd name="T17" fmla="*/ 0 h 14"/>
                <a:gd name="T18" fmla="*/ 5 w 22"/>
                <a:gd name="T19" fmla="*/ 0 h 14"/>
                <a:gd name="T20" fmla="*/ 1 w 22"/>
                <a:gd name="T21" fmla="*/ 6 h 14"/>
                <a:gd name="T22" fmla="*/ 5 w 22"/>
                <a:gd name="T23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" h="14">
                  <a:moveTo>
                    <a:pt x="5" y="11"/>
                  </a:moveTo>
                  <a:cubicBezTo>
                    <a:pt x="7" y="10"/>
                    <a:pt x="7" y="9"/>
                    <a:pt x="9" y="10"/>
                  </a:cubicBezTo>
                  <a:cubicBezTo>
                    <a:pt x="11" y="11"/>
                    <a:pt x="12" y="12"/>
                    <a:pt x="13" y="13"/>
                  </a:cubicBezTo>
                  <a:cubicBezTo>
                    <a:pt x="17" y="14"/>
                    <a:pt x="18" y="14"/>
                    <a:pt x="19" y="13"/>
                  </a:cubicBezTo>
                  <a:cubicBezTo>
                    <a:pt x="21" y="11"/>
                    <a:pt x="22" y="9"/>
                    <a:pt x="22" y="8"/>
                  </a:cubicBezTo>
                  <a:cubicBezTo>
                    <a:pt x="22" y="7"/>
                    <a:pt x="21" y="3"/>
                    <a:pt x="21" y="4"/>
                  </a:cubicBezTo>
                  <a:cubicBezTo>
                    <a:pt x="21" y="4"/>
                    <a:pt x="17" y="0"/>
                    <a:pt x="15" y="1"/>
                  </a:cubicBezTo>
                  <a:cubicBezTo>
                    <a:pt x="14" y="1"/>
                    <a:pt x="12" y="0"/>
                    <a:pt x="11" y="0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7" y="0"/>
                    <a:pt x="5" y="0"/>
                    <a:pt x="5" y="0"/>
                  </a:cubicBezTo>
                  <a:cubicBezTo>
                    <a:pt x="3" y="2"/>
                    <a:pt x="0" y="4"/>
                    <a:pt x="1" y="6"/>
                  </a:cubicBezTo>
                  <a:cubicBezTo>
                    <a:pt x="3" y="8"/>
                    <a:pt x="3" y="11"/>
                    <a:pt x="5" y="1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2" name="Freeform 51"/>
            <p:cNvSpPr>
              <a:spLocks/>
            </p:cNvSpPr>
            <p:nvPr/>
          </p:nvSpPr>
          <p:spPr bwMode="auto">
            <a:xfrm>
              <a:off x="3327" y="1573"/>
              <a:ext cx="48" cy="21"/>
            </a:xfrm>
            <a:custGeom>
              <a:avLst/>
              <a:gdLst>
                <a:gd name="T0" fmla="*/ 51 w 64"/>
                <a:gd name="T1" fmla="*/ 24 h 28"/>
                <a:gd name="T2" fmla="*/ 61 w 64"/>
                <a:gd name="T3" fmla="*/ 26 h 28"/>
                <a:gd name="T4" fmla="*/ 64 w 64"/>
                <a:gd name="T5" fmla="*/ 25 h 28"/>
                <a:gd name="T6" fmla="*/ 61 w 64"/>
                <a:gd name="T7" fmla="*/ 20 h 28"/>
                <a:gd name="T8" fmla="*/ 59 w 64"/>
                <a:gd name="T9" fmla="*/ 15 h 28"/>
                <a:gd name="T10" fmla="*/ 57 w 64"/>
                <a:gd name="T11" fmla="*/ 13 h 28"/>
                <a:gd name="T12" fmla="*/ 54 w 64"/>
                <a:gd name="T13" fmla="*/ 11 h 28"/>
                <a:gd name="T14" fmla="*/ 50 w 64"/>
                <a:gd name="T15" fmla="*/ 9 h 28"/>
                <a:gd name="T16" fmla="*/ 47 w 64"/>
                <a:gd name="T17" fmla="*/ 7 h 28"/>
                <a:gd name="T18" fmla="*/ 43 w 64"/>
                <a:gd name="T19" fmla="*/ 5 h 28"/>
                <a:gd name="T20" fmla="*/ 39 w 64"/>
                <a:gd name="T21" fmla="*/ 5 h 28"/>
                <a:gd name="T22" fmla="*/ 36 w 64"/>
                <a:gd name="T23" fmla="*/ 5 h 28"/>
                <a:gd name="T24" fmla="*/ 31 w 64"/>
                <a:gd name="T25" fmla="*/ 2 h 28"/>
                <a:gd name="T26" fmla="*/ 28 w 64"/>
                <a:gd name="T27" fmla="*/ 4 h 28"/>
                <a:gd name="T28" fmla="*/ 25 w 64"/>
                <a:gd name="T29" fmla="*/ 4 h 28"/>
                <a:gd name="T30" fmla="*/ 20 w 64"/>
                <a:gd name="T31" fmla="*/ 5 h 28"/>
                <a:gd name="T32" fmla="*/ 17 w 64"/>
                <a:gd name="T33" fmla="*/ 3 h 28"/>
                <a:gd name="T34" fmla="*/ 14 w 64"/>
                <a:gd name="T35" fmla="*/ 3 h 28"/>
                <a:gd name="T36" fmla="*/ 11 w 64"/>
                <a:gd name="T37" fmla="*/ 3 h 28"/>
                <a:gd name="T38" fmla="*/ 9 w 64"/>
                <a:gd name="T39" fmla="*/ 2 h 28"/>
                <a:gd name="T40" fmla="*/ 1 w 64"/>
                <a:gd name="T41" fmla="*/ 2 h 28"/>
                <a:gd name="T42" fmla="*/ 1 w 64"/>
                <a:gd name="T43" fmla="*/ 7 h 28"/>
                <a:gd name="T44" fmla="*/ 1 w 64"/>
                <a:gd name="T45" fmla="*/ 10 h 28"/>
                <a:gd name="T46" fmla="*/ 2 w 64"/>
                <a:gd name="T47" fmla="*/ 12 h 28"/>
                <a:gd name="T48" fmla="*/ 5 w 64"/>
                <a:gd name="T49" fmla="*/ 13 h 28"/>
                <a:gd name="T50" fmla="*/ 8 w 64"/>
                <a:gd name="T51" fmla="*/ 14 h 28"/>
                <a:gd name="T52" fmla="*/ 10 w 64"/>
                <a:gd name="T53" fmla="*/ 16 h 28"/>
                <a:gd name="T54" fmla="*/ 10 w 64"/>
                <a:gd name="T55" fmla="*/ 19 h 28"/>
                <a:gd name="T56" fmla="*/ 12 w 64"/>
                <a:gd name="T57" fmla="*/ 22 h 28"/>
                <a:gd name="T58" fmla="*/ 15 w 64"/>
                <a:gd name="T59" fmla="*/ 24 h 28"/>
                <a:gd name="T60" fmla="*/ 17 w 64"/>
                <a:gd name="T61" fmla="*/ 27 h 28"/>
                <a:gd name="T62" fmla="*/ 20 w 64"/>
                <a:gd name="T63" fmla="*/ 28 h 28"/>
                <a:gd name="T64" fmla="*/ 25 w 64"/>
                <a:gd name="T65" fmla="*/ 27 h 28"/>
                <a:gd name="T66" fmla="*/ 30 w 64"/>
                <a:gd name="T67" fmla="*/ 26 h 28"/>
                <a:gd name="T68" fmla="*/ 36 w 64"/>
                <a:gd name="T69" fmla="*/ 23 h 28"/>
                <a:gd name="T70" fmla="*/ 38 w 64"/>
                <a:gd name="T71" fmla="*/ 23 h 28"/>
                <a:gd name="T72" fmla="*/ 44 w 64"/>
                <a:gd name="T73" fmla="*/ 23 h 28"/>
                <a:gd name="T74" fmla="*/ 46 w 64"/>
                <a:gd name="T75" fmla="*/ 24 h 28"/>
                <a:gd name="T76" fmla="*/ 51 w 64"/>
                <a:gd name="T77" fmla="*/ 2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" h="28">
                  <a:moveTo>
                    <a:pt x="51" y="24"/>
                  </a:moveTo>
                  <a:cubicBezTo>
                    <a:pt x="59" y="26"/>
                    <a:pt x="60" y="25"/>
                    <a:pt x="61" y="26"/>
                  </a:cubicBezTo>
                  <a:cubicBezTo>
                    <a:pt x="62" y="26"/>
                    <a:pt x="64" y="25"/>
                    <a:pt x="64" y="25"/>
                  </a:cubicBezTo>
                  <a:cubicBezTo>
                    <a:pt x="64" y="25"/>
                    <a:pt x="61" y="20"/>
                    <a:pt x="61" y="20"/>
                  </a:cubicBezTo>
                  <a:cubicBezTo>
                    <a:pt x="61" y="19"/>
                    <a:pt x="59" y="16"/>
                    <a:pt x="59" y="15"/>
                  </a:cubicBezTo>
                  <a:cubicBezTo>
                    <a:pt x="59" y="14"/>
                    <a:pt x="57" y="13"/>
                    <a:pt x="57" y="13"/>
                  </a:cubicBezTo>
                  <a:cubicBezTo>
                    <a:pt x="56" y="13"/>
                    <a:pt x="54" y="12"/>
                    <a:pt x="54" y="11"/>
                  </a:cubicBezTo>
                  <a:cubicBezTo>
                    <a:pt x="53" y="11"/>
                    <a:pt x="52" y="9"/>
                    <a:pt x="50" y="9"/>
                  </a:cubicBezTo>
                  <a:cubicBezTo>
                    <a:pt x="49" y="8"/>
                    <a:pt x="48" y="7"/>
                    <a:pt x="47" y="7"/>
                  </a:cubicBezTo>
                  <a:cubicBezTo>
                    <a:pt x="46" y="7"/>
                    <a:pt x="43" y="5"/>
                    <a:pt x="43" y="5"/>
                  </a:cubicBezTo>
                  <a:cubicBezTo>
                    <a:pt x="43" y="5"/>
                    <a:pt x="40" y="5"/>
                    <a:pt x="39" y="5"/>
                  </a:cubicBezTo>
                  <a:cubicBezTo>
                    <a:pt x="38" y="6"/>
                    <a:pt x="36" y="5"/>
                    <a:pt x="36" y="5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8" y="4"/>
                    <a:pt x="26" y="4"/>
                    <a:pt x="25" y="4"/>
                  </a:cubicBezTo>
                  <a:cubicBezTo>
                    <a:pt x="23" y="6"/>
                    <a:pt x="20" y="6"/>
                    <a:pt x="20" y="5"/>
                  </a:cubicBezTo>
                  <a:cubicBezTo>
                    <a:pt x="20" y="5"/>
                    <a:pt x="17" y="3"/>
                    <a:pt x="17" y="3"/>
                  </a:cubicBezTo>
                  <a:cubicBezTo>
                    <a:pt x="16" y="3"/>
                    <a:pt x="15" y="2"/>
                    <a:pt x="14" y="3"/>
                  </a:cubicBezTo>
                  <a:cubicBezTo>
                    <a:pt x="13" y="3"/>
                    <a:pt x="12" y="4"/>
                    <a:pt x="11" y="3"/>
                  </a:cubicBezTo>
                  <a:cubicBezTo>
                    <a:pt x="9" y="2"/>
                    <a:pt x="11" y="3"/>
                    <a:pt x="9" y="2"/>
                  </a:cubicBezTo>
                  <a:cubicBezTo>
                    <a:pt x="7" y="1"/>
                    <a:pt x="3" y="0"/>
                    <a:pt x="1" y="2"/>
                  </a:cubicBezTo>
                  <a:cubicBezTo>
                    <a:pt x="1" y="2"/>
                    <a:pt x="0" y="5"/>
                    <a:pt x="1" y="7"/>
                  </a:cubicBezTo>
                  <a:cubicBezTo>
                    <a:pt x="1" y="8"/>
                    <a:pt x="1" y="8"/>
                    <a:pt x="1" y="10"/>
                  </a:cubicBezTo>
                  <a:cubicBezTo>
                    <a:pt x="2" y="11"/>
                    <a:pt x="1" y="12"/>
                    <a:pt x="2" y="12"/>
                  </a:cubicBezTo>
                  <a:cubicBezTo>
                    <a:pt x="4" y="13"/>
                    <a:pt x="4" y="12"/>
                    <a:pt x="5" y="13"/>
                  </a:cubicBezTo>
                  <a:cubicBezTo>
                    <a:pt x="6" y="13"/>
                    <a:pt x="8" y="13"/>
                    <a:pt x="8" y="14"/>
                  </a:cubicBezTo>
                  <a:cubicBezTo>
                    <a:pt x="9" y="14"/>
                    <a:pt x="9" y="14"/>
                    <a:pt x="10" y="16"/>
                  </a:cubicBezTo>
                  <a:cubicBezTo>
                    <a:pt x="10" y="17"/>
                    <a:pt x="9" y="18"/>
                    <a:pt x="10" y="19"/>
                  </a:cubicBezTo>
                  <a:cubicBezTo>
                    <a:pt x="11" y="21"/>
                    <a:pt x="11" y="22"/>
                    <a:pt x="12" y="22"/>
                  </a:cubicBezTo>
                  <a:cubicBezTo>
                    <a:pt x="13" y="23"/>
                    <a:pt x="14" y="22"/>
                    <a:pt x="15" y="24"/>
                  </a:cubicBezTo>
                  <a:cubicBezTo>
                    <a:pt x="17" y="26"/>
                    <a:pt x="16" y="27"/>
                    <a:pt x="17" y="27"/>
                  </a:cubicBezTo>
                  <a:cubicBezTo>
                    <a:pt x="18" y="27"/>
                    <a:pt x="20" y="27"/>
                    <a:pt x="20" y="28"/>
                  </a:cubicBezTo>
                  <a:cubicBezTo>
                    <a:pt x="21" y="28"/>
                    <a:pt x="25" y="26"/>
                    <a:pt x="25" y="27"/>
                  </a:cubicBezTo>
                  <a:cubicBezTo>
                    <a:pt x="25" y="27"/>
                    <a:pt x="30" y="26"/>
                    <a:pt x="30" y="26"/>
                  </a:cubicBezTo>
                  <a:cubicBezTo>
                    <a:pt x="33" y="25"/>
                    <a:pt x="36" y="23"/>
                    <a:pt x="36" y="23"/>
                  </a:cubicBezTo>
                  <a:cubicBezTo>
                    <a:pt x="36" y="23"/>
                    <a:pt x="36" y="22"/>
                    <a:pt x="38" y="23"/>
                  </a:cubicBezTo>
                  <a:cubicBezTo>
                    <a:pt x="40" y="23"/>
                    <a:pt x="43" y="22"/>
                    <a:pt x="44" y="23"/>
                  </a:cubicBezTo>
                  <a:cubicBezTo>
                    <a:pt x="44" y="23"/>
                    <a:pt x="43" y="24"/>
                    <a:pt x="46" y="24"/>
                  </a:cubicBezTo>
                  <a:cubicBezTo>
                    <a:pt x="49" y="24"/>
                    <a:pt x="43" y="22"/>
                    <a:pt x="51" y="2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3" name="Freeform 52"/>
            <p:cNvSpPr>
              <a:spLocks/>
            </p:cNvSpPr>
            <p:nvPr/>
          </p:nvSpPr>
          <p:spPr bwMode="auto">
            <a:xfrm>
              <a:off x="3492" y="1949"/>
              <a:ext cx="28" cy="13"/>
            </a:xfrm>
            <a:custGeom>
              <a:avLst/>
              <a:gdLst>
                <a:gd name="T0" fmla="*/ 37 w 38"/>
                <a:gd name="T1" fmla="*/ 15 h 17"/>
                <a:gd name="T2" fmla="*/ 37 w 38"/>
                <a:gd name="T3" fmla="*/ 11 h 17"/>
                <a:gd name="T4" fmla="*/ 25 w 38"/>
                <a:gd name="T5" fmla="*/ 4 h 17"/>
                <a:gd name="T6" fmla="*/ 18 w 38"/>
                <a:gd name="T7" fmla="*/ 2 h 17"/>
                <a:gd name="T8" fmla="*/ 12 w 38"/>
                <a:gd name="T9" fmla="*/ 1 h 17"/>
                <a:gd name="T10" fmla="*/ 0 w 38"/>
                <a:gd name="T11" fmla="*/ 2 h 17"/>
                <a:gd name="T12" fmla="*/ 6 w 38"/>
                <a:gd name="T13" fmla="*/ 6 h 17"/>
                <a:gd name="T14" fmla="*/ 14 w 38"/>
                <a:gd name="T15" fmla="*/ 10 h 17"/>
                <a:gd name="T16" fmla="*/ 20 w 38"/>
                <a:gd name="T17" fmla="*/ 13 h 17"/>
                <a:gd name="T18" fmla="*/ 27 w 38"/>
                <a:gd name="T19" fmla="*/ 16 h 17"/>
                <a:gd name="T20" fmla="*/ 34 w 38"/>
                <a:gd name="T21" fmla="*/ 17 h 17"/>
                <a:gd name="T22" fmla="*/ 37 w 38"/>
                <a:gd name="T23" fmla="*/ 15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8" h="17">
                  <a:moveTo>
                    <a:pt x="37" y="15"/>
                  </a:moveTo>
                  <a:cubicBezTo>
                    <a:pt x="37" y="15"/>
                    <a:pt x="38" y="12"/>
                    <a:pt x="37" y="11"/>
                  </a:cubicBezTo>
                  <a:cubicBezTo>
                    <a:pt x="35" y="10"/>
                    <a:pt x="27" y="5"/>
                    <a:pt x="25" y="4"/>
                  </a:cubicBezTo>
                  <a:cubicBezTo>
                    <a:pt x="24" y="3"/>
                    <a:pt x="20" y="2"/>
                    <a:pt x="18" y="2"/>
                  </a:cubicBezTo>
                  <a:cubicBezTo>
                    <a:pt x="17" y="2"/>
                    <a:pt x="15" y="1"/>
                    <a:pt x="12" y="1"/>
                  </a:cubicBezTo>
                  <a:cubicBezTo>
                    <a:pt x="8" y="0"/>
                    <a:pt x="2" y="0"/>
                    <a:pt x="0" y="2"/>
                  </a:cubicBezTo>
                  <a:cubicBezTo>
                    <a:pt x="0" y="2"/>
                    <a:pt x="2" y="5"/>
                    <a:pt x="6" y="6"/>
                  </a:cubicBezTo>
                  <a:cubicBezTo>
                    <a:pt x="10" y="6"/>
                    <a:pt x="13" y="9"/>
                    <a:pt x="14" y="10"/>
                  </a:cubicBezTo>
                  <a:cubicBezTo>
                    <a:pt x="16" y="11"/>
                    <a:pt x="19" y="13"/>
                    <a:pt x="20" y="13"/>
                  </a:cubicBezTo>
                  <a:cubicBezTo>
                    <a:pt x="21" y="14"/>
                    <a:pt x="25" y="15"/>
                    <a:pt x="27" y="16"/>
                  </a:cubicBezTo>
                  <a:cubicBezTo>
                    <a:pt x="29" y="16"/>
                    <a:pt x="32" y="17"/>
                    <a:pt x="34" y="17"/>
                  </a:cubicBezTo>
                  <a:cubicBezTo>
                    <a:pt x="36" y="17"/>
                    <a:pt x="37" y="15"/>
                    <a:pt x="37" y="1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4" name="Freeform 53"/>
            <p:cNvSpPr>
              <a:spLocks/>
            </p:cNvSpPr>
            <p:nvPr/>
          </p:nvSpPr>
          <p:spPr bwMode="auto">
            <a:xfrm>
              <a:off x="3544" y="1927"/>
              <a:ext cx="68" cy="65"/>
            </a:xfrm>
            <a:custGeom>
              <a:avLst/>
              <a:gdLst>
                <a:gd name="T0" fmla="*/ 43 w 91"/>
                <a:gd name="T1" fmla="*/ 2 h 87"/>
                <a:gd name="T2" fmla="*/ 35 w 91"/>
                <a:gd name="T3" fmla="*/ 12 h 87"/>
                <a:gd name="T4" fmla="*/ 25 w 91"/>
                <a:gd name="T5" fmla="*/ 21 h 87"/>
                <a:gd name="T6" fmla="*/ 20 w 91"/>
                <a:gd name="T7" fmla="*/ 32 h 87"/>
                <a:gd name="T8" fmla="*/ 16 w 91"/>
                <a:gd name="T9" fmla="*/ 39 h 87"/>
                <a:gd name="T10" fmla="*/ 12 w 91"/>
                <a:gd name="T11" fmla="*/ 46 h 87"/>
                <a:gd name="T12" fmla="*/ 7 w 91"/>
                <a:gd name="T13" fmla="*/ 53 h 87"/>
                <a:gd name="T14" fmla="*/ 9 w 91"/>
                <a:gd name="T15" fmla="*/ 57 h 87"/>
                <a:gd name="T16" fmla="*/ 5 w 91"/>
                <a:gd name="T17" fmla="*/ 62 h 87"/>
                <a:gd name="T18" fmla="*/ 1 w 91"/>
                <a:gd name="T19" fmla="*/ 70 h 87"/>
                <a:gd name="T20" fmla="*/ 14 w 91"/>
                <a:gd name="T21" fmla="*/ 71 h 87"/>
                <a:gd name="T22" fmla="*/ 31 w 91"/>
                <a:gd name="T23" fmla="*/ 72 h 87"/>
                <a:gd name="T24" fmla="*/ 42 w 91"/>
                <a:gd name="T25" fmla="*/ 70 h 87"/>
                <a:gd name="T26" fmla="*/ 48 w 91"/>
                <a:gd name="T27" fmla="*/ 71 h 87"/>
                <a:gd name="T28" fmla="*/ 52 w 91"/>
                <a:gd name="T29" fmla="*/ 78 h 87"/>
                <a:gd name="T30" fmla="*/ 45 w 91"/>
                <a:gd name="T31" fmla="*/ 82 h 87"/>
                <a:gd name="T32" fmla="*/ 52 w 91"/>
                <a:gd name="T33" fmla="*/ 83 h 87"/>
                <a:gd name="T34" fmla="*/ 61 w 91"/>
                <a:gd name="T35" fmla="*/ 77 h 87"/>
                <a:gd name="T36" fmla="*/ 71 w 91"/>
                <a:gd name="T37" fmla="*/ 74 h 87"/>
                <a:gd name="T38" fmla="*/ 71 w 91"/>
                <a:gd name="T39" fmla="*/ 83 h 87"/>
                <a:gd name="T40" fmla="*/ 81 w 91"/>
                <a:gd name="T41" fmla="*/ 87 h 87"/>
                <a:gd name="T42" fmla="*/ 87 w 91"/>
                <a:gd name="T43" fmla="*/ 81 h 87"/>
                <a:gd name="T44" fmla="*/ 90 w 91"/>
                <a:gd name="T45" fmla="*/ 75 h 87"/>
                <a:gd name="T46" fmla="*/ 84 w 91"/>
                <a:gd name="T47" fmla="*/ 72 h 87"/>
                <a:gd name="T48" fmla="*/ 85 w 91"/>
                <a:gd name="T49" fmla="*/ 63 h 87"/>
                <a:gd name="T50" fmla="*/ 77 w 91"/>
                <a:gd name="T51" fmla="*/ 70 h 87"/>
                <a:gd name="T52" fmla="*/ 77 w 91"/>
                <a:gd name="T53" fmla="*/ 62 h 87"/>
                <a:gd name="T54" fmla="*/ 86 w 91"/>
                <a:gd name="T55" fmla="*/ 54 h 87"/>
                <a:gd name="T56" fmla="*/ 78 w 91"/>
                <a:gd name="T57" fmla="*/ 58 h 87"/>
                <a:gd name="T58" fmla="*/ 74 w 91"/>
                <a:gd name="T59" fmla="*/ 56 h 87"/>
                <a:gd name="T60" fmla="*/ 74 w 91"/>
                <a:gd name="T61" fmla="*/ 48 h 87"/>
                <a:gd name="T62" fmla="*/ 79 w 91"/>
                <a:gd name="T63" fmla="*/ 43 h 87"/>
                <a:gd name="T64" fmla="*/ 71 w 91"/>
                <a:gd name="T65" fmla="*/ 40 h 87"/>
                <a:gd name="T66" fmla="*/ 63 w 91"/>
                <a:gd name="T67" fmla="*/ 38 h 87"/>
                <a:gd name="T68" fmla="*/ 58 w 91"/>
                <a:gd name="T69" fmla="*/ 45 h 87"/>
                <a:gd name="T70" fmla="*/ 53 w 91"/>
                <a:gd name="T71" fmla="*/ 39 h 87"/>
                <a:gd name="T72" fmla="*/ 45 w 91"/>
                <a:gd name="T73" fmla="*/ 38 h 87"/>
                <a:gd name="T74" fmla="*/ 49 w 91"/>
                <a:gd name="T75" fmla="*/ 33 h 87"/>
                <a:gd name="T76" fmla="*/ 46 w 91"/>
                <a:gd name="T77" fmla="*/ 29 h 87"/>
                <a:gd name="T78" fmla="*/ 39 w 91"/>
                <a:gd name="T79" fmla="*/ 31 h 87"/>
                <a:gd name="T80" fmla="*/ 35 w 91"/>
                <a:gd name="T81" fmla="*/ 33 h 87"/>
                <a:gd name="T82" fmla="*/ 37 w 91"/>
                <a:gd name="T83" fmla="*/ 25 h 87"/>
                <a:gd name="T84" fmla="*/ 48 w 91"/>
                <a:gd name="T85" fmla="*/ 12 h 87"/>
                <a:gd name="T86" fmla="*/ 50 w 91"/>
                <a:gd name="T87" fmla="*/ 6 h 87"/>
                <a:gd name="T88" fmla="*/ 47 w 91"/>
                <a:gd name="T89" fmla="*/ 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1" h="87">
                  <a:moveTo>
                    <a:pt x="47" y="2"/>
                  </a:moveTo>
                  <a:cubicBezTo>
                    <a:pt x="44" y="2"/>
                    <a:pt x="45" y="2"/>
                    <a:pt x="43" y="2"/>
                  </a:cubicBezTo>
                  <a:cubicBezTo>
                    <a:pt x="40" y="2"/>
                    <a:pt x="41" y="3"/>
                    <a:pt x="38" y="4"/>
                  </a:cubicBezTo>
                  <a:cubicBezTo>
                    <a:pt x="36" y="6"/>
                    <a:pt x="36" y="9"/>
                    <a:pt x="35" y="12"/>
                  </a:cubicBezTo>
                  <a:cubicBezTo>
                    <a:pt x="34" y="14"/>
                    <a:pt x="30" y="15"/>
                    <a:pt x="29" y="16"/>
                  </a:cubicBezTo>
                  <a:cubicBezTo>
                    <a:pt x="28" y="18"/>
                    <a:pt x="27" y="19"/>
                    <a:pt x="25" y="21"/>
                  </a:cubicBezTo>
                  <a:cubicBezTo>
                    <a:pt x="24" y="23"/>
                    <a:pt x="23" y="25"/>
                    <a:pt x="21" y="28"/>
                  </a:cubicBezTo>
                  <a:cubicBezTo>
                    <a:pt x="20" y="30"/>
                    <a:pt x="20" y="30"/>
                    <a:pt x="20" y="32"/>
                  </a:cubicBezTo>
                  <a:cubicBezTo>
                    <a:pt x="21" y="33"/>
                    <a:pt x="20" y="36"/>
                    <a:pt x="20" y="36"/>
                  </a:cubicBezTo>
                  <a:cubicBezTo>
                    <a:pt x="16" y="39"/>
                    <a:pt x="16" y="39"/>
                    <a:pt x="16" y="39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2" y="43"/>
                    <a:pt x="12" y="44"/>
                    <a:pt x="12" y="46"/>
                  </a:cubicBezTo>
                  <a:cubicBezTo>
                    <a:pt x="12" y="48"/>
                    <a:pt x="11" y="48"/>
                    <a:pt x="11" y="50"/>
                  </a:cubicBezTo>
                  <a:cubicBezTo>
                    <a:pt x="10" y="52"/>
                    <a:pt x="9" y="52"/>
                    <a:pt x="7" y="53"/>
                  </a:cubicBezTo>
                  <a:cubicBezTo>
                    <a:pt x="6" y="54"/>
                    <a:pt x="4" y="56"/>
                    <a:pt x="4" y="56"/>
                  </a:cubicBezTo>
                  <a:cubicBezTo>
                    <a:pt x="4" y="56"/>
                    <a:pt x="6" y="57"/>
                    <a:pt x="9" y="57"/>
                  </a:cubicBezTo>
                  <a:cubicBezTo>
                    <a:pt x="11" y="57"/>
                    <a:pt x="8" y="60"/>
                    <a:pt x="8" y="60"/>
                  </a:cubicBezTo>
                  <a:cubicBezTo>
                    <a:pt x="8" y="60"/>
                    <a:pt x="6" y="61"/>
                    <a:pt x="5" y="62"/>
                  </a:cubicBezTo>
                  <a:cubicBezTo>
                    <a:pt x="4" y="63"/>
                    <a:pt x="3" y="64"/>
                    <a:pt x="2" y="65"/>
                  </a:cubicBezTo>
                  <a:cubicBezTo>
                    <a:pt x="0" y="67"/>
                    <a:pt x="1" y="70"/>
                    <a:pt x="1" y="70"/>
                  </a:cubicBezTo>
                  <a:cubicBezTo>
                    <a:pt x="1" y="70"/>
                    <a:pt x="3" y="71"/>
                    <a:pt x="6" y="71"/>
                  </a:cubicBezTo>
                  <a:cubicBezTo>
                    <a:pt x="9" y="70"/>
                    <a:pt x="13" y="71"/>
                    <a:pt x="14" y="71"/>
                  </a:cubicBezTo>
                  <a:cubicBezTo>
                    <a:pt x="16" y="71"/>
                    <a:pt x="21" y="71"/>
                    <a:pt x="25" y="71"/>
                  </a:cubicBezTo>
                  <a:cubicBezTo>
                    <a:pt x="30" y="71"/>
                    <a:pt x="27" y="72"/>
                    <a:pt x="31" y="72"/>
                  </a:cubicBezTo>
                  <a:cubicBezTo>
                    <a:pt x="35" y="72"/>
                    <a:pt x="35" y="71"/>
                    <a:pt x="36" y="71"/>
                  </a:cubicBezTo>
                  <a:cubicBezTo>
                    <a:pt x="37" y="71"/>
                    <a:pt x="38" y="71"/>
                    <a:pt x="42" y="70"/>
                  </a:cubicBezTo>
                  <a:cubicBezTo>
                    <a:pt x="45" y="68"/>
                    <a:pt x="45" y="67"/>
                    <a:pt x="47" y="67"/>
                  </a:cubicBezTo>
                  <a:cubicBezTo>
                    <a:pt x="49" y="67"/>
                    <a:pt x="48" y="70"/>
                    <a:pt x="48" y="71"/>
                  </a:cubicBezTo>
                  <a:cubicBezTo>
                    <a:pt x="48" y="73"/>
                    <a:pt x="48" y="73"/>
                    <a:pt x="49" y="74"/>
                  </a:cubicBezTo>
                  <a:cubicBezTo>
                    <a:pt x="51" y="75"/>
                    <a:pt x="52" y="78"/>
                    <a:pt x="52" y="78"/>
                  </a:cubicBezTo>
                  <a:cubicBezTo>
                    <a:pt x="51" y="78"/>
                    <a:pt x="51" y="79"/>
                    <a:pt x="48" y="80"/>
                  </a:cubicBezTo>
                  <a:cubicBezTo>
                    <a:pt x="46" y="81"/>
                    <a:pt x="46" y="81"/>
                    <a:pt x="45" y="82"/>
                  </a:cubicBezTo>
                  <a:cubicBezTo>
                    <a:pt x="45" y="83"/>
                    <a:pt x="47" y="83"/>
                    <a:pt x="48" y="83"/>
                  </a:cubicBezTo>
                  <a:cubicBezTo>
                    <a:pt x="50" y="84"/>
                    <a:pt x="50" y="84"/>
                    <a:pt x="52" y="83"/>
                  </a:cubicBezTo>
                  <a:cubicBezTo>
                    <a:pt x="54" y="83"/>
                    <a:pt x="55" y="82"/>
                    <a:pt x="56" y="81"/>
                  </a:cubicBezTo>
                  <a:cubicBezTo>
                    <a:pt x="57" y="79"/>
                    <a:pt x="58" y="78"/>
                    <a:pt x="61" y="77"/>
                  </a:cubicBezTo>
                  <a:cubicBezTo>
                    <a:pt x="63" y="76"/>
                    <a:pt x="65" y="75"/>
                    <a:pt x="64" y="73"/>
                  </a:cubicBezTo>
                  <a:cubicBezTo>
                    <a:pt x="64" y="72"/>
                    <a:pt x="66" y="73"/>
                    <a:pt x="71" y="74"/>
                  </a:cubicBezTo>
                  <a:cubicBezTo>
                    <a:pt x="71" y="74"/>
                    <a:pt x="71" y="74"/>
                    <a:pt x="71" y="76"/>
                  </a:cubicBezTo>
                  <a:cubicBezTo>
                    <a:pt x="71" y="78"/>
                    <a:pt x="70" y="78"/>
                    <a:pt x="71" y="83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81" y="87"/>
                    <a:pt x="81" y="87"/>
                    <a:pt x="81" y="87"/>
                  </a:cubicBezTo>
                  <a:cubicBezTo>
                    <a:pt x="81" y="87"/>
                    <a:pt x="83" y="87"/>
                    <a:pt x="86" y="84"/>
                  </a:cubicBezTo>
                  <a:cubicBezTo>
                    <a:pt x="88" y="82"/>
                    <a:pt x="86" y="83"/>
                    <a:pt x="87" y="81"/>
                  </a:cubicBezTo>
                  <a:cubicBezTo>
                    <a:pt x="87" y="80"/>
                    <a:pt x="87" y="80"/>
                    <a:pt x="88" y="78"/>
                  </a:cubicBezTo>
                  <a:cubicBezTo>
                    <a:pt x="88" y="75"/>
                    <a:pt x="89" y="76"/>
                    <a:pt x="90" y="75"/>
                  </a:cubicBezTo>
                  <a:cubicBezTo>
                    <a:pt x="91" y="73"/>
                    <a:pt x="89" y="70"/>
                    <a:pt x="89" y="70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4" y="72"/>
                    <a:pt x="84" y="71"/>
                    <a:pt x="85" y="70"/>
                  </a:cubicBezTo>
                  <a:cubicBezTo>
                    <a:pt x="86" y="68"/>
                    <a:pt x="86" y="67"/>
                    <a:pt x="85" y="63"/>
                  </a:cubicBezTo>
                  <a:cubicBezTo>
                    <a:pt x="85" y="63"/>
                    <a:pt x="83" y="64"/>
                    <a:pt x="81" y="65"/>
                  </a:cubicBezTo>
                  <a:cubicBezTo>
                    <a:pt x="79" y="66"/>
                    <a:pt x="79" y="69"/>
                    <a:pt x="77" y="70"/>
                  </a:cubicBezTo>
                  <a:cubicBezTo>
                    <a:pt x="75" y="71"/>
                    <a:pt x="73" y="68"/>
                    <a:pt x="73" y="68"/>
                  </a:cubicBezTo>
                  <a:cubicBezTo>
                    <a:pt x="73" y="67"/>
                    <a:pt x="73" y="67"/>
                    <a:pt x="77" y="62"/>
                  </a:cubicBezTo>
                  <a:cubicBezTo>
                    <a:pt x="79" y="60"/>
                    <a:pt x="80" y="61"/>
                    <a:pt x="83" y="58"/>
                  </a:cubicBezTo>
                  <a:cubicBezTo>
                    <a:pt x="86" y="55"/>
                    <a:pt x="85" y="56"/>
                    <a:pt x="86" y="54"/>
                  </a:cubicBezTo>
                  <a:cubicBezTo>
                    <a:pt x="86" y="53"/>
                    <a:pt x="83" y="55"/>
                    <a:pt x="82" y="55"/>
                  </a:cubicBezTo>
                  <a:cubicBezTo>
                    <a:pt x="81" y="56"/>
                    <a:pt x="79" y="57"/>
                    <a:pt x="78" y="58"/>
                  </a:cubicBezTo>
                  <a:cubicBezTo>
                    <a:pt x="76" y="59"/>
                    <a:pt x="73" y="57"/>
                    <a:pt x="73" y="57"/>
                  </a:cubicBezTo>
                  <a:cubicBezTo>
                    <a:pt x="73" y="57"/>
                    <a:pt x="71" y="58"/>
                    <a:pt x="74" y="56"/>
                  </a:cubicBezTo>
                  <a:cubicBezTo>
                    <a:pt x="77" y="53"/>
                    <a:pt x="74" y="56"/>
                    <a:pt x="74" y="54"/>
                  </a:cubicBezTo>
                  <a:cubicBezTo>
                    <a:pt x="73" y="51"/>
                    <a:pt x="71" y="52"/>
                    <a:pt x="74" y="48"/>
                  </a:cubicBezTo>
                  <a:cubicBezTo>
                    <a:pt x="75" y="46"/>
                    <a:pt x="76" y="48"/>
                    <a:pt x="77" y="47"/>
                  </a:cubicBezTo>
                  <a:cubicBezTo>
                    <a:pt x="78" y="45"/>
                    <a:pt x="79" y="45"/>
                    <a:pt x="79" y="43"/>
                  </a:cubicBezTo>
                  <a:cubicBezTo>
                    <a:pt x="79" y="42"/>
                    <a:pt x="75" y="41"/>
                    <a:pt x="74" y="40"/>
                  </a:cubicBezTo>
                  <a:cubicBezTo>
                    <a:pt x="72" y="40"/>
                    <a:pt x="72" y="39"/>
                    <a:pt x="71" y="40"/>
                  </a:cubicBezTo>
                  <a:cubicBezTo>
                    <a:pt x="70" y="40"/>
                    <a:pt x="67" y="39"/>
                    <a:pt x="66" y="36"/>
                  </a:cubicBezTo>
                  <a:cubicBezTo>
                    <a:pt x="66" y="35"/>
                    <a:pt x="63" y="38"/>
                    <a:pt x="63" y="38"/>
                  </a:cubicBezTo>
                  <a:cubicBezTo>
                    <a:pt x="63" y="38"/>
                    <a:pt x="62" y="40"/>
                    <a:pt x="60" y="41"/>
                  </a:cubicBezTo>
                  <a:cubicBezTo>
                    <a:pt x="59" y="42"/>
                    <a:pt x="59" y="44"/>
                    <a:pt x="58" y="45"/>
                  </a:cubicBezTo>
                  <a:cubicBezTo>
                    <a:pt x="57" y="45"/>
                    <a:pt x="55" y="46"/>
                    <a:pt x="55" y="46"/>
                  </a:cubicBezTo>
                  <a:cubicBezTo>
                    <a:pt x="55" y="46"/>
                    <a:pt x="55" y="42"/>
                    <a:pt x="53" y="39"/>
                  </a:cubicBezTo>
                  <a:cubicBezTo>
                    <a:pt x="53" y="38"/>
                    <a:pt x="50" y="39"/>
                    <a:pt x="48" y="39"/>
                  </a:cubicBezTo>
                  <a:cubicBezTo>
                    <a:pt x="46" y="39"/>
                    <a:pt x="44" y="39"/>
                    <a:pt x="45" y="38"/>
                  </a:cubicBezTo>
                  <a:cubicBezTo>
                    <a:pt x="45" y="37"/>
                    <a:pt x="45" y="36"/>
                    <a:pt x="46" y="35"/>
                  </a:cubicBezTo>
                  <a:cubicBezTo>
                    <a:pt x="47" y="33"/>
                    <a:pt x="46" y="35"/>
                    <a:pt x="49" y="33"/>
                  </a:cubicBezTo>
                  <a:cubicBezTo>
                    <a:pt x="52" y="30"/>
                    <a:pt x="51" y="29"/>
                    <a:pt x="51" y="29"/>
                  </a:cubicBezTo>
                  <a:cubicBezTo>
                    <a:pt x="50" y="29"/>
                    <a:pt x="47" y="30"/>
                    <a:pt x="46" y="29"/>
                  </a:cubicBezTo>
                  <a:cubicBezTo>
                    <a:pt x="44" y="29"/>
                    <a:pt x="44" y="28"/>
                    <a:pt x="42" y="28"/>
                  </a:cubicBezTo>
                  <a:cubicBezTo>
                    <a:pt x="40" y="28"/>
                    <a:pt x="42" y="28"/>
                    <a:pt x="39" y="31"/>
                  </a:cubicBezTo>
                  <a:cubicBezTo>
                    <a:pt x="35" y="34"/>
                    <a:pt x="33" y="37"/>
                    <a:pt x="33" y="37"/>
                  </a:cubicBezTo>
                  <a:cubicBezTo>
                    <a:pt x="33" y="37"/>
                    <a:pt x="33" y="36"/>
                    <a:pt x="35" y="33"/>
                  </a:cubicBezTo>
                  <a:cubicBezTo>
                    <a:pt x="36" y="30"/>
                    <a:pt x="36" y="30"/>
                    <a:pt x="36" y="29"/>
                  </a:cubicBezTo>
                  <a:cubicBezTo>
                    <a:pt x="36" y="28"/>
                    <a:pt x="37" y="27"/>
                    <a:pt x="37" y="25"/>
                  </a:cubicBezTo>
                  <a:cubicBezTo>
                    <a:pt x="37" y="23"/>
                    <a:pt x="38" y="22"/>
                    <a:pt x="40" y="20"/>
                  </a:cubicBezTo>
                  <a:cubicBezTo>
                    <a:pt x="43" y="18"/>
                    <a:pt x="46" y="16"/>
                    <a:pt x="48" y="12"/>
                  </a:cubicBezTo>
                  <a:cubicBezTo>
                    <a:pt x="49" y="9"/>
                    <a:pt x="47" y="10"/>
                    <a:pt x="46" y="8"/>
                  </a:cubicBezTo>
                  <a:cubicBezTo>
                    <a:pt x="45" y="5"/>
                    <a:pt x="47" y="7"/>
                    <a:pt x="50" y="6"/>
                  </a:cubicBezTo>
                  <a:cubicBezTo>
                    <a:pt x="53" y="4"/>
                    <a:pt x="53" y="5"/>
                    <a:pt x="51" y="1"/>
                  </a:cubicBezTo>
                  <a:cubicBezTo>
                    <a:pt x="49" y="0"/>
                    <a:pt x="51" y="1"/>
                    <a:pt x="47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5" name="Line 54"/>
            <p:cNvSpPr>
              <a:spLocks noChangeShapeType="1"/>
            </p:cNvSpPr>
            <p:nvPr/>
          </p:nvSpPr>
          <p:spPr bwMode="auto">
            <a:xfrm>
              <a:off x="3582" y="1928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6" name="Line 55"/>
            <p:cNvSpPr>
              <a:spLocks noChangeShapeType="1"/>
            </p:cNvSpPr>
            <p:nvPr/>
          </p:nvSpPr>
          <p:spPr bwMode="auto">
            <a:xfrm>
              <a:off x="3582" y="1928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7" name="Freeform 56"/>
            <p:cNvSpPr>
              <a:spLocks/>
            </p:cNvSpPr>
            <p:nvPr/>
          </p:nvSpPr>
          <p:spPr bwMode="auto">
            <a:xfrm>
              <a:off x="3261" y="1715"/>
              <a:ext cx="73" cy="46"/>
            </a:xfrm>
            <a:custGeom>
              <a:avLst/>
              <a:gdLst>
                <a:gd name="T0" fmla="*/ 86 w 98"/>
                <a:gd name="T1" fmla="*/ 55 h 62"/>
                <a:gd name="T2" fmla="*/ 95 w 98"/>
                <a:gd name="T3" fmla="*/ 52 h 62"/>
                <a:gd name="T4" fmla="*/ 96 w 98"/>
                <a:gd name="T5" fmla="*/ 46 h 62"/>
                <a:gd name="T6" fmla="*/ 92 w 98"/>
                <a:gd name="T7" fmla="*/ 41 h 62"/>
                <a:gd name="T8" fmla="*/ 80 w 98"/>
                <a:gd name="T9" fmla="*/ 40 h 62"/>
                <a:gd name="T10" fmla="*/ 75 w 98"/>
                <a:gd name="T11" fmla="*/ 31 h 62"/>
                <a:gd name="T12" fmla="*/ 72 w 98"/>
                <a:gd name="T13" fmla="*/ 29 h 62"/>
                <a:gd name="T14" fmla="*/ 66 w 98"/>
                <a:gd name="T15" fmla="*/ 28 h 62"/>
                <a:gd name="T16" fmla="*/ 57 w 98"/>
                <a:gd name="T17" fmla="*/ 21 h 62"/>
                <a:gd name="T18" fmla="*/ 49 w 98"/>
                <a:gd name="T19" fmla="*/ 18 h 62"/>
                <a:gd name="T20" fmla="*/ 44 w 98"/>
                <a:gd name="T21" fmla="*/ 17 h 62"/>
                <a:gd name="T22" fmla="*/ 39 w 98"/>
                <a:gd name="T23" fmla="*/ 12 h 62"/>
                <a:gd name="T24" fmla="*/ 34 w 98"/>
                <a:gd name="T25" fmla="*/ 13 h 62"/>
                <a:gd name="T26" fmla="*/ 33 w 98"/>
                <a:gd name="T27" fmla="*/ 10 h 62"/>
                <a:gd name="T28" fmla="*/ 32 w 98"/>
                <a:gd name="T29" fmla="*/ 5 h 62"/>
                <a:gd name="T30" fmla="*/ 26 w 98"/>
                <a:gd name="T31" fmla="*/ 1 h 62"/>
                <a:gd name="T32" fmla="*/ 17 w 98"/>
                <a:gd name="T33" fmla="*/ 10 h 62"/>
                <a:gd name="T34" fmla="*/ 18 w 98"/>
                <a:gd name="T35" fmla="*/ 24 h 62"/>
                <a:gd name="T36" fmla="*/ 15 w 98"/>
                <a:gd name="T37" fmla="*/ 34 h 62"/>
                <a:gd name="T38" fmla="*/ 17 w 98"/>
                <a:gd name="T39" fmla="*/ 40 h 62"/>
                <a:gd name="T40" fmla="*/ 9 w 98"/>
                <a:gd name="T41" fmla="*/ 45 h 62"/>
                <a:gd name="T42" fmla="*/ 4 w 98"/>
                <a:gd name="T43" fmla="*/ 49 h 62"/>
                <a:gd name="T44" fmla="*/ 15 w 98"/>
                <a:gd name="T45" fmla="*/ 50 h 62"/>
                <a:gd name="T46" fmla="*/ 26 w 98"/>
                <a:gd name="T47" fmla="*/ 48 h 62"/>
                <a:gd name="T48" fmla="*/ 26 w 98"/>
                <a:gd name="T49" fmla="*/ 57 h 62"/>
                <a:gd name="T50" fmla="*/ 36 w 98"/>
                <a:gd name="T51" fmla="*/ 60 h 62"/>
                <a:gd name="T52" fmla="*/ 43 w 98"/>
                <a:gd name="T53" fmla="*/ 53 h 62"/>
                <a:gd name="T54" fmla="*/ 48 w 98"/>
                <a:gd name="T55" fmla="*/ 49 h 62"/>
                <a:gd name="T56" fmla="*/ 53 w 98"/>
                <a:gd name="T57" fmla="*/ 41 h 62"/>
                <a:gd name="T58" fmla="*/ 58 w 98"/>
                <a:gd name="T59" fmla="*/ 41 h 62"/>
                <a:gd name="T60" fmla="*/ 66 w 98"/>
                <a:gd name="T61" fmla="*/ 47 h 62"/>
                <a:gd name="T62" fmla="*/ 78 w 98"/>
                <a:gd name="T63" fmla="*/ 52 h 62"/>
                <a:gd name="T64" fmla="*/ 86 w 98"/>
                <a:gd name="T65" fmla="*/ 5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8" h="62">
                  <a:moveTo>
                    <a:pt x="86" y="55"/>
                  </a:moveTo>
                  <a:cubicBezTo>
                    <a:pt x="92" y="56"/>
                    <a:pt x="92" y="55"/>
                    <a:pt x="95" y="52"/>
                  </a:cubicBezTo>
                  <a:cubicBezTo>
                    <a:pt x="98" y="50"/>
                    <a:pt x="98" y="51"/>
                    <a:pt x="96" y="46"/>
                  </a:cubicBezTo>
                  <a:cubicBezTo>
                    <a:pt x="94" y="42"/>
                    <a:pt x="94" y="40"/>
                    <a:pt x="92" y="41"/>
                  </a:cubicBezTo>
                  <a:cubicBezTo>
                    <a:pt x="89" y="41"/>
                    <a:pt x="81" y="43"/>
                    <a:pt x="80" y="40"/>
                  </a:cubicBezTo>
                  <a:cubicBezTo>
                    <a:pt x="77" y="35"/>
                    <a:pt x="75" y="31"/>
                    <a:pt x="75" y="31"/>
                  </a:cubicBezTo>
                  <a:cubicBezTo>
                    <a:pt x="75" y="31"/>
                    <a:pt x="73" y="29"/>
                    <a:pt x="72" y="29"/>
                  </a:cubicBezTo>
                  <a:cubicBezTo>
                    <a:pt x="70" y="29"/>
                    <a:pt x="67" y="29"/>
                    <a:pt x="66" y="28"/>
                  </a:cubicBezTo>
                  <a:cubicBezTo>
                    <a:pt x="61" y="24"/>
                    <a:pt x="59" y="22"/>
                    <a:pt x="57" y="21"/>
                  </a:cubicBezTo>
                  <a:cubicBezTo>
                    <a:pt x="52" y="18"/>
                    <a:pt x="51" y="17"/>
                    <a:pt x="49" y="18"/>
                  </a:cubicBezTo>
                  <a:cubicBezTo>
                    <a:pt x="48" y="19"/>
                    <a:pt x="46" y="22"/>
                    <a:pt x="44" y="17"/>
                  </a:cubicBezTo>
                  <a:cubicBezTo>
                    <a:pt x="42" y="11"/>
                    <a:pt x="39" y="12"/>
                    <a:pt x="39" y="12"/>
                  </a:cubicBezTo>
                  <a:cubicBezTo>
                    <a:pt x="39" y="12"/>
                    <a:pt x="36" y="15"/>
                    <a:pt x="34" y="13"/>
                  </a:cubicBezTo>
                  <a:cubicBezTo>
                    <a:pt x="33" y="10"/>
                    <a:pt x="33" y="15"/>
                    <a:pt x="33" y="10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5"/>
                    <a:pt x="31" y="0"/>
                    <a:pt x="26" y="1"/>
                  </a:cubicBezTo>
                  <a:cubicBezTo>
                    <a:pt x="22" y="3"/>
                    <a:pt x="15" y="4"/>
                    <a:pt x="17" y="10"/>
                  </a:cubicBezTo>
                  <a:cubicBezTo>
                    <a:pt x="19" y="17"/>
                    <a:pt x="21" y="17"/>
                    <a:pt x="18" y="24"/>
                  </a:cubicBezTo>
                  <a:cubicBezTo>
                    <a:pt x="15" y="31"/>
                    <a:pt x="12" y="30"/>
                    <a:pt x="15" y="34"/>
                  </a:cubicBezTo>
                  <a:cubicBezTo>
                    <a:pt x="17" y="38"/>
                    <a:pt x="18" y="35"/>
                    <a:pt x="17" y="40"/>
                  </a:cubicBezTo>
                  <a:cubicBezTo>
                    <a:pt x="15" y="44"/>
                    <a:pt x="10" y="43"/>
                    <a:pt x="9" y="45"/>
                  </a:cubicBezTo>
                  <a:cubicBezTo>
                    <a:pt x="8" y="46"/>
                    <a:pt x="0" y="46"/>
                    <a:pt x="4" y="49"/>
                  </a:cubicBezTo>
                  <a:cubicBezTo>
                    <a:pt x="8" y="51"/>
                    <a:pt x="10" y="51"/>
                    <a:pt x="15" y="50"/>
                  </a:cubicBezTo>
                  <a:cubicBezTo>
                    <a:pt x="20" y="49"/>
                    <a:pt x="24" y="46"/>
                    <a:pt x="26" y="48"/>
                  </a:cubicBezTo>
                  <a:cubicBezTo>
                    <a:pt x="27" y="51"/>
                    <a:pt x="23" y="56"/>
                    <a:pt x="26" y="57"/>
                  </a:cubicBezTo>
                  <a:cubicBezTo>
                    <a:pt x="34" y="61"/>
                    <a:pt x="33" y="62"/>
                    <a:pt x="36" y="60"/>
                  </a:cubicBezTo>
                  <a:cubicBezTo>
                    <a:pt x="40" y="58"/>
                    <a:pt x="41" y="55"/>
                    <a:pt x="43" y="53"/>
                  </a:cubicBezTo>
                  <a:cubicBezTo>
                    <a:pt x="45" y="52"/>
                    <a:pt x="46" y="51"/>
                    <a:pt x="48" y="49"/>
                  </a:cubicBezTo>
                  <a:cubicBezTo>
                    <a:pt x="52" y="45"/>
                    <a:pt x="53" y="41"/>
                    <a:pt x="53" y="41"/>
                  </a:cubicBezTo>
                  <a:cubicBezTo>
                    <a:pt x="53" y="41"/>
                    <a:pt x="55" y="39"/>
                    <a:pt x="58" y="41"/>
                  </a:cubicBezTo>
                  <a:cubicBezTo>
                    <a:pt x="62" y="43"/>
                    <a:pt x="63" y="46"/>
                    <a:pt x="66" y="47"/>
                  </a:cubicBezTo>
                  <a:cubicBezTo>
                    <a:pt x="75" y="51"/>
                    <a:pt x="77" y="51"/>
                    <a:pt x="78" y="52"/>
                  </a:cubicBezTo>
                  <a:cubicBezTo>
                    <a:pt x="79" y="54"/>
                    <a:pt x="86" y="55"/>
                    <a:pt x="86" y="5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8" name="Freeform 57"/>
            <p:cNvSpPr>
              <a:spLocks/>
            </p:cNvSpPr>
            <p:nvPr/>
          </p:nvSpPr>
          <p:spPr bwMode="auto">
            <a:xfrm>
              <a:off x="2848" y="1938"/>
              <a:ext cx="55" cy="35"/>
            </a:xfrm>
            <a:custGeom>
              <a:avLst/>
              <a:gdLst>
                <a:gd name="T0" fmla="*/ 66 w 75"/>
                <a:gd name="T1" fmla="*/ 45 h 48"/>
                <a:gd name="T2" fmla="*/ 72 w 75"/>
                <a:gd name="T3" fmla="*/ 43 h 48"/>
                <a:gd name="T4" fmla="*/ 68 w 75"/>
                <a:gd name="T5" fmla="*/ 36 h 48"/>
                <a:gd name="T6" fmla="*/ 61 w 75"/>
                <a:gd name="T7" fmla="*/ 32 h 48"/>
                <a:gd name="T8" fmla="*/ 53 w 75"/>
                <a:gd name="T9" fmla="*/ 26 h 48"/>
                <a:gd name="T10" fmla="*/ 49 w 75"/>
                <a:gd name="T11" fmla="*/ 21 h 48"/>
                <a:gd name="T12" fmla="*/ 42 w 75"/>
                <a:gd name="T13" fmla="*/ 12 h 48"/>
                <a:gd name="T14" fmla="*/ 34 w 75"/>
                <a:gd name="T15" fmla="*/ 10 h 48"/>
                <a:gd name="T16" fmla="*/ 22 w 75"/>
                <a:gd name="T17" fmla="*/ 6 h 48"/>
                <a:gd name="T18" fmla="*/ 13 w 75"/>
                <a:gd name="T19" fmla="*/ 1 h 48"/>
                <a:gd name="T20" fmla="*/ 2 w 75"/>
                <a:gd name="T21" fmla="*/ 3 h 48"/>
                <a:gd name="T22" fmla="*/ 8 w 75"/>
                <a:gd name="T23" fmla="*/ 9 h 48"/>
                <a:gd name="T24" fmla="*/ 8 w 75"/>
                <a:gd name="T25" fmla="*/ 11 h 48"/>
                <a:gd name="T26" fmla="*/ 13 w 75"/>
                <a:gd name="T27" fmla="*/ 15 h 48"/>
                <a:gd name="T28" fmla="*/ 19 w 75"/>
                <a:gd name="T29" fmla="*/ 17 h 48"/>
                <a:gd name="T30" fmla="*/ 24 w 75"/>
                <a:gd name="T31" fmla="*/ 16 h 48"/>
                <a:gd name="T32" fmla="*/ 28 w 75"/>
                <a:gd name="T33" fmla="*/ 20 h 48"/>
                <a:gd name="T34" fmla="*/ 28 w 75"/>
                <a:gd name="T35" fmla="*/ 25 h 48"/>
                <a:gd name="T36" fmla="*/ 37 w 75"/>
                <a:gd name="T37" fmla="*/ 28 h 48"/>
                <a:gd name="T38" fmla="*/ 41 w 75"/>
                <a:gd name="T39" fmla="*/ 33 h 48"/>
                <a:gd name="T40" fmla="*/ 48 w 75"/>
                <a:gd name="T41" fmla="*/ 35 h 48"/>
                <a:gd name="T42" fmla="*/ 50 w 75"/>
                <a:gd name="T43" fmla="*/ 38 h 48"/>
                <a:gd name="T44" fmla="*/ 56 w 75"/>
                <a:gd name="T45" fmla="*/ 40 h 48"/>
                <a:gd name="T46" fmla="*/ 66 w 75"/>
                <a:gd name="T47" fmla="*/ 4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5" h="48">
                  <a:moveTo>
                    <a:pt x="66" y="45"/>
                  </a:moveTo>
                  <a:cubicBezTo>
                    <a:pt x="71" y="48"/>
                    <a:pt x="68" y="45"/>
                    <a:pt x="72" y="43"/>
                  </a:cubicBezTo>
                  <a:cubicBezTo>
                    <a:pt x="75" y="41"/>
                    <a:pt x="72" y="40"/>
                    <a:pt x="68" y="36"/>
                  </a:cubicBezTo>
                  <a:cubicBezTo>
                    <a:pt x="65" y="32"/>
                    <a:pt x="64" y="34"/>
                    <a:pt x="61" y="32"/>
                  </a:cubicBezTo>
                  <a:cubicBezTo>
                    <a:pt x="57" y="30"/>
                    <a:pt x="56" y="28"/>
                    <a:pt x="53" y="26"/>
                  </a:cubicBezTo>
                  <a:cubicBezTo>
                    <a:pt x="50" y="25"/>
                    <a:pt x="51" y="24"/>
                    <a:pt x="49" y="21"/>
                  </a:cubicBezTo>
                  <a:cubicBezTo>
                    <a:pt x="47" y="18"/>
                    <a:pt x="45" y="16"/>
                    <a:pt x="42" y="12"/>
                  </a:cubicBezTo>
                  <a:cubicBezTo>
                    <a:pt x="40" y="9"/>
                    <a:pt x="37" y="10"/>
                    <a:pt x="34" y="10"/>
                  </a:cubicBezTo>
                  <a:cubicBezTo>
                    <a:pt x="31" y="9"/>
                    <a:pt x="25" y="6"/>
                    <a:pt x="22" y="6"/>
                  </a:cubicBezTo>
                  <a:cubicBezTo>
                    <a:pt x="19" y="7"/>
                    <a:pt x="15" y="2"/>
                    <a:pt x="13" y="1"/>
                  </a:cubicBezTo>
                  <a:cubicBezTo>
                    <a:pt x="10" y="0"/>
                    <a:pt x="0" y="3"/>
                    <a:pt x="2" y="3"/>
                  </a:cubicBezTo>
                  <a:cubicBezTo>
                    <a:pt x="4" y="4"/>
                    <a:pt x="10" y="5"/>
                    <a:pt x="8" y="9"/>
                  </a:cubicBezTo>
                  <a:cubicBezTo>
                    <a:pt x="6" y="12"/>
                    <a:pt x="8" y="9"/>
                    <a:pt x="8" y="11"/>
                  </a:cubicBezTo>
                  <a:cubicBezTo>
                    <a:pt x="7" y="13"/>
                    <a:pt x="12" y="12"/>
                    <a:pt x="13" y="15"/>
                  </a:cubicBezTo>
                  <a:cubicBezTo>
                    <a:pt x="15" y="18"/>
                    <a:pt x="13" y="15"/>
                    <a:pt x="19" y="17"/>
                  </a:cubicBezTo>
                  <a:cubicBezTo>
                    <a:pt x="24" y="19"/>
                    <a:pt x="24" y="16"/>
                    <a:pt x="24" y="16"/>
                  </a:cubicBezTo>
                  <a:cubicBezTo>
                    <a:pt x="24" y="16"/>
                    <a:pt x="27" y="19"/>
                    <a:pt x="28" y="20"/>
                  </a:cubicBezTo>
                  <a:cubicBezTo>
                    <a:pt x="28" y="22"/>
                    <a:pt x="28" y="22"/>
                    <a:pt x="28" y="25"/>
                  </a:cubicBezTo>
                  <a:cubicBezTo>
                    <a:pt x="28" y="29"/>
                    <a:pt x="32" y="26"/>
                    <a:pt x="37" y="28"/>
                  </a:cubicBezTo>
                  <a:cubicBezTo>
                    <a:pt x="40" y="29"/>
                    <a:pt x="39" y="31"/>
                    <a:pt x="41" y="33"/>
                  </a:cubicBezTo>
                  <a:cubicBezTo>
                    <a:pt x="42" y="35"/>
                    <a:pt x="44" y="34"/>
                    <a:pt x="48" y="35"/>
                  </a:cubicBezTo>
                  <a:cubicBezTo>
                    <a:pt x="53" y="36"/>
                    <a:pt x="48" y="35"/>
                    <a:pt x="50" y="38"/>
                  </a:cubicBezTo>
                  <a:cubicBezTo>
                    <a:pt x="51" y="41"/>
                    <a:pt x="53" y="40"/>
                    <a:pt x="56" y="40"/>
                  </a:cubicBezTo>
                  <a:cubicBezTo>
                    <a:pt x="59" y="40"/>
                    <a:pt x="61" y="41"/>
                    <a:pt x="66" y="4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9" name="Freeform 58"/>
            <p:cNvSpPr>
              <a:spLocks/>
            </p:cNvSpPr>
            <p:nvPr/>
          </p:nvSpPr>
          <p:spPr bwMode="auto">
            <a:xfrm>
              <a:off x="2802" y="1889"/>
              <a:ext cx="22" cy="34"/>
            </a:xfrm>
            <a:custGeom>
              <a:avLst/>
              <a:gdLst>
                <a:gd name="T0" fmla="*/ 27 w 29"/>
                <a:gd name="T1" fmla="*/ 40 h 46"/>
                <a:gd name="T2" fmla="*/ 23 w 29"/>
                <a:gd name="T3" fmla="*/ 37 h 46"/>
                <a:gd name="T4" fmla="*/ 20 w 29"/>
                <a:gd name="T5" fmla="*/ 33 h 46"/>
                <a:gd name="T6" fmla="*/ 19 w 29"/>
                <a:gd name="T7" fmla="*/ 29 h 46"/>
                <a:gd name="T8" fmla="*/ 16 w 29"/>
                <a:gd name="T9" fmla="*/ 26 h 46"/>
                <a:gd name="T10" fmla="*/ 15 w 29"/>
                <a:gd name="T11" fmla="*/ 17 h 46"/>
                <a:gd name="T12" fmla="*/ 15 w 29"/>
                <a:gd name="T13" fmla="*/ 13 h 46"/>
                <a:gd name="T14" fmla="*/ 19 w 29"/>
                <a:gd name="T15" fmla="*/ 7 h 46"/>
                <a:gd name="T16" fmla="*/ 13 w 29"/>
                <a:gd name="T17" fmla="*/ 6 h 46"/>
                <a:gd name="T18" fmla="*/ 6 w 29"/>
                <a:gd name="T19" fmla="*/ 5 h 46"/>
                <a:gd name="T20" fmla="*/ 1 w 29"/>
                <a:gd name="T21" fmla="*/ 6 h 46"/>
                <a:gd name="T22" fmla="*/ 3 w 29"/>
                <a:gd name="T23" fmla="*/ 17 h 46"/>
                <a:gd name="T24" fmla="*/ 6 w 29"/>
                <a:gd name="T25" fmla="*/ 19 h 46"/>
                <a:gd name="T26" fmla="*/ 6 w 29"/>
                <a:gd name="T27" fmla="*/ 22 h 46"/>
                <a:gd name="T28" fmla="*/ 10 w 29"/>
                <a:gd name="T29" fmla="*/ 24 h 46"/>
                <a:gd name="T30" fmla="*/ 12 w 29"/>
                <a:gd name="T31" fmla="*/ 29 h 46"/>
                <a:gd name="T32" fmla="*/ 14 w 29"/>
                <a:gd name="T33" fmla="*/ 33 h 46"/>
                <a:gd name="T34" fmla="*/ 17 w 29"/>
                <a:gd name="T35" fmla="*/ 35 h 46"/>
                <a:gd name="T36" fmla="*/ 21 w 29"/>
                <a:gd name="T37" fmla="*/ 40 h 46"/>
                <a:gd name="T38" fmla="*/ 25 w 29"/>
                <a:gd name="T39" fmla="*/ 43 h 46"/>
                <a:gd name="T40" fmla="*/ 27 w 29"/>
                <a:gd name="T41" fmla="*/ 44 h 46"/>
                <a:gd name="T42" fmla="*/ 27 w 29"/>
                <a:gd name="T43" fmla="*/ 4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9" h="46">
                  <a:moveTo>
                    <a:pt x="27" y="40"/>
                  </a:moveTo>
                  <a:cubicBezTo>
                    <a:pt x="26" y="40"/>
                    <a:pt x="24" y="40"/>
                    <a:pt x="23" y="37"/>
                  </a:cubicBezTo>
                  <a:cubicBezTo>
                    <a:pt x="22" y="35"/>
                    <a:pt x="21" y="36"/>
                    <a:pt x="20" y="33"/>
                  </a:cubicBezTo>
                  <a:cubicBezTo>
                    <a:pt x="20" y="30"/>
                    <a:pt x="20" y="32"/>
                    <a:pt x="19" y="29"/>
                  </a:cubicBezTo>
                  <a:cubicBezTo>
                    <a:pt x="17" y="27"/>
                    <a:pt x="16" y="33"/>
                    <a:pt x="16" y="26"/>
                  </a:cubicBezTo>
                  <a:cubicBezTo>
                    <a:pt x="17" y="18"/>
                    <a:pt x="15" y="19"/>
                    <a:pt x="15" y="17"/>
                  </a:cubicBezTo>
                  <a:cubicBezTo>
                    <a:pt x="15" y="15"/>
                    <a:pt x="14" y="15"/>
                    <a:pt x="15" y="13"/>
                  </a:cubicBezTo>
                  <a:cubicBezTo>
                    <a:pt x="18" y="10"/>
                    <a:pt x="19" y="10"/>
                    <a:pt x="19" y="7"/>
                  </a:cubicBezTo>
                  <a:cubicBezTo>
                    <a:pt x="20" y="6"/>
                    <a:pt x="17" y="7"/>
                    <a:pt x="13" y="6"/>
                  </a:cubicBezTo>
                  <a:cubicBezTo>
                    <a:pt x="9" y="5"/>
                    <a:pt x="9" y="4"/>
                    <a:pt x="6" y="5"/>
                  </a:cubicBezTo>
                  <a:cubicBezTo>
                    <a:pt x="3" y="6"/>
                    <a:pt x="1" y="0"/>
                    <a:pt x="1" y="6"/>
                  </a:cubicBezTo>
                  <a:cubicBezTo>
                    <a:pt x="1" y="12"/>
                    <a:pt x="0" y="15"/>
                    <a:pt x="3" y="17"/>
                  </a:cubicBezTo>
                  <a:cubicBezTo>
                    <a:pt x="6" y="19"/>
                    <a:pt x="5" y="16"/>
                    <a:pt x="6" y="19"/>
                  </a:cubicBezTo>
                  <a:cubicBezTo>
                    <a:pt x="7" y="21"/>
                    <a:pt x="3" y="21"/>
                    <a:pt x="6" y="22"/>
                  </a:cubicBezTo>
                  <a:cubicBezTo>
                    <a:pt x="10" y="24"/>
                    <a:pt x="10" y="21"/>
                    <a:pt x="10" y="24"/>
                  </a:cubicBezTo>
                  <a:cubicBezTo>
                    <a:pt x="11" y="27"/>
                    <a:pt x="10" y="27"/>
                    <a:pt x="12" y="29"/>
                  </a:cubicBezTo>
                  <a:cubicBezTo>
                    <a:pt x="13" y="30"/>
                    <a:pt x="11" y="30"/>
                    <a:pt x="14" y="33"/>
                  </a:cubicBezTo>
                  <a:cubicBezTo>
                    <a:pt x="17" y="35"/>
                    <a:pt x="15" y="34"/>
                    <a:pt x="17" y="35"/>
                  </a:cubicBezTo>
                  <a:cubicBezTo>
                    <a:pt x="20" y="36"/>
                    <a:pt x="19" y="38"/>
                    <a:pt x="21" y="40"/>
                  </a:cubicBezTo>
                  <a:cubicBezTo>
                    <a:pt x="23" y="42"/>
                    <a:pt x="22" y="42"/>
                    <a:pt x="25" y="43"/>
                  </a:cubicBezTo>
                  <a:cubicBezTo>
                    <a:pt x="27" y="44"/>
                    <a:pt x="26" y="46"/>
                    <a:pt x="27" y="44"/>
                  </a:cubicBezTo>
                  <a:cubicBezTo>
                    <a:pt x="29" y="43"/>
                    <a:pt x="29" y="41"/>
                    <a:pt x="27" y="4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00" name="Freeform 59"/>
            <p:cNvSpPr>
              <a:spLocks/>
            </p:cNvSpPr>
            <p:nvPr/>
          </p:nvSpPr>
          <p:spPr bwMode="auto">
            <a:xfrm>
              <a:off x="2795" y="1860"/>
              <a:ext cx="19" cy="26"/>
            </a:xfrm>
            <a:custGeom>
              <a:avLst/>
              <a:gdLst>
                <a:gd name="T0" fmla="*/ 17 w 26"/>
                <a:gd name="T1" fmla="*/ 32 h 35"/>
                <a:gd name="T2" fmla="*/ 25 w 26"/>
                <a:gd name="T3" fmla="*/ 34 h 35"/>
                <a:gd name="T4" fmla="*/ 24 w 26"/>
                <a:gd name="T5" fmla="*/ 30 h 35"/>
                <a:gd name="T6" fmla="*/ 22 w 26"/>
                <a:gd name="T7" fmla="*/ 25 h 35"/>
                <a:gd name="T8" fmla="*/ 19 w 26"/>
                <a:gd name="T9" fmla="*/ 19 h 35"/>
                <a:gd name="T10" fmla="*/ 16 w 26"/>
                <a:gd name="T11" fmla="*/ 14 h 35"/>
                <a:gd name="T12" fmla="*/ 14 w 26"/>
                <a:gd name="T13" fmla="*/ 10 h 35"/>
                <a:gd name="T14" fmla="*/ 10 w 26"/>
                <a:gd name="T15" fmla="*/ 7 h 35"/>
                <a:gd name="T16" fmla="*/ 9 w 26"/>
                <a:gd name="T17" fmla="*/ 4 h 35"/>
                <a:gd name="T18" fmla="*/ 4 w 26"/>
                <a:gd name="T19" fmla="*/ 3 h 35"/>
                <a:gd name="T20" fmla="*/ 8 w 26"/>
                <a:gd name="T21" fmla="*/ 10 h 35"/>
                <a:gd name="T22" fmla="*/ 6 w 26"/>
                <a:gd name="T23" fmla="*/ 16 h 35"/>
                <a:gd name="T24" fmla="*/ 5 w 26"/>
                <a:gd name="T25" fmla="*/ 21 h 35"/>
                <a:gd name="T26" fmla="*/ 13 w 26"/>
                <a:gd name="T27" fmla="*/ 27 h 35"/>
                <a:gd name="T28" fmla="*/ 17 w 26"/>
                <a:gd name="T29" fmla="*/ 3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5">
                  <a:moveTo>
                    <a:pt x="17" y="32"/>
                  </a:moveTo>
                  <a:cubicBezTo>
                    <a:pt x="23" y="35"/>
                    <a:pt x="23" y="35"/>
                    <a:pt x="25" y="34"/>
                  </a:cubicBezTo>
                  <a:cubicBezTo>
                    <a:pt x="26" y="33"/>
                    <a:pt x="25" y="32"/>
                    <a:pt x="24" y="30"/>
                  </a:cubicBezTo>
                  <a:cubicBezTo>
                    <a:pt x="23" y="27"/>
                    <a:pt x="22" y="25"/>
                    <a:pt x="22" y="25"/>
                  </a:cubicBezTo>
                  <a:cubicBezTo>
                    <a:pt x="20" y="21"/>
                    <a:pt x="22" y="23"/>
                    <a:pt x="19" y="19"/>
                  </a:cubicBezTo>
                  <a:cubicBezTo>
                    <a:pt x="17" y="15"/>
                    <a:pt x="17" y="17"/>
                    <a:pt x="16" y="14"/>
                  </a:cubicBezTo>
                  <a:cubicBezTo>
                    <a:pt x="16" y="10"/>
                    <a:pt x="15" y="10"/>
                    <a:pt x="14" y="10"/>
                  </a:cubicBezTo>
                  <a:cubicBezTo>
                    <a:pt x="13" y="10"/>
                    <a:pt x="11" y="9"/>
                    <a:pt x="10" y="7"/>
                  </a:cubicBezTo>
                  <a:cubicBezTo>
                    <a:pt x="10" y="6"/>
                    <a:pt x="10" y="5"/>
                    <a:pt x="9" y="4"/>
                  </a:cubicBezTo>
                  <a:cubicBezTo>
                    <a:pt x="6" y="3"/>
                    <a:pt x="1" y="0"/>
                    <a:pt x="4" y="3"/>
                  </a:cubicBezTo>
                  <a:cubicBezTo>
                    <a:pt x="7" y="7"/>
                    <a:pt x="7" y="7"/>
                    <a:pt x="8" y="10"/>
                  </a:cubicBezTo>
                  <a:cubicBezTo>
                    <a:pt x="8" y="13"/>
                    <a:pt x="6" y="13"/>
                    <a:pt x="6" y="16"/>
                  </a:cubicBezTo>
                  <a:cubicBezTo>
                    <a:pt x="6" y="18"/>
                    <a:pt x="0" y="18"/>
                    <a:pt x="5" y="21"/>
                  </a:cubicBezTo>
                  <a:cubicBezTo>
                    <a:pt x="9" y="25"/>
                    <a:pt x="10" y="24"/>
                    <a:pt x="13" y="27"/>
                  </a:cubicBezTo>
                  <a:cubicBezTo>
                    <a:pt x="16" y="29"/>
                    <a:pt x="11" y="29"/>
                    <a:pt x="17" y="3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01" name="Freeform 60"/>
            <p:cNvSpPr>
              <a:spLocks/>
            </p:cNvSpPr>
            <p:nvPr/>
          </p:nvSpPr>
          <p:spPr bwMode="auto">
            <a:xfrm>
              <a:off x="2766" y="1834"/>
              <a:ext cx="13" cy="18"/>
            </a:xfrm>
            <a:custGeom>
              <a:avLst/>
              <a:gdLst>
                <a:gd name="T0" fmla="*/ 16 w 17"/>
                <a:gd name="T1" fmla="*/ 11 h 24"/>
                <a:gd name="T2" fmla="*/ 13 w 17"/>
                <a:gd name="T3" fmla="*/ 7 h 24"/>
                <a:gd name="T4" fmla="*/ 13 w 17"/>
                <a:gd name="T5" fmla="*/ 5 h 24"/>
                <a:gd name="T6" fmla="*/ 15 w 17"/>
                <a:gd name="T7" fmla="*/ 3 h 24"/>
                <a:gd name="T8" fmla="*/ 9 w 17"/>
                <a:gd name="T9" fmla="*/ 1 h 24"/>
                <a:gd name="T10" fmla="*/ 4 w 17"/>
                <a:gd name="T11" fmla="*/ 6 h 24"/>
                <a:gd name="T12" fmla="*/ 4 w 17"/>
                <a:gd name="T13" fmla="*/ 11 h 24"/>
                <a:gd name="T14" fmla="*/ 9 w 17"/>
                <a:gd name="T15" fmla="*/ 18 h 24"/>
                <a:gd name="T16" fmla="*/ 11 w 17"/>
                <a:gd name="T17" fmla="*/ 24 h 24"/>
                <a:gd name="T18" fmla="*/ 12 w 17"/>
                <a:gd name="T19" fmla="*/ 18 h 24"/>
                <a:gd name="T20" fmla="*/ 13 w 17"/>
                <a:gd name="T21" fmla="*/ 15 h 24"/>
                <a:gd name="T22" fmla="*/ 16 w 17"/>
                <a:gd name="T23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24">
                  <a:moveTo>
                    <a:pt x="16" y="11"/>
                  </a:moveTo>
                  <a:cubicBezTo>
                    <a:pt x="15" y="8"/>
                    <a:pt x="14" y="7"/>
                    <a:pt x="13" y="7"/>
                  </a:cubicBezTo>
                  <a:cubicBezTo>
                    <a:pt x="11" y="7"/>
                    <a:pt x="11" y="7"/>
                    <a:pt x="13" y="5"/>
                  </a:cubicBezTo>
                  <a:cubicBezTo>
                    <a:pt x="15" y="3"/>
                    <a:pt x="17" y="3"/>
                    <a:pt x="15" y="3"/>
                  </a:cubicBezTo>
                  <a:cubicBezTo>
                    <a:pt x="13" y="2"/>
                    <a:pt x="9" y="1"/>
                    <a:pt x="9" y="1"/>
                  </a:cubicBezTo>
                  <a:cubicBezTo>
                    <a:pt x="7" y="2"/>
                    <a:pt x="4" y="0"/>
                    <a:pt x="4" y="6"/>
                  </a:cubicBezTo>
                  <a:cubicBezTo>
                    <a:pt x="4" y="11"/>
                    <a:pt x="0" y="8"/>
                    <a:pt x="4" y="11"/>
                  </a:cubicBezTo>
                  <a:cubicBezTo>
                    <a:pt x="8" y="14"/>
                    <a:pt x="8" y="15"/>
                    <a:pt x="9" y="18"/>
                  </a:cubicBezTo>
                  <a:cubicBezTo>
                    <a:pt x="11" y="21"/>
                    <a:pt x="9" y="23"/>
                    <a:pt x="11" y="24"/>
                  </a:cubicBezTo>
                  <a:cubicBezTo>
                    <a:pt x="13" y="24"/>
                    <a:pt x="11" y="20"/>
                    <a:pt x="12" y="18"/>
                  </a:cubicBezTo>
                  <a:cubicBezTo>
                    <a:pt x="13" y="17"/>
                    <a:pt x="12" y="18"/>
                    <a:pt x="13" y="15"/>
                  </a:cubicBezTo>
                  <a:cubicBezTo>
                    <a:pt x="15" y="13"/>
                    <a:pt x="16" y="12"/>
                    <a:pt x="16" y="1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02" name="Freeform 61"/>
            <p:cNvSpPr>
              <a:spLocks/>
            </p:cNvSpPr>
            <p:nvPr/>
          </p:nvSpPr>
          <p:spPr bwMode="auto">
            <a:xfrm>
              <a:off x="2781" y="1837"/>
              <a:ext cx="13" cy="16"/>
            </a:xfrm>
            <a:custGeom>
              <a:avLst/>
              <a:gdLst>
                <a:gd name="T0" fmla="*/ 13 w 17"/>
                <a:gd name="T1" fmla="*/ 5 h 21"/>
                <a:gd name="T2" fmla="*/ 12 w 17"/>
                <a:gd name="T3" fmla="*/ 2 h 21"/>
                <a:gd name="T4" fmla="*/ 6 w 17"/>
                <a:gd name="T5" fmla="*/ 0 h 21"/>
                <a:gd name="T6" fmla="*/ 3 w 17"/>
                <a:gd name="T7" fmla="*/ 6 h 21"/>
                <a:gd name="T8" fmla="*/ 4 w 17"/>
                <a:gd name="T9" fmla="*/ 9 h 21"/>
                <a:gd name="T10" fmla="*/ 8 w 17"/>
                <a:gd name="T11" fmla="*/ 10 h 21"/>
                <a:gd name="T12" fmla="*/ 6 w 17"/>
                <a:gd name="T13" fmla="*/ 16 h 21"/>
                <a:gd name="T14" fmla="*/ 8 w 17"/>
                <a:gd name="T15" fmla="*/ 18 h 21"/>
                <a:gd name="T16" fmla="*/ 13 w 17"/>
                <a:gd name="T17" fmla="*/ 18 h 21"/>
                <a:gd name="T18" fmla="*/ 14 w 17"/>
                <a:gd name="T19" fmla="*/ 14 h 21"/>
                <a:gd name="T20" fmla="*/ 16 w 17"/>
                <a:gd name="T21" fmla="*/ 8 h 21"/>
                <a:gd name="T22" fmla="*/ 13 w 17"/>
                <a:gd name="T23" fmla="*/ 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21">
                  <a:moveTo>
                    <a:pt x="13" y="5"/>
                  </a:moveTo>
                  <a:cubicBezTo>
                    <a:pt x="13" y="3"/>
                    <a:pt x="12" y="2"/>
                    <a:pt x="12" y="2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2"/>
                    <a:pt x="3" y="4"/>
                    <a:pt x="3" y="6"/>
                  </a:cubicBezTo>
                  <a:cubicBezTo>
                    <a:pt x="3" y="7"/>
                    <a:pt x="0" y="7"/>
                    <a:pt x="4" y="9"/>
                  </a:cubicBezTo>
                  <a:cubicBezTo>
                    <a:pt x="8" y="10"/>
                    <a:pt x="7" y="7"/>
                    <a:pt x="8" y="10"/>
                  </a:cubicBezTo>
                  <a:cubicBezTo>
                    <a:pt x="9" y="13"/>
                    <a:pt x="4" y="14"/>
                    <a:pt x="6" y="16"/>
                  </a:cubicBezTo>
                  <a:cubicBezTo>
                    <a:pt x="8" y="18"/>
                    <a:pt x="5" y="17"/>
                    <a:pt x="8" y="18"/>
                  </a:cubicBezTo>
                  <a:cubicBezTo>
                    <a:pt x="12" y="20"/>
                    <a:pt x="11" y="21"/>
                    <a:pt x="13" y="18"/>
                  </a:cubicBezTo>
                  <a:cubicBezTo>
                    <a:pt x="14" y="15"/>
                    <a:pt x="13" y="16"/>
                    <a:pt x="14" y="14"/>
                  </a:cubicBezTo>
                  <a:cubicBezTo>
                    <a:pt x="16" y="11"/>
                    <a:pt x="17" y="9"/>
                    <a:pt x="16" y="8"/>
                  </a:cubicBezTo>
                  <a:cubicBezTo>
                    <a:pt x="15" y="7"/>
                    <a:pt x="13" y="7"/>
                    <a:pt x="13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03" name="Freeform 62"/>
            <p:cNvSpPr>
              <a:spLocks/>
            </p:cNvSpPr>
            <p:nvPr/>
          </p:nvSpPr>
          <p:spPr bwMode="auto">
            <a:xfrm>
              <a:off x="2777" y="1847"/>
              <a:ext cx="9" cy="19"/>
            </a:xfrm>
            <a:custGeom>
              <a:avLst/>
              <a:gdLst>
                <a:gd name="T0" fmla="*/ 12 w 13"/>
                <a:gd name="T1" fmla="*/ 14 h 25"/>
                <a:gd name="T2" fmla="*/ 11 w 13"/>
                <a:gd name="T3" fmla="*/ 7 h 25"/>
                <a:gd name="T4" fmla="*/ 9 w 13"/>
                <a:gd name="T5" fmla="*/ 2 h 25"/>
                <a:gd name="T6" fmla="*/ 7 w 13"/>
                <a:gd name="T7" fmla="*/ 0 h 25"/>
                <a:gd name="T8" fmla="*/ 2 w 13"/>
                <a:gd name="T9" fmla="*/ 1 h 25"/>
                <a:gd name="T10" fmla="*/ 2 w 13"/>
                <a:gd name="T11" fmla="*/ 6 h 25"/>
                <a:gd name="T12" fmla="*/ 3 w 13"/>
                <a:gd name="T13" fmla="*/ 11 h 25"/>
                <a:gd name="T14" fmla="*/ 6 w 13"/>
                <a:gd name="T15" fmla="*/ 17 h 25"/>
                <a:gd name="T16" fmla="*/ 8 w 13"/>
                <a:gd name="T17" fmla="*/ 21 h 25"/>
                <a:gd name="T18" fmla="*/ 12 w 13"/>
                <a:gd name="T19" fmla="*/ 22 h 25"/>
                <a:gd name="T20" fmla="*/ 12 w 13"/>
                <a:gd name="T21" fmla="*/ 1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25">
                  <a:moveTo>
                    <a:pt x="12" y="14"/>
                  </a:moveTo>
                  <a:cubicBezTo>
                    <a:pt x="13" y="10"/>
                    <a:pt x="11" y="10"/>
                    <a:pt x="11" y="7"/>
                  </a:cubicBezTo>
                  <a:cubicBezTo>
                    <a:pt x="12" y="5"/>
                    <a:pt x="10" y="3"/>
                    <a:pt x="9" y="2"/>
                  </a:cubicBezTo>
                  <a:cubicBezTo>
                    <a:pt x="9" y="1"/>
                    <a:pt x="9" y="0"/>
                    <a:pt x="7" y="0"/>
                  </a:cubicBezTo>
                  <a:cubicBezTo>
                    <a:pt x="5" y="0"/>
                    <a:pt x="1" y="0"/>
                    <a:pt x="2" y="1"/>
                  </a:cubicBezTo>
                  <a:cubicBezTo>
                    <a:pt x="3" y="2"/>
                    <a:pt x="0" y="3"/>
                    <a:pt x="2" y="6"/>
                  </a:cubicBezTo>
                  <a:cubicBezTo>
                    <a:pt x="4" y="8"/>
                    <a:pt x="2" y="9"/>
                    <a:pt x="3" y="11"/>
                  </a:cubicBezTo>
                  <a:cubicBezTo>
                    <a:pt x="4" y="14"/>
                    <a:pt x="4" y="15"/>
                    <a:pt x="6" y="17"/>
                  </a:cubicBezTo>
                  <a:cubicBezTo>
                    <a:pt x="9" y="18"/>
                    <a:pt x="5" y="18"/>
                    <a:pt x="8" y="21"/>
                  </a:cubicBezTo>
                  <a:cubicBezTo>
                    <a:pt x="11" y="24"/>
                    <a:pt x="10" y="25"/>
                    <a:pt x="12" y="22"/>
                  </a:cubicBezTo>
                  <a:cubicBezTo>
                    <a:pt x="13" y="19"/>
                    <a:pt x="12" y="18"/>
                    <a:pt x="12" y="1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04" name="Freeform 63"/>
            <p:cNvSpPr>
              <a:spLocks/>
            </p:cNvSpPr>
            <p:nvPr/>
          </p:nvSpPr>
          <p:spPr bwMode="auto">
            <a:xfrm>
              <a:off x="2793" y="1852"/>
              <a:ext cx="11" cy="9"/>
            </a:xfrm>
            <a:custGeom>
              <a:avLst/>
              <a:gdLst>
                <a:gd name="T0" fmla="*/ 10 w 14"/>
                <a:gd name="T1" fmla="*/ 10 h 12"/>
                <a:gd name="T2" fmla="*/ 11 w 14"/>
                <a:gd name="T3" fmla="*/ 7 h 12"/>
                <a:gd name="T4" fmla="*/ 11 w 14"/>
                <a:gd name="T5" fmla="*/ 4 h 12"/>
                <a:gd name="T6" fmla="*/ 5 w 14"/>
                <a:gd name="T7" fmla="*/ 1 h 12"/>
                <a:gd name="T8" fmla="*/ 2 w 14"/>
                <a:gd name="T9" fmla="*/ 8 h 12"/>
                <a:gd name="T10" fmla="*/ 6 w 14"/>
                <a:gd name="T11" fmla="*/ 10 h 12"/>
                <a:gd name="T12" fmla="*/ 10 w 14"/>
                <a:gd name="T13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2">
                  <a:moveTo>
                    <a:pt x="10" y="10"/>
                  </a:moveTo>
                  <a:cubicBezTo>
                    <a:pt x="11" y="9"/>
                    <a:pt x="9" y="9"/>
                    <a:pt x="11" y="7"/>
                  </a:cubicBezTo>
                  <a:cubicBezTo>
                    <a:pt x="14" y="5"/>
                    <a:pt x="12" y="6"/>
                    <a:pt x="11" y="4"/>
                  </a:cubicBezTo>
                  <a:cubicBezTo>
                    <a:pt x="9" y="1"/>
                    <a:pt x="7" y="0"/>
                    <a:pt x="5" y="1"/>
                  </a:cubicBezTo>
                  <a:cubicBezTo>
                    <a:pt x="2" y="3"/>
                    <a:pt x="0" y="7"/>
                    <a:pt x="2" y="8"/>
                  </a:cubicBezTo>
                  <a:cubicBezTo>
                    <a:pt x="4" y="10"/>
                    <a:pt x="4" y="8"/>
                    <a:pt x="6" y="10"/>
                  </a:cubicBezTo>
                  <a:cubicBezTo>
                    <a:pt x="8" y="11"/>
                    <a:pt x="9" y="12"/>
                    <a:pt x="10" y="1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05" name="Freeform 64"/>
            <p:cNvSpPr>
              <a:spLocks/>
            </p:cNvSpPr>
            <p:nvPr/>
          </p:nvSpPr>
          <p:spPr bwMode="auto">
            <a:xfrm>
              <a:off x="2788" y="1853"/>
              <a:ext cx="6" cy="17"/>
            </a:xfrm>
            <a:custGeom>
              <a:avLst/>
              <a:gdLst>
                <a:gd name="T0" fmla="*/ 3 w 8"/>
                <a:gd name="T1" fmla="*/ 1 h 23"/>
                <a:gd name="T2" fmla="*/ 1 w 8"/>
                <a:gd name="T3" fmla="*/ 6 h 23"/>
                <a:gd name="T4" fmla="*/ 2 w 8"/>
                <a:gd name="T5" fmla="*/ 11 h 23"/>
                <a:gd name="T6" fmla="*/ 4 w 8"/>
                <a:gd name="T7" fmla="*/ 17 h 23"/>
                <a:gd name="T8" fmla="*/ 4 w 8"/>
                <a:gd name="T9" fmla="*/ 23 h 23"/>
                <a:gd name="T10" fmla="*/ 6 w 8"/>
                <a:gd name="T11" fmla="*/ 18 h 23"/>
                <a:gd name="T12" fmla="*/ 7 w 8"/>
                <a:gd name="T13" fmla="*/ 13 h 23"/>
                <a:gd name="T14" fmla="*/ 7 w 8"/>
                <a:gd name="T15" fmla="*/ 10 h 23"/>
                <a:gd name="T16" fmla="*/ 3 w 8"/>
                <a:gd name="T17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23">
                  <a:moveTo>
                    <a:pt x="3" y="1"/>
                  </a:moveTo>
                  <a:cubicBezTo>
                    <a:pt x="1" y="1"/>
                    <a:pt x="1" y="3"/>
                    <a:pt x="1" y="6"/>
                  </a:cubicBezTo>
                  <a:cubicBezTo>
                    <a:pt x="1" y="8"/>
                    <a:pt x="0" y="9"/>
                    <a:pt x="2" y="11"/>
                  </a:cubicBezTo>
                  <a:cubicBezTo>
                    <a:pt x="4" y="13"/>
                    <a:pt x="4" y="13"/>
                    <a:pt x="4" y="17"/>
                  </a:cubicBezTo>
                  <a:cubicBezTo>
                    <a:pt x="4" y="21"/>
                    <a:pt x="4" y="23"/>
                    <a:pt x="4" y="23"/>
                  </a:cubicBezTo>
                  <a:cubicBezTo>
                    <a:pt x="5" y="23"/>
                    <a:pt x="5" y="20"/>
                    <a:pt x="6" y="18"/>
                  </a:cubicBezTo>
                  <a:cubicBezTo>
                    <a:pt x="7" y="16"/>
                    <a:pt x="7" y="15"/>
                    <a:pt x="7" y="13"/>
                  </a:cubicBezTo>
                  <a:cubicBezTo>
                    <a:pt x="8" y="12"/>
                    <a:pt x="8" y="12"/>
                    <a:pt x="7" y="10"/>
                  </a:cubicBezTo>
                  <a:cubicBezTo>
                    <a:pt x="7" y="7"/>
                    <a:pt x="6" y="0"/>
                    <a:pt x="3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06" name="Freeform 65"/>
            <p:cNvSpPr>
              <a:spLocks/>
            </p:cNvSpPr>
            <p:nvPr/>
          </p:nvSpPr>
          <p:spPr bwMode="auto">
            <a:xfrm>
              <a:off x="2827" y="1897"/>
              <a:ext cx="9" cy="11"/>
            </a:xfrm>
            <a:custGeom>
              <a:avLst/>
              <a:gdLst>
                <a:gd name="T0" fmla="*/ 6 w 11"/>
                <a:gd name="T1" fmla="*/ 6 h 14"/>
                <a:gd name="T2" fmla="*/ 0 w 11"/>
                <a:gd name="T3" fmla="*/ 0 h 14"/>
                <a:gd name="T4" fmla="*/ 2 w 11"/>
                <a:gd name="T5" fmla="*/ 7 h 14"/>
                <a:gd name="T6" fmla="*/ 9 w 11"/>
                <a:gd name="T7" fmla="*/ 13 h 14"/>
                <a:gd name="T8" fmla="*/ 11 w 11"/>
                <a:gd name="T9" fmla="*/ 10 h 14"/>
                <a:gd name="T10" fmla="*/ 6 w 11"/>
                <a:gd name="T11" fmla="*/ 6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4">
                  <a:moveTo>
                    <a:pt x="6" y="6"/>
                  </a:moveTo>
                  <a:cubicBezTo>
                    <a:pt x="2" y="3"/>
                    <a:pt x="0" y="0"/>
                    <a:pt x="0" y="0"/>
                  </a:cubicBezTo>
                  <a:cubicBezTo>
                    <a:pt x="1" y="2"/>
                    <a:pt x="0" y="5"/>
                    <a:pt x="2" y="7"/>
                  </a:cubicBezTo>
                  <a:cubicBezTo>
                    <a:pt x="5" y="10"/>
                    <a:pt x="7" y="12"/>
                    <a:pt x="9" y="13"/>
                  </a:cubicBezTo>
                  <a:cubicBezTo>
                    <a:pt x="11" y="14"/>
                    <a:pt x="11" y="11"/>
                    <a:pt x="11" y="10"/>
                  </a:cubicBezTo>
                  <a:cubicBezTo>
                    <a:pt x="11" y="8"/>
                    <a:pt x="9" y="8"/>
                    <a:pt x="6" y="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07" name="Freeform 66"/>
            <p:cNvSpPr>
              <a:spLocks/>
            </p:cNvSpPr>
            <p:nvPr/>
          </p:nvSpPr>
          <p:spPr bwMode="auto">
            <a:xfrm>
              <a:off x="3290" y="2261"/>
              <a:ext cx="104" cy="38"/>
            </a:xfrm>
            <a:custGeom>
              <a:avLst/>
              <a:gdLst>
                <a:gd name="T0" fmla="*/ 124 w 139"/>
                <a:gd name="T1" fmla="*/ 50 h 52"/>
                <a:gd name="T2" fmla="*/ 128 w 139"/>
                <a:gd name="T3" fmla="*/ 47 h 52"/>
                <a:gd name="T4" fmla="*/ 133 w 139"/>
                <a:gd name="T5" fmla="*/ 49 h 52"/>
                <a:gd name="T6" fmla="*/ 139 w 139"/>
                <a:gd name="T7" fmla="*/ 45 h 52"/>
                <a:gd name="T8" fmla="*/ 137 w 139"/>
                <a:gd name="T9" fmla="*/ 42 h 52"/>
                <a:gd name="T10" fmla="*/ 134 w 139"/>
                <a:gd name="T11" fmla="*/ 39 h 52"/>
                <a:gd name="T12" fmla="*/ 128 w 139"/>
                <a:gd name="T13" fmla="*/ 37 h 52"/>
                <a:gd name="T14" fmla="*/ 123 w 139"/>
                <a:gd name="T15" fmla="*/ 37 h 52"/>
                <a:gd name="T16" fmla="*/ 122 w 139"/>
                <a:gd name="T17" fmla="*/ 31 h 52"/>
                <a:gd name="T18" fmla="*/ 118 w 139"/>
                <a:gd name="T19" fmla="*/ 30 h 52"/>
                <a:gd name="T20" fmla="*/ 111 w 139"/>
                <a:gd name="T21" fmla="*/ 29 h 52"/>
                <a:gd name="T22" fmla="*/ 109 w 139"/>
                <a:gd name="T23" fmla="*/ 27 h 52"/>
                <a:gd name="T24" fmla="*/ 104 w 139"/>
                <a:gd name="T25" fmla="*/ 24 h 52"/>
                <a:gd name="T26" fmla="*/ 97 w 139"/>
                <a:gd name="T27" fmla="*/ 21 h 52"/>
                <a:gd name="T28" fmla="*/ 91 w 139"/>
                <a:gd name="T29" fmla="*/ 17 h 52"/>
                <a:gd name="T30" fmla="*/ 86 w 139"/>
                <a:gd name="T31" fmla="*/ 16 h 52"/>
                <a:gd name="T32" fmla="*/ 80 w 139"/>
                <a:gd name="T33" fmla="*/ 12 h 52"/>
                <a:gd name="T34" fmla="*/ 75 w 139"/>
                <a:gd name="T35" fmla="*/ 11 h 52"/>
                <a:gd name="T36" fmla="*/ 70 w 139"/>
                <a:gd name="T37" fmla="*/ 10 h 52"/>
                <a:gd name="T38" fmla="*/ 67 w 139"/>
                <a:gd name="T39" fmla="*/ 6 h 52"/>
                <a:gd name="T40" fmla="*/ 63 w 139"/>
                <a:gd name="T41" fmla="*/ 3 h 52"/>
                <a:gd name="T42" fmla="*/ 54 w 139"/>
                <a:gd name="T43" fmla="*/ 3 h 52"/>
                <a:gd name="T44" fmla="*/ 46 w 139"/>
                <a:gd name="T45" fmla="*/ 1 h 52"/>
                <a:gd name="T46" fmla="*/ 38 w 139"/>
                <a:gd name="T47" fmla="*/ 1 h 52"/>
                <a:gd name="T48" fmla="*/ 32 w 139"/>
                <a:gd name="T49" fmla="*/ 2 h 52"/>
                <a:gd name="T50" fmla="*/ 28 w 139"/>
                <a:gd name="T51" fmla="*/ 2 h 52"/>
                <a:gd name="T52" fmla="*/ 22 w 139"/>
                <a:gd name="T53" fmla="*/ 3 h 52"/>
                <a:gd name="T54" fmla="*/ 16 w 139"/>
                <a:gd name="T55" fmla="*/ 3 h 52"/>
                <a:gd name="T56" fmla="*/ 12 w 139"/>
                <a:gd name="T57" fmla="*/ 5 h 52"/>
                <a:gd name="T58" fmla="*/ 6 w 139"/>
                <a:gd name="T59" fmla="*/ 8 h 52"/>
                <a:gd name="T60" fmla="*/ 1 w 139"/>
                <a:gd name="T61" fmla="*/ 12 h 52"/>
                <a:gd name="T62" fmla="*/ 3 w 139"/>
                <a:gd name="T63" fmla="*/ 20 h 52"/>
                <a:gd name="T64" fmla="*/ 8 w 139"/>
                <a:gd name="T65" fmla="*/ 15 h 52"/>
                <a:gd name="T66" fmla="*/ 18 w 139"/>
                <a:gd name="T67" fmla="*/ 14 h 52"/>
                <a:gd name="T68" fmla="*/ 23 w 139"/>
                <a:gd name="T69" fmla="*/ 10 h 52"/>
                <a:gd name="T70" fmla="*/ 29 w 139"/>
                <a:gd name="T71" fmla="*/ 8 h 52"/>
                <a:gd name="T72" fmla="*/ 35 w 139"/>
                <a:gd name="T73" fmla="*/ 9 h 52"/>
                <a:gd name="T74" fmla="*/ 35 w 139"/>
                <a:gd name="T75" fmla="*/ 13 h 52"/>
                <a:gd name="T76" fmla="*/ 39 w 139"/>
                <a:gd name="T77" fmla="*/ 15 h 52"/>
                <a:gd name="T78" fmla="*/ 46 w 139"/>
                <a:gd name="T79" fmla="*/ 17 h 52"/>
                <a:gd name="T80" fmla="*/ 59 w 139"/>
                <a:gd name="T81" fmla="*/ 18 h 52"/>
                <a:gd name="T82" fmla="*/ 66 w 139"/>
                <a:gd name="T83" fmla="*/ 24 h 52"/>
                <a:gd name="T84" fmla="*/ 73 w 139"/>
                <a:gd name="T85" fmla="*/ 24 h 52"/>
                <a:gd name="T86" fmla="*/ 79 w 139"/>
                <a:gd name="T87" fmla="*/ 26 h 52"/>
                <a:gd name="T88" fmla="*/ 83 w 139"/>
                <a:gd name="T89" fmla="*/ 32 h 52"/>
                <a:gd name="T90" fmla="*/ 90 w 139"/>
                <a:gd name="T91" fmla="*/ 38 h 52"/>
                <a:gd name="T92" fmla="*/ 97 w 139"/>
                <a:gd name="T93" fmla="*/ 39 h 52"/>
                <a:gd name="T94" fmla="*/ 99 w 139"/>
                <a:gd name="T95" fmla="*/ 43 h 52"/>
                <a:gd name="T96" fmla="*/ 94 w 139"/>
                <a:gd name="T97" fmla="*/ 48 h 52"/>
                <a:gd name="T98" fmla="*/ 100 w 139"/>
                <a:gd name="T99" fmla="*/ 49 h 52"/>
                <a:gd name="T100" fmla="*/ 108 w 139"/>
                <a:gd name="T101" fmla="*/ 49 h 52"/>
                <a:gd name="T102" fmla="*/ 118 w 139"/>
                <a:gd name="T103" fmla="*/ 48 h 52"/>
                <a:gd name="T104" fmla="*/ 124 w 139"/>
                <a:gd name="T105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9" h="52">
                  <a:moveTo>
                    <a:pt x="124" y="50"/>
                  </a:moveTo>
                  <a:cubicBezTo>
                    <a:pt x="124" y="52"/>
                    <a:pt x="128" y="47"/>
                    <a:pt x="128" y="47"/>
                  </a:cubicBezTo>
                  <a:cubicBezTo>
                    <a:pt x="128" y="47"/>
                    <a:pt x="132" y="48"/>
                    <a:pt x="133" y="49"/>
                  </a:cubicBezTo>
                  <a:cubicBezTo>
                    <a:pt x="134" y="50"/>
                    <a:pt x="139" y="48"/>
                    <a:pt x="139" y="45"/>
                  </a:cubicBezTo>
                  <a:cubicBezTo>
                    <a:pt x="139" y="41"/>
                    <a:pt x="139" y="45"/>
                    <a:pt x="137" y="42"/>
                  </a:cubicBezTo>
                  <a:cubicBezTo>
                    <a:pt x="135" y="40"/>
                    <a:pt x="136" y="41"/>
                    <a:pt x="134" y="39"/>
                  </a:cubicBezTo>
                  <a:cubicBezTo>
                    <a:pt x="132" y="37"/>
                    <a:pt x="131" y="38"/>
                    <a:pt x="128" y="37"/>
                  </a:cubicBezTo>
                  <a:cubicBezTo>
                    <a:pt x="125" y="35"/>
                    <a:pt x="125" y="37"/>
                    <a:pt x="123" y="37"/>
                  </a:cubicBezTo>
                  <a:cubicBezTo>
                    <a:pt x="121" y="36"/>
                    <a:pt x="122" y="33"/>
                    <a:pt x="122" y="31"/>
                  </a:cubicBezTo>
                  <a:cubicBezTo>
                    <a:pt x="121" y="30"/>
                    <a:pt x="119" y="31"/>
                    <a:pt x="118" y="30"/>
                  </a:cubicBezTo>
                  <a:cubicBezTo>
                    <a:pt x="116" y="30"/>
                    <a:pt x="115" y="29"/>
                    <a:pt x="111" y="29"/>
                  </a:cubicBezTo>
                  <a:cubicBezTo>
                    <a:pt x="108" y="28"/>
                    <a:pt x="110" y="29"/>
                    <a:pt x="109" y="27"/>
                  </a:cubicBezTo>
                  <a:cubicBezTo>
                    <a:pt x="108" y="25"/>
                    <a:pt x="107" y="26"/>
                    <a:pt x="104" y="24"/>
                  </a:cubicBezTo>
                  <a:cubicBezTo>
                    <a:pt x="101" y="21"/>
                    <a:pt x="101" y="23"/>
                    <a:pt x="97" y="21"/>
                  </a:cubicBezTo>
                  <a:cubicBezTo>
                    <a:pt x="94" y="19"/>
                    <a:pt x="93" y="18"/>
                    <a:pt x="91" y="17"/>
                  </a:cubicBezTo>
                  <a:cubicBezTo>
                    <a:pt x="90" y="15"/>
                    <a:pt x="87" y="19"/>
                    <a:pt x="86" y="16"/>
                  </a:cubicBezTo>
                  <a:cubicBezTo>
                    <a:pt x="84" y="14"/>
                    <a:pt x="83" y="15"/>
                    <a:pt x="80" y="12"/>
                  </a:cubicBezTo>
                  <a:cubicBezTo>
                    <a:pt x="80" y="12"/>
                    <a:pt x="76" y="12"/>
                    <a:pt x="75" y="11"/>
                  </a:cubicBezTo>
                  <a:cubicBezTo>
                    <a:pt x="74" y="10"/>
                    <a:pt x="72" y="11"/>
                    <a:pt x="70" y="10"/>
                  </a:cubicBezTo>
                  <a:cubicBezTo>
                    <a:pt x="69" y="10"/>
                    <a:pt x="68" y="8"/>
                    <a:pt x="67" y="6"/>
                  </a:cubicBezTo>
                  <a:cubicBezTo>
                    <a:pt x="66" y="4"/>
                    <a:pt x="67" y="4"/>
                    <a:pt x="63" y="3"/>
                  </a:cubicBezTo>
                  <a:cubicBezTo>
                    <a:pt x="60" y="2"/>
                    <a:pt x="57" y="4"/>
                    <a:pt x="54" y="3"/>
                  </a:cubicBezTo>
                  <a:cubicBezTo>
                    <a:pt x="52" y="2"/>
                    <a:pt x="47" y="2"/>
                    <a:pt x="46" y="1"/>
                  </a:cubicBezTo>
                  <a:cubicBezTo>
                    <a:pt x="44" y="1"/>
                    <a:pt x="42" y="1"/>
                    <a:pt x="38" y="1"/>
                  </a:cubicBezTo>
                  <a:cubicBezTo>
                    <a:pt x="34" y="0"/>
                    <a:pt x="34" y="2"/>
                    <a:pt x="32" y="2"/>
                  </a:cubicBezTo>
                  <a:cubicBezTo>
                    <a:pt x="29" y="2"/>
                    <a:pt x="30" y="2"/>
                    <a:pt x="28" y="2"/>
                  </a:cubicBezTo>
                  <a:cubicBezTo>
                    <a:pt x="25" y="2"/>
                    <a:pt x="23" y="3"/>
                    <a:pt x="22" y="3"/>
                  </a:cubicBezTo>
                  <a:cubicBezTo>
                    <a:pt x="20" y="2"/>
                    <a:pt x="19" y="3"/>
                    <a:pt x="16" y="3"/>
                  </a:cubicBezTo>
                  <a:cubicBezTo>
                    <a:pt x="14" y="3"/>
                    <a:pt x="14" y="4"/>
                    <a:pt x="12" y="5"/>
                  </a:cubicBezTo>
                  <a:cubicBezTo>
                    <a:pt x="10" y="6"/>
                    <a:pt x="10" y="7"/>
                    <a:pt x="6" y="8"/>
                  </a:cubicBezTo>
                  <a:cubicBezTo>
                    <a:pt x="2" y="10"/>
                    <a:pt x="2" y="11"/>
                    <a:pt x="1" y="12"/>
                  </a:cubicBezTo>
                  <a:cubicBezTo>
                    <a:pt x="0" y="12"/>
                    <a:pt x="2" y="18"/>
                    <a:pt x="3" y="20"/>
                  </a:cubicBezTo>
                  <a:cubicBezTo>
                    <a:pt x="3" y="20"/>
                    <a:pt x="5" y="18"/>
                    <a:pt x="8" y="15"/>
                  </a:cubicBezTo>
                  <a:cubicBezTo>
                    <a:pt x="10" y="12"/>
                    <a:pt x="11" y="16"/>
                    <a:pt x="18" y="14"/>
                  </a:cubicBezTo>
                  <a:cubicBezTo>
                    <a:pt x="20" y="14"/>
                    <a:pt x="22" y="13"/>
                    <a:pt x="23" y="10"/>
                  </a:cubicBezTo>
                  <a:cubicBezTo>
                    <a:pt x="25" y="8"/>
                    <a:pt x="26" y="9"/>
                    <a:pt x="29" y="8"/>
                  </a:cubicBezTo>
                  <a:cubicBezTo>
                    <a:pt x="32" y="7"/>
                    <a:pt x="34" y="8"/>
                    <a:pt x="35" y="9"/>
                  </a:cubicBezTo>
                  <a:cubicBezTo>
                    <a:pt x="37" y="10"/>
                    <a:pt x="36" y="11"/>
                    <a:pt x="35" y="13"/>
                  </a:cubicBezTo>
                  <a:cubicBezTo>
                    <a:pt x="35" y="16"/>
                    <a:pt x="37" y="14"/>
                    <a:pt x="39" y="15"/>
                  </a:cubicBezTo>
                  <a:cubicBezTo>
                    <a:pt x="41" y="16"/>
                    <a:pt x="42" y="17"/>
                    <a:pt x="46" y="17"/>
                  </a:cubicBezTo>
                  <a:cubicBezTo>
                    <a:pt x="51" y="18"/>
                    <a:pt x="56" y="19"/>
                    <a:pt x="59" y="18"/>
                  </a:cubicBezTo>
                  <a:cubicBezTo>
                    <a:pt x="62" y="18"/>
                    <a:pt x="62" y="18"/>
                    <a:pt x="66" y="24"/>
                  </a:cubicBezTo>
                  <a:cubicBezTo>
                    <a:pt x="71" y="29"/>
                    <a:pt x="69" y="25"/>
                    <a:pt x="73" y="24"/>
                  </a:cubicBezTo>
                  <a:cubicBezTo>
                    <a:pt x="76" y="24"/>
                    <a:pt x="76" y="25"/>
                    <a:pt x="79" y="26"/>
                  </a:cubicBezTo>
                  <a:cubicBezTo>
                    <a:pt x="81" y="27"/>
                    <a:pt x="82" y="31"/>
                    <a:pt x="83" y="32"/>
                  </a:cubicBezTo>
                  <a:cubicBezTo>
                    <a:pt x="83" y="34"/>
                    <a:pt x="89" y="37"/>
                    <a:pt x="90" y="38"/>
                  </a:cubicBezTo>
                  <a:cubicBezTo>
                    <a:pt x="92" y="39"/>
                    <a:pt x="96" y="38"/>
                    <a:pt x="97" y="39"/>
                  </a:cubicBezTo>
                  <a:cubicBezTo>
                    <a:pt x="98" y="40"/>
                    <a:pt x="100" y="41"/>
                    <a:pt x="99" y="43"/>
                  </a:cubicBezTo>
                  <a:cubicBezTo>
                    <a:pt x="98" y="45"/>
                    <a:pt x="95" y="47"/>
                    <a:pt x="94" y="48"/>
                  </a:cubicBezTo>
                  <a:cubicBezTo>
                    <a:pt x="92" y="50"/>
                    <a:pt x="96" y="51"/>
                    <a:pt x="100" y="49"/>
                  </a:cubicBezTo>
                  <a:cubicBezTo>
                    <a:pt x="105" y="48"/>
                    <a:pt x="107" y="49"/>
                    <a:pt x="108" y="49"/>
                  </a:cubicBezTo>
                  <a:cubicBezTo>
                    <a:pt x="110" y="49"/>
                    <a:pt x="117" y="48"/>
                    <a:pt x="118" y="48"/>
                  </a:cubicBezTo>
                  <a:cubicBezTo>
                    <a:pt x="120" y="48"/>
                    <a:pt x="123" y="48"/>
                    <a:pt x="124" y="5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08" name="Freeform 67"/>
            <p:cNvSpPr>
              <a:spLocks/>
            </p:cNvSpPr>
            <p:nvPr/>
          </p:nvSpPr>
          <p:spPr bwMode="auto">
            <a:xfrm>
              <a:off x="3305" y="2274"/>
              <a:ext cx="6" cy="8"/>
            </a:xfrm>
            <a:custGeom>
              <a:avLst/>
              <a:gdLst>
                <a:gd name="T0" fmla="*/ 3 w 8"/>
                <a:gd name="T1" fmla="*/ 1 h 10"/>
                <a:gd name="T2" fmla="*/ 1 w 8"/>
                <a:gd name="T3" fmla="*/ 6 h 10"/>
                <a:gd name="T4" fmla="*/ 4 w 8"/>
                <a:gd name="T5" fmla="*/ 8 h 10"/>
                <a:gd name="T6" fmla="*/ 8 w 8"/>
                <a:gd name="T7" fmla="*/ 7 h 10"/>
                <a:gd name="T8" fmla="*/ 3 w 8"/>
                <a:gd name="T9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3" y="1"/>
                  </a:moveTo>
                  <a:cubicBezTo>
                    <a:pt x="0" y="1"/>
                    <a:pt x="0" y="4"/>
                    <a:pt x="1" y="6"/>
                  </a:cubicBezTo>
                  <a:cubicBezTo>
                    <a:pt x="2" y="7"/>
                    <a:pt x="1" y="8"/>
                    <a:pt x="4" y="8"/>
                  </a:cubicBezTo>
                  <a:cubicBezTo>
                    <a:pt x="7" y="8"/>
                    <a:pt x="8" y="10"/>
                    <a:pt x="8" y="7"/>
                  </a:cubicBezTo>
                  <a:cubicBezTo>
                    <a:pt x="8" y="4"/>
                    <a:pt x="6" y="0"/>
                    <a:pt x="3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09" name="Freeform 68"/>
            <p:cNvSpPr>
              <a:spLocks/>
            </p:cNvSpPr>
            <p:nvPr/>
          </p:nvSpPr>
          <p:spPr bwMode="auto">
            <a:xfrm>
              <a:off x="3353" y="2311"/>
              <a:ext cx="23" cy="9"/>
            </a:xfrm>
            <a:custGeom>
              <a:avLst/>
              <a:gdLst>
                <a:gd name="T0" fmla="*/ 18 w 31"/>
                <a:gd name="T1" fmla="*/ 1 h 13"/>
                <a:gd name="T2" fmla="*/ 9 w 31"/>
                <a:gd name="T3" fmla="*/ 0 h 13"/>
                <a:gd name="T4" fmla="*/ 0 w 31"/>
                <a:gd name="T5" fmla="*/ 3 h 13"/>
                <a:gd name="T6" fmla="*/ 5 w 31"/>
                <a:gd name="T7" fmla="*/ 9 h 13"/>
                <a:gd name="T8" fmla="*/ 10 w 31"/>
                <a:gd name="T9" fmla="*/ 12 h 13"/>
                <a:gd name="T10" fmla="*/ 15 w 31"/>
                <a:gd name="T11" fmla="*/ 10 h 13"/>
                <a:gd name="T12" fmla="*/ 20 w 31"/>
                <a:gd name="T13" fmla="*/ 10 h 13"/>
                <a:gd name="T14" fmla="*/ 28 w 31"/>
                <a:gd name="T15" fmla="*/ 8 h 13"/>
                <a:gd name="T16" fmla="*/ 25 w 31"/>
                <a:gd name="T17" fmla="*/ 4 h 13"/>
                <a:gd name="T18" fmla="*/ 18 w 31"/>
                <a:gd name="T1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" h="13">
                  <a:moveTo>
                    <a:pt x="18" y="1"/>
                  </a:moveTo>
                  <a:cubicBezTo>
                    <a:pt x="15" y="0"/>
                    <a:pt x="11" y="0"/>
                    <a:pt x="9" y="0"/>
                  </a:cubicBezTo>
                  <a:cubicBezTo>
                    <a:pt x="6" y="0"/>
                    <a:pt x="0" y="2"/>
                    <a:pt x="0" y="3"/>
                  </a:cubicBezTo>
                  <a:cubicBezTo>
                    <a:pt x="1" y="6"/>
                    <a:pt x="3" y="7"/>
                    <a:pt x="5" y="9"/>
                  </a:cubicBezTo>
                  <a:cubicBezTo>
                    <a:pt x="7" y="11"/>
                    <a:pt x="8" y="10"/>
                    <a:pt x="10" y="12"/>
                  </a:cubicBezTo>
                  <a:cubicBezTo>
                    <a:pt x="13" y="13"/>
                    <a:pt x="12" y="12"/>
                    <a:pt x="15" y="10"/>
                  </a:cubicBezTo>
                  <a:cubicBezTo>
                    <a:pt x="18" y="8"/>
                    <a:pt x="18" y="10"/>
                    <a:pt x="20" y="10"/>
                  </a:cubicBezTo>
                  <a:cubicBezTo>
                    <a:pt x="22" y="9"/>
                    <a:pt x="26" y="9"/>
                    <a:pt x="28" y="8"/>
                  </a:cubicBezTo>
                  <a:cubicBezTo>
                    <a:pt x="31" y="7"/>
                    <a:pt x="28" y="8"/>
                    <a:pt x="25" y="4"/>
                  </a:cubicBezTo>
                  <a:cubicBezTo>
                    <a:pt x="21" y="0"/>
                    <a:pt x="22" y="3"/>
                    <a:pt x="18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10" name="Freeform 69"/>
            <p:cNvSpPr>
              <a:spLocks/>
            </p:cNvSpPr>
            <p:nvPr/>
          </p:nvSpPr>
          <p:spPr bwMode="auto">
            <a:xfrm>
              <a:off x="3392" y="2293"/>
              <a:ext cx="59" cy="27"/>
            </a:xfrm>
            <a:custGeom>
              <a:avLst/>
              <a:gdLst>
                <a:gd name="T0" fmla="*/ 47 w 79"/>
                <a:gd name="T1" fmla="*/ 26 h 37"/>
                <a:gd name="T2" fmla="*/ 53 w 79"/>
                <a:gd name="T3" fmla="*/ 26 h 37"/>
                <a:gd name="T4" fmla="*/ 59 w 79"/>
                <a:gd name="T5" fmla="*/ 25 h 37"/>
                <a:gd name="T6" fmla="*/ 66 w 79"/>
                <a:gd name="T7" fmla="*/ 24 h 37"/>
                <a:gd name="T8" fmla="*/ 75 w 79"/>
                <a:gd name="T9" fmla="*/ 24 h 37"/>
                <a:gd name="T10" fmla="*/ 79 w 79"/>
                <a:gd name="T11" fmla="*/ 20 h 37"/>
                <a:gd name="T12" fmla="*/ 66 w 79"/>
                <a:gd name="T13" fmla="*/ 13 h 37"/>
                <a:gd name="T14" fmla="*/ 60 w 79"/>
                <a:gd name="T15" fmla="*/ 11 h 37"/>
                <a:gd name="T16" fmla="*/ 57 w 79"/>
                <a:gd name="T17" fmla="*/ 7 h 37"/>
                <a:gd name="T18" fmla="*/ 49 w 79"/>
                <a:gd name="T19" fmla="*/ 6 h 37"/>
                <a:gd name="T20" fmla="*/ 43 w 79"/>
                <a:gd name="T21" fmla="*/ 6 h 37"/>
                <a:gd name="T22" fmla="*/ 36 w 79"/>
                <a:gd name="T23" fmla="*/ 7 h 37"/>
                <a:gd name="T24" fmla="*/ 31 w 79"/>
                <a:gd name="T25" fmla="*/ 6 h 37"/>
                <a:gd name="T26" fmla="*/ 24 w 79"/>
                <a:gd name="T27" fmla="*/ 1 h 37"/>
                <a:gd name="T28" fmla="*/ 16 w 79"/>
                <a:gd name="T29" fmla="*/ 4 h 37"/>
                <a:gd name="T30" fmla="*/ 18 w 79"/>
                <a:gd name="T31" fmla="*/ 8 h 37"/>
                <a:gd name="T32" fmla="*/ 22 w 79"/>
                <a:gd name="T33" fmla="*/ 10 h 37"/>
                <a:gd name="T34" fmla="*/ 23 w 79"/>
                <a:gd name="T35" fmla="*/ 15 h 37"/>
                <a:gd name="T36" fmla="*/ 25 w 79"/>
                <a:gd name="T37" fmla="*/ 19 h 37"/>
                <a:gd name="T38" fmla="*/ 30 w 79"/>
                <a:gd name="T39" fmla="*/ 23 h 37"/>
                <a:gd name="T40" fmla="*/ 25 w 79"/>
                <a:gd name="T41" fmla="*/ 25 h 37"/>
                <a:gd name="T42" fmla="*/ 20 w 79"/>
                <a:gd name="T43" fmla="*/ 24 h 37"/>
                <a:gd name="T44" fmla="*/ 12 w 79"/>
                <a:gd name="T45" fmla="*/ 21 h 37"/>
                <a:gd name="T46" fmla="*/ 2 w 79"/>
                <a:gd name="T47" fmla="*/ 23 h 37"/>
                <a:gd name="T48" fmla="*/ 4 w 79"/>
                <a:gd name="T49" fmla="*/ 28 h 37"/>
                <a:gd name="T50" fmla="*/ 6 w 79"/>
                <a:gd name="T51" fmla="*/ 31 h 37"/>
                <a:gd name="T52" fmla="*/ 10 w 79"/>
                <a:gd name="T53" fmla="*/ 29 h 37"/>
                <a:gd name="T54" fmla="*/ 14 w 79"/>
                <a:gd name="T55" fmla="*/ 29 h 37"/>
                <a:gd name="T56" fmla="*/ 21 w 79"/>
                <a:gd name="T57" fmla="*/ 29 h 37"/>
                <a:gd name="T58" fmla="*/ 26 w 79"/>
                <a:gd name="T59" fmla="*/ 29 h 37"/>
                <a:gd name="T60" fmla="*/ 33 w 79"/>
                <a:gd name="T61" fmla="*/ 29 h 37"/>
                <a:gd name="T62" fmla="*/ 36 w 79"/>
                <a:gd name="T63" fmla="*/ 31 h 37"/>
                <a:gd name="T64" fmla="*/ 43 w 79"/>
                <a:gd name="T65" fmla="*/ 35 h 37"/>
                <a:gd name="T66" fmla="*/ 43 w 79"/>
                <a:gd name="T67" fmla="*/ 31 h 37"/>
                <a:gd name="T68" fmla="*/ 47 w 79"/>
                <a:gd name="T69" fmla="*/ 2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9" h="37">
                  <a:moveTo>
                    <a:pt x="47" y="26"/>
                  </a:moveTo>
                  <a:cubicBezTo>
                    <a:pt x="48" y="25"/>
                    <a:pt x="53" y="26"/>
                    <a:pt x="53" y="26"/>
                  </a:cubicBezTo>
                  <a:cubicBezTo>
                    <a:pt x="54" y="25"/>
                    <a:pt x="57" y="26"/>
                    <a:pt x="59" y="25"/>
                  </a:cubicBezTo>
                  <a:cubicBezTo>
                    <a:pt x="60" y="25"/>
                    <a:pt x="64" y="25"/>
                    <a:pt x="66" y="24"/>
                  </a:cubicBezTo>
                  <a:cubicBezTo>
                    <a:pt x="68" y="24"/>
                    <a:pt x="72" y="24"/>
                    <a:pt x="75" y="24"/>
                  </a:cubicBezTo>
                  <a:cubicBezTo>
                    <a:pt x="78" y="24"/>
                    <a:pt x="79" y="24"/>
                    <a:pt x="79" y="20"/>
                  </a:cubicBezTo>
                  <a:cubicBezTo>
                    <a:pt x="79" y="18"/>
                    <a:pt x="75" y="17"/>
                    <a:pt x="66" y="13"/>
                  </a:cubicBezTo>
                  <a:cubicBezTo>
                    <a:pt x="57" y="9"/>
                    <a:pt x="62" y="13"/>
                    <a:pt x="60" y="11"/>
                  </a:cubicBezTo>
                  <a:cubicBezTo>
                    <a:pt x="58" y="10"/>
                    <a:pt x="58" y="10"/>
                    <a:pt x="57" y="7"/>
                  </a:cubicBezTo>
                  <a:cubicBezTo>
                    <a:pt x="55" y="4"/>
                    <a:pt x="51" y="7"/>
                    <a:pt x="49" y="6"/>
                  </a:cubicBezTo>
                  <a:cubicBezTo>
                    <a:pt x="47" y="5"/>
                    <a:pt x="47" y="6"/>
                    <a:pt x="43" y="6"/>
                  </a:cubicBezTo>
                  <a:cubicBezTo>
                    <a:pt x="38" y="7"/>
                    <a:pt x="38" y="8"/>
                    <a:pt x="36" y="7"/>
                  </a:cubicBezTo>
                  <a:cubicBezTo>
                    <a:pt x="35" y="6"/>
                    <a:pt x="34" y="7"/>
                    <a:pt x="31" y="6"/>
                  </a:cubicBezTo>
                  <a:cubicBezTo>
                    <a:pt x="28" y="5"/>
                    <a:pt x="28" y="3"/>
                    <a:pt x="24" y="1"/>
                  </a:cubicBezTo>
                  <a:cubicBezTo>
                    <a:pt x="20" y="0"/>
                    <a:pt x="19" y="3"/>
                    <a:pt x="16" y="4"/>
                  </a:cubicBezTo>
                  <a:cubicBezTo>
                    <a:pt x="14" y="6"/>
                    <a:pt x="17" y="7"/>
                    <a:pt x="18" y="8"/>
                  </a:cubicBezTo>
                  <a:cubicBezTo>
                    <a:pt x="18" y="10"/>
                    <a:pt x="21" y="9"/>
                    <a:pt x="22" y="10"/>
                  </a:cubicBezTo>
                  <a:cubicBezTo>
                    <a:pt x="23" y="11"/>
                    <a:pt x="24" y="13"/>
                    <a:pt x="23" y="15"/>
                  </a:cubicBezTo>
                  <a:cubicBezTo>
                    <a:pt x="22" y="17"/>
                    <a:pt x="24" y="17"/>
                    <a:pt x="25" y="19"/>
                  </a:cubicBezTo>
                  <a:cubicBezTo>
                    <a:pt x="26" y="22"/>
                    <a:pt x="29" y="21"/>
                    <a:pt x="30" y="23"/>
                  </a:cubicBezTo>
                  <a:cubicBezTo>
                    <a:pt x="31" y="25"/>
                    <a:pt x="27" y="25"/>
                    <a:pt x="25" y="25"/>
                  </a:cubicBezTo>
                  <a:cubicBezTo>
                    <a:pt x="22" y="25"/>
                    <a:pt x="22" y="25"/>
                    <a:pt x="20" y="24"/>
                  </a:cubicBezTo>
                  <a:cubicBezTo>
                    <a:pt x="18" y="23"/>
                    <a:pt x="14" y="22"/>
                    <a:pt x="12" y="21"/>
                  </a:cubicBezTo>
                  <a:cubicBezTo>
                    <a:pt x="9" y="20"/>
                    <a:pt x="4" y="22"/>
                    <a:pt x="2" y="23"/>
                  </a:cubicBezTo>
                  <a:cubicBezTo>
                    <a:pt x="0" y="25"/>
                    <a:pt x="2" y="27"/>
                    <a:pt x="4" y="28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6" y="31"/>
                    <a:pt x="8" y="31"/>
                    <a:pt x="10" y="29"/>
                  </a:cubicBezTo>
                  <a:cubicBezTo>
                    <a:pt x="11" y="28"/>
                    <a:pt x="12" y="28"/>
                    <a:pt x="14" y="29"/>
                  </a:cubicBezTo>
                  <a:cubicBezTo>
                    <a:pt x="16" y="30"/>
                    <a:pt x="19" y="29"/>
                    <a:pt x="21" y="29"/>
                  </a:cubicBezTo>
                  <a:cubicBezTo>
                    <a:pt x="23" y="29"/>
                    <a:pt x="24" y="29"/>
                    <a:pt x="26" y="29"/>
                  </a:cubicBezTo>
                  <a:cubicBezTo>
                    <a:pt x="29" y="29"/>
                    <a:pt x="30" y="29"/>
                    <a:pt x="33" y="29"/>
                  </a:cubicBezTo>
                  <a:cubicBezTo>
                    <a:pt x="35" y="30"/>
                    <a:pt x="34" y="30"/>
                    <a:pt x="36" y="31"/>
                  </a:cubicBezTo>
                  <a:cubicBezTo>
                    <a:pt x="37" y="32"/>
                    <a:pt x="40" y="34"/>
                    <a:pt x="43" y="35"/>
                  </a:cubicBezTo>
                  <a:cubicBezTo>
                    <a:pt x="45" y="37"/>
                    <a:pt x="43" y="34"/>
                    <a:pt x="43" y="31"/>
                  </a:cubicBezTo>
                  <a:cubicBezTo>
                    <a:pt x="43" y="29"/>
                    <a:pt x="46" y="27"/>
                    <a:pt x="47" y="2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11" name="Freeform 70"/>
            <p:cNvSpPr>
              <a:spLocks/>
            </p:cNvSpPr>
            <p:nvPr/>
          </p:nvSpPr>
          <p:spPr bwMode="auto">
            <a:xfrm>
              <a:off x="3463" y="2311"/>
              <a:ext cx="18" cy="7"/>
            </a:xfrm>
            <a:custGeom>
              <a:avLst/>
              <a:gdLst>
                <a:gd name="T0" fmla="*/ 20 w 24"/>
                <a:gd name="T1" fmla="*/ 0 h 9"/>
                <a:gd name="T2" fmla="*/ 13 w 24"/>
                <a:gd name="T3" fmla="*/ 0 h 9"/>
                <a:gd name="T4" fmla="*/ 3 w 24"/>
                <a:gd name="T5" fmla="*/ 1 h 9"/>
                <a:gd name="T6" fmla="*/ 3 w 24"/>
                <a:gd name="T7" fmla="*/ 6 h 9"/>
                <a:gd name="T8" fmla="*/ 6 w 24"/>
                <a:gd name="T9" fmla="*/ 9 h 9"/>
                <a:gd name="T10" fmla="*/ 12 w 24"/>
                <a:gd name="T11" fmla="*/ 8 h 9"/>
                <a:gd name="T12" fmla="*/ 17 w 24"/>
                <a:gd name="T13" fmla="*/ 7 h 9"/>
                <a:gd name="T14" fmla="*/ 22 w 24"/>
                <a:gd name="T15" fmla="*/ 6 h 9"/>
                <a:gd name="T16" fmla="*/ 23 w 24"/>
                <a:gd name="T17" fmla="*/ 2 h 9"/>
                <a:gd name="T18" fmla="*/ 20 w 24"/>
                <a:gd name="T1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9">
                  <a:moveTo>
                    <a:pt x="20" y="0"/>
                  </a:moveTo>
                  <a:cubicBezTo>
                    <a:pt x="17" y="0"/>
                    <a:pt x="16" y="0"/>
                    <a:pt x="13" y="0"/>
                  </a:cubicBezTo>
                  <a:cubicBezTo>
                    <a:pt x="10" y="0"/>
                    <a:pt x="6" y="0"/>
                    <a:pt x="3" y="1"/>
                  </a:cubicBezTo>
                  <a:cubicBezTo>
                    <a:pt x="0" y="2"/>
                    <a:pt x="2" y="4"/>
                    <a:pt x="3" y="6"/>
                  </a:cubicBezTo>
                  <a:cubicBezTo>
                    <a:pt x="3" y="6"/>
                    <a:pt x="5" y="9"/>
                    <a:pt x="6" y="9"/>
                  </a:cubicBezTo>
                  <a:cubicBezTo>
                    <a:pt x="7" y="9"/>
                    <a:pt x="9" y="9"/>
                    <a:pt x="12" y="8"/>
                  </a:cubicBezTo>
                  <a:cubicBezTo>
                    <a:pt x="15" y="7"/>
                    <a:pt x="16" y="7"/>
                    <a:pt x="17" y="7"/>
                  </a:cubicBezTo>
                  <a:cubicBezTo>
                    <a:pt x="18" y="6"/>
                    <a:pt x="19" y="7"/>
                    <a:pt x="22" y="6"/>
                  </a:cubicBezTo>
                  <a:cubicBezTo>
                    <a:pt x="24" y="5"/>
                    <a:pt x="24" y="4"/>
                    <a:pt x="23" y="2"/>
                  </a:cubicBezTo>
                  <a:cubicBezTo>
                    <a:pt x="22" y="0"/>
                    <a:pt x="23" y="0"/>
                    <a:pt x="20" y="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12" name="Freeform 71"/>
            <p:cNvSpPr>
              <a:spLocks/>
            </p:cNvSpPr>
            <p:nvPr/>
          </p:nvSpPr>
          <p:spPr bwMode="auto">
            <a:xfrm>
              <a:off x="3352" y="2239"/>
              <a:ext cx="8" cy="13"/>
            </a:xfrm>
            <a:custGeom>
              <a:avLst/>
              <a:gdLst>
                <a:gd name="T0" fmla="*/ 6 w 10"/>
                <a:gd name="T1" fmla="*/ 2 h 18"/>
                <a:gd name="T2" fmla="*/ 4 w 10"/>
                <a:gd name="T3" fmla="*/ 0 h 18"/>
                <a:gd name="T4" fmla="*/ 2 w 10"/>
                <a:gd name="T5" fmla="*/ 7 h 18"/>
                <a:gd name="T6" fmla="*/ 3 w 10"/>
                <a:gd name="T7" fmla="*/ 12 h 18"/>
                <a:gd name="T8" fmla="*/ 6 w 10"/>
                <a:gd name="T9" fmla="*/ 14 h 18"/>
                <a:gd name="T10" fmla="*/ 9 w 10"/>
                <a:gd name="T11" fmla="*/ 14 h 18"/>
                <a:gd name="T12" fmla="*/ 9 w 10"/>
                <a:gd name="T13" fmla="*/ 8 h 18"/>
                <a:gd name="T14" fmla="*/ 6 w 10"/>
                <a:gd name="T15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18">
                  <a:moveTo>
                    <a:pt x="6" y="2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2"/>
                    <a:pt x="2" y="5"/>
                    <a:pt x="2" y="7"/>
                  </a:cubicBezTo>
                  <a:cubicBezTo>
                    <a:pt x="3" y="9"/>
                    <a:pt x="0" y="11"/>
                    <a:pt x="3" y="12"/>
                  </a:cubicBezTo>
                  <a:cubicBezTo>
                    <a:pt x="5" y="12"/>
                    <a:pt x="4" y="12"/>
                    <a:pt x="6" y="14"/>
                  </a:cubicBezTo>
                  <a:cubicBezTo>
                    <a:pt x="7" y="15"/>
                    <a:pt x="7" y="18"/>
                    <a:pt x="9" y="14"/>
                  </a:cubicBezTo>
                  <a:cubicBezTo>
                    <a:pt x="10" y="11"/>
                    <a:pt x="10" y="10"/>
                    <a:pt x="9" y="8"/>
                  </a:cubicBezTo>
                  <a:cubicBezTo>
                    <a:pt x="8" y="6"/>
                    <a:pt x="6" y="2"/>
                    <a:pt x="6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13" name="Freeform 72"/>
            <p:cNvSpPr>
              <a:spLocks/>
            </p:cNvSpPr>
            <p:nvPr/>
          </p:nvSpPr>
          <p:spPr bwMode="auto">
            <a:xfrm>
              <a:off x="3357" y="2251"/>
              <a:ext cx="6" cy="5"/>
            </a:xfrm>
            <a:custGeom>
              <a:avLst/>
              <a:gdLst>
                <a:gd name="T0" fmla="*/ 2 w 7"/>
                <a:gd name="T1" fmla="*/ 6 h 7"/>
                <a:gd name="T2" fmla="*/ 5 w 7"/>
                <a:gd name="T3" fmla="*/ 1 h 7"/>
                <a:gd name="T4" fmla="*/ 0 w 7"/>
                <a:gd name="T5" fmla="*/ 2 h 7"/>
                <a:gd name="T6" fmla="*/ 2 w 7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2" y="6"/>
                  </a:moveTo>
                  <a:cubicBezTo>
                    <a:pt x="5" y="2"/>
                    <a:pt x="7" y="0"/>
                    <a:pt x="5" y="1"/>
                  </a:cubicBezTo>
                  <a:cubicBezTo>
                    <a:pt x="3" y="2"/>
                    <a:pt x="0" y="2"/>
                    <a:pt x="0" y="2"/>
                  </a:cubicBezTo>
                  <a:cubicBezTo>
                    <a:pt x="0" y="5"/>
                    <a:pt x="1" y="7"/>
                    <a:pt x="2" y="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14" name="Freeform 73"/>
            <p:cNvSpPr>
              <a:spLocks/>
            </p:cNvSpPr>
            <p:nvPr/>
          </p:nvSpPr>
          <p:spPr bwMode="auto">
            <a:xfrm>
              <a:off x="3360" y="2223"/>
              <a:ext cx="6" cy="10"/>
            </a:xfrm>
            <a:custGeom>
              <a:avLst/>
              <a:gdLst>
                <a:gd name="T0" fmla="*/ 8 w 8"/>
                <a:gd name="T1" fmla="*/ 2 h 14"/>
                <a:gd name="T2" fmla="*/ 2 w 8"/>
                <a:gd name="T3" fmla="*/ 1 h 14"/>
                <a:gd name="T4" fmla="*/ 5 w 8"/>
                <a:gd name="T5" fmla="*/ 5 h 14"/>
                <a:gd name="T6" fmla="*/ 4 w 8"/>
                <a:gd name="T7" fmla="*/ 9 h 14"/>
                <a:gd name="T8" fmla="*/ 5 w 8"/>
                <a:gd name="T9" fmla="*/ 13 h 14"/>
                <a:gd name="T10" fmla="*/ 7 w 8"/>
                <a:gd name="T11" fmla="*/ 9 h 14"/>
                <a:gd name="T12" fmla="*/ 8 w 8"/>
                <a:gd name="T13" fmla="*/ 4 h 14"/>
                <a:gd name="T14" fmla="*/ 8 w 8"/>
                <a:gd name="T15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14">
                  <a:moveTo>
                    <a:pt x="8" y="2"/>
                  </a:moveTo>
                  <a:cubicBezTo>
                    <a:pt x="7" y="0"/>
                    <a:pt x="6" y="0"/>
                    <a:pt x="2" y="1"/>
                  </a:cubicBezTo>
                  <a:cubicBezTo>
                    <a:pt x="0" y="2"/>
                    <a:pt x="5" y="3"/>
                    <a:pt x="5" y="5"/>
                  </a:cubicBezTo>
                  <a:cubicBezTo>
                    <a:pt x="4" y="6"/>
                    <a:pt x="5" y="7"/>
                    <a:pt x="4" y="9"/>
                  </a:cubicBezTo>
                  <a:cubicBezTo>
                    <a:pt x="4" y="10"/>
                    <a:pt x="5" y="14"/>
                    <a:pt x="5" y="13"/>
                  </a:cubicBezTo>
                  <a:cubicBezTo>
                    <a:pt x="5" y="12"/>
                    <a:pt x="7" y="10"/>
                    <a:pt x="7" y="9"/>
                  </a:cubicBezTo>
                  <a:cubicBezTo>
                    <a:pt x="8" y="7"/>
                    <a:pt x="8" y="6"/>
                    <a:pt x="8" y="4"/>
                  </a:cubicBezTo>
                  <a:cubicBezTo>
                    <a:pt x="7" y="3"/>
                    <a:pt x="8" y="3"/>
                    <a:pt x="8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15" name="Freeform 74"/>
            <p:cNvSpPr>
              <a:spLocks/>
            </p:cNvSpPr>
            <p:nvPr/>
          </p:nvSpPr>
          <p:spPr bwMode="auto">
            <a:xfrm>
              <a:off x="3349" y="2221"/>
              <a:ext cx="8" cy="6"/>
            </a:xfrm>
            <a:custGeom>
              <a:avLst/>
              <a:gdLst>
                <a:gd name="T0" fmla="*/ 8 w 12"/>
                <a:gd name="T1" fmla="*/ 2 h 8"/>
                <a:gd name="T2" fmla="*/ 1 w 12"/>
                <a:gd name="T3" fmla="*/ 3 h 8"/>
                <a:gd name="T4" fmla="*/ 0 w 12"/>
                <a:gd name="T5" fmla="*/ 7 h 8"/>
                <a:gd name="T6" fmla="*/ 6 w 12"/>
                <a:gd name="T7" fmla="*/ 5 h 8"/>
                <a:gd name="T8" fmla="*/ 11 w 12"/>
                <a:gd name="T9" fmla="*/ 4 h 8"/>
                <a:gd name="T10" fmla="*/ 8 w 12"/>
                <a:gd name="T11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8">
                  <a:moveTo>
                    <a:pt x="8" y="2"/>
                  </a:moveTo>
                  <a:cubicBezTo>
                    <a:pt x="6" y="2"/>
                    <a:pt x="2" y="0"/>
                    <a:pt x="1" y="3"/>
                  </a:cubicBezTo>
                  <a:cubicBezTo>
                    <a:pt x="0" y="7"/>
                    <a:pt x="0" y="6"/>
                    <a:pt x="0" y="7"/>
                  </a:cubicBezTo>
                  <a:cubicBezTo>
                    <a:pt x="1" y="8"/>
                    <a:pt x="4" y="6"/>
                    <a:pt x="6" y="5"/>
                  </a:cubicBezTo>
                  <a:cubicBezTo>
                    <a:pt x="8" y="3"/>
                    <a:pt x="9" y="5"/>
                    <a:pt x="11" y="4"/>
                  </a:cubicBezTo>
                  <a:cubicBezTo>
                    <a:pt x="12" y="3"/>
                    <a:pt x="10" y="1"/>
                    <a:pt x="8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16" name="Freeform 75"/>
            <p:cNvSpPr>
              <a:spLocks/>
            </p:cNvSpPr>
            <p:nvPr/>
          </p:nvSpPr>
          <p:spPr bwMode="auto">
            <a:xfrm>
              <a:off x="3392" y="2265"/>
              <a:ext cx="7" cy="9"/>
            </a:xfrm>
            <a:custGeom>
              <a:avLst/>
              <a:gdLst>
                <a:gd name="T0" fmla="*/ 2 w 9"/>
                <a:gd name="T1" fmla="*/ 2 h 12"/>
                <a:gd name="T2" fmla="*/ 5 w 9"/>
                <a:gd name="T3" fmla="*/ 4 h 12"/>
                <a:gd name="T4" fmla="*/ 3 w 9"/>
                <a:gd name="T5" fmla="*/ 8 h 12"/>
                <a:gd name="T6" fmla="*/ 4 w 9"/>
                <a:gd name="T7" fmla="*/ 11 h 12"/>
                <a:gd name="T8" fmla="*/ 6 w 9"/>
                <a:gd name="T9" fmla="*/ 6 h 12"/>
                <a:gd name="T10" fmla="*/ 2 w 9"/>
                <a:gd name="T11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2">
                  <a:moveTo>
                    <a:pt x="2" y="2"/>
                  </a:moveTo>
                  <a:cubicBezTo>
                    <a:pt x="0" y="2"/>
                    <a:pt x="5" y="3"/>
                    <a:pt x="5" y="4"/>
                  </a:cubicBezTo>
                  <a:cubicBezTo>
                    <a:pt x="5" y="6"/>
                    <a:pt x="3" y="6"/>
                    <a:pt x="3" y="8"/>
                  </a:cubicBezTo>
                  <a:cubicBezTo>
                    <a:pt x="3" y="11"/>
                    <a:pt x="1" y="12"/>
                    <a:pt x="4" y="11"/>
                  </a:cubicBezTo>
                  <a:cubicBezTo>
                    <a:pt x="7" y="9"/>
                    <a:pt x="6" y="6"/>
                    <a:pt x="6" y="6"/>
                  </a:cubicBezTo>
                  <a:cubicBezTo>
                    <a:pt x="6" y="6"/>
                    <a:pt x="9" y="0"/>
                    <a:pt x="2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17" name="Freeform 76"/>
            <p:cNvSpPr>
              <a:spLocks/>
            </p:cNvSpPr>
            <p:nvPr/>
          </p:nvSpPr>
          <p:spPr bwMode="auto">
            <a:xfrm>
              <a:off x="2479" y="1880"/>
              <a:ext cx="20" cy="11"/>
            </a:xfrm>
            <a:custGeom>
              <a:avLst/>
              <a:gdLst>
                <a:gd name="T0" fmla="*/ 20 w 27"/>
                <a:gd name="T1" fmla="*/ 1 h 14"/>
                <a:gd name="T2" fmla="*/ 12 w 27"/>
                <a:gd name="T3" fmla="*/ 3 h 14"/>
                <a:gd name="T4" fmla="*/ 4 w 27"/>
                <a:gd name="T5" fmla="*/ 8 h 14"/>
                <a:gd name="T6" fmla="*/ 5 w 27"/>
                <a:gd name="T7" fmla="*/ 13 h 14"/>
                <a:gd name="T8" fmla="*/ 12 w 27"/>
                <a:gd name="T9" fmla="*/ 11 h 14"/>
                <a:gd name="T10" fmla="*/ 18 w 27"/>
                <a:gd name="T11" fmla="*/ 9 h 14"/>
                <a:gd name="T12" fmla="*/ 25 w 27"/>
                <a:gd name="T13" fmla="*/ 8 h 14"/>
                <a:gd name="T14" fmla="*/ 20 w 27"/>
                <a:gd name="T15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14">
                  <a:moveTo>
                    <a:pt x="20" y="1"/>
                  </a:moveTo>
                  <a:cubicBezTo>
                    <a:pt x="17" y="2"/>
                    <a:pt x="15" y="0"/>
                    <a:pt x="12" y="3"/>
                  </a:cubicBezTo>
                  <a:cubicBezTo>
                    <a:pt x="8" y="5"/>
                    <a:pt x="6" y="4"/>
                    <a:pt x="4" y="8"/>
                  </a:cubicBezTo>
                  <a:cubicBezTo>
                    <a:pt x="2" y="11"/>
                    <a:pt x="0" y="13"/>
                    <a:pt x="5" y="13"/>
                  </a:cubicBezTo>
                  <a:cubicBezTo>
                    <a:pt x="9" y="14"/>
                    <a:pt x="9" y="13"/>
                    <a:pt x="12" y="11"/>
                  </a:cubicBezTo>
                  <a:cubicBezTo>
                    <a:pt x="16" y="10"/>
                    <a:pt x="14" y="9"/>
                    <a:pt x="18" y="9"/>
                  </a:cubicBezTo>
                  <a:cubicBezTo>
                    <a:pt x="22" y="9"/>
                    <a:pt x="22" y="11"/>
                    <a:pt x="25" y="8"/>
                  </a:cubicBezTo>
                  <a:cubicBezTo>
                    <a:pt x="27" y="5"/>
                    <a:pt x="25" y="0"/>
                    <a:pt x="20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18" name="Freeform 77"/>
            <p:cNvSpPr>
              <a:spLocks/>
            </p:cNvSpPr>
            <p:nvPr/>
          </p:nvSpPr>
          <p:spPr bwMode="auto">
            <a:xfrm>
              <a:off x="2582" y="1833"/>
              <a:ext cx="27" cy="23"/>
            </a:xfrm>
            <a:custGeom>
              <a:avLst/>
              <a:gdLst>
                <a:gd name="T0" fmla="*/ 32 w 37"/>
                <a:gd name="T1" fmla="*/ 1 h 31"/>
                <a:gd name="T2" fmla="*/ 26 w 37"/>
                <a:gd name="T3" fmla="*/ 5 h 31"/>
                <a:gd name="T4" fmla="*/ 21 w 37"/>
                <a:gd name="T5" fmla="*/ 6 h 31"/>
                <a:gd name="T6" fmla="*/ 15 w 37"/>
                <a:gd name="T7" fmla="*/ 10 h 31"/>
                <a:gd name="T8" fmla="*/ 17 w 37"/>
                <a:gd name="T9" fmla="*/ 15 h 31"/>
                <a:gd name="T10" fmla="*/ 19 w 37"/>
                <a:gd name="T11" fmla="*/ 20 h 31"/>
                <a:gd name="T12" fmla="*/ 15 w 37"/>
                <a:gd name="T13" fmla="*/ 18 h 31"/>
                <a:gd name="T14" fmla="*/ 10 w 37"/>
                <a:gd name="T15" fmla="*/ 15 h 31"/>
                <a:gd name="T16" fmla="*/ 3 w 37"/>
                <a:gd name="T17" fmla="*/ 19 h 31"/>
                <a:gd name="T18" fmla="*/ 5 w 37"/>
                <a:gd name="T19" fmla="*/ 27 h 31"/>
                <a:gd name="T20" fmla="*/ 8 w 37"/>
                <a:gd name="T21" fmla="*/ 28 h 31"/>
                <a:gd name="T22" fmla="*/ 13 w 37"/>
                <a:gd name="T23" fmla="*/ 30 h 31"/>
                <a:gd name="T24" fmla="*/ 23 w 37"/>
                <a:gd name="T25" fmla="*/ 27 h 31"/>
                <a:gd name="T26" fmla="*/ 28 w 37"/>
                <a:gd name="T27" fmla="*/ 24 h 31"/>
                <a:gd name="T28" fmla="*/ 33 w 37"/>
                <a:gd name="T29" fmla="*/ 18 h 31"/>
                <a:gd name="T30" fmla="*/ 31 w 37"/>
                <a:gd name="T31" fmla="*/ 6 h 31"/>
                <a:gd name="T32" fmla="*/ 37 w 37"/>
                <a:gd name="T33" fmla="*/ 2 h 31"/>
                <a:gd name="T34" fmla="*/ 32 w 37"/>
                <a:gd name="T3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7" h="31">
                  <a:moveTo>
                    <a:pt x="32" y="1"/>
                  </a:moveTo>
                  <a:cubicBezTo>
                    <a:pt x="28" y="1"/>
                    <a:pt x="28" y="3"/>
                    <a:pt x="26" y="5"/>
                  </a:cubicBezTo>
                  <a:cubicBezTo>
                    <a:pt x="24" y="6"/>
                    <a:pt x="24" y="8"/>
                    <a:pt x="21" y="6"/>
                  </a:cubicBezTo>
                  <a:cubicBezTo>
                    <a:pt x="18" y="4"/>
                    <a:pt x="17" y="9"/>
                    <a:pt x="15" y="10"/>
                  </a:cubicBezTo>
                  <a:cubicBezTo>
                    <a:pt x="13" y="10"/>
                    <a:pt x="15" y="12"/>
                    <a:pt x="17" y="15"/>
                  </a:cubicBezTo>
                  <a:cubicBezTo>
                    <a:pt x="19" y="18"/>
                    <a:pt x="20" y="18"/>
                    <a:pt x="19" y="20"/>
                  </a:cubicBezTo>
                  <a:cubicBezTo>
                    <a:pt x="18" y="22"/>
                    <a:pt x="16" y="20"/>
                    <a:pt x="15" y="18"/>
                  </a:cubicBezTo>
                  <a:cubicBezTo>
                    <a:pt x="13" y="16"/>
                    <a:pt x="13" y="15"/>
                    <a:pt x="10" y="15"/>
                  </a:cubicBezTo>
                  <a:cubicBezTo>
                    <a:pt x="6" y="14"/>
                    <a:pt x="6" y="17"/>
                    <a:pt x="3" y="19"/>
                  </a:cubicBezTo>
                  <a:cubicBezTo>
                    <a:pt x="0" y="21"/>
                    <a:pt x="4" y="24"/>
                    <a:pt x="5" y="27"/>
                  </a:cubicBezTo>
                  <a:cubicBezTo>
                    <a:pt x="5" y="27"/>
                    <a:pt x="7" y="28"/>
                    <a:pt x="8" y="28"/>
                  </a:cubicBezTo>
                  <a:cubicBezTo>
                    <a:pt x="10" y="29"/>
                    <a:pt x="11" y="29"/>
                    <a:pt x="13" y="30"/>
                  </a:cubicBezTo>
                  <a:cubicBezTo>
                    <a:pt x="15" y="31"/>
                    <a:pt x="20" y="29"/>
                    <a:pt x="23" y="27"/>
                  </a:cubicBezTo>
                  <a:cubicBezTo>
                    <a:pt x="27" y="25"/>
                    <a:pt x="25" y="26"/>
                    <a:pt x="28" y="24"/>
                  </a:cubicBezTo>
                  <a:cubicBezTo>
                    <a:pt x="30" y="21"/>
                    <a:pt x="28" y="21"/>
                    <a:pt x="33" y="18"/>
                  </a:cubicBezTo>
                  <a:cubicBezTo>
                    <a:pt x="35" y="17"/>
                    <a:pt x="35" y="15"/>
                    <a:pt x="31" y="6"/>
                  </a:cubicBezTo>
                  <a:cubicBezTo>
                    <a:pt x="30" y="5"/>
                    <a:pt x="37" y="4"/>
                    <a:pt x="37" y="2"/>
                  </a:cubicBezTo>
                  <a:cubicBezTo>
                    <a:pt x="37" y="0"/>
                    <a:pt x="36" y="0"/>
                    <a:pt x="32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19" name="Line 78"/>
            <p:cNvSpPr>
              <a:spLocks noChangeShapeType="1"/>
            </p:cNvSpPr>
            <p:nvPr/>
          </p:nvSpPr>
          <p:spPr bwMode="auto">
            <a:xfrm>
              <a:off x="3423" y="2797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0" name="Line 79"/>
            <p:cNvSpPr>
              <a:spLocks noChangeShapeType="1"/>
            </p:cNvSpPr>
            <p:nvPr/>
          </p:nvSpPr>
          <p:spPr bwMode="auto">
            <a:xfrm>
              <a:off x="3423" y="2797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1" name="Line 80"/>
            <p:cNvSpPr>
              <a:spLocks noChangeShapeType="1"/>
            </p:cNvSpPr>
            <p:nvPr/>
          </p:nvSpPr>
          <p:spPr bwMode="auto">
            <a:xfrm>
              <a:off x="2800" y="1664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2" name="Line 81"/>
            <p:cNvSpPr>
              <a:spLocks noChangeShapeType="1"/>
            </p:cNvSpPr>
            <p:nvPr/>
          </p:nvSpPr>
          <p:spPr bwMode="auto">
            <a:xfrm>
              <a:off x="2800" y="1664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3" name="Freeform 82"/>
            <p:cNvSpPr>
              <a:spLocks/>
            </p:cNvSpPr>
            <p:nvPr/>
          </p:nvSpPr>
          <p:spPr bwMode="auto">
            <a:xfrm>
              <a:off x="2850" y="1630"/>
              <a:ext cx="0" cy="3"/>
            </a:xfrm>
            <a:custGeom>
              <a:avLst/>
              <a:gdLst>
                <a:gd name="T0" fmla="*/ 1 w 1"/>
                <a:gd name="T1" fmla="*/ 4 h 4"/>
                <a:gd name="T2" fmla="*/ 1 w 1"/>
                <a:gd name="T3" fmla="*/ 4 h 4"/>
                <a:gd name="T4" fmla="*/ 1 w 1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4"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0"/>
                    <a:pt x="0" y="3"/>
                    <a:pt x="1" y="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4" name="Freeform 83"/>
            <p:cNvSpPr>
              <a:spLocks/>
            </p:cNvSpPr>
            <p:nvPr/>
          </p:nvSpPr>
          <p:spPr bwMode="auto">
            <a:xfrm>
              <a:off x="3322" y="1661"/>
              <a:ext cx="0" cy="1"/>
            </a:xfrm>
            <a:custGeom>
              <a:avLst/>
              <a:gdLst>
                <a:gd name="T0" fmla="*/ 1 h 1"/>
                <a:gd name="T1" fmla="*/ 0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5" name="Freeform 84"/>
            <p:cNvSpPr>
              <a:spLocks noEditPoints="1"/>
            </p:cNvSpPr>
            <p:nvPr/>
          </p:nvSpPr>
          <p:spPr bwMode="auto">
            <a:xfrm>
              <a:off x="2451" y="1567"/>
              <a:ext cx="1340" cy="1552"/>
            </a:xfrm>
            <a:custGeom>
              <a:avLst/>
              <a:gdLst>
                <a:gd name="T0" fmla="*/ 1609 w 1799"/>
                <a:gd name="T1" fmla="*/ 1274 h 2085"/>
                <a:gd name="T2" fmla="*/ 1543 w 1799"/>
                <a:gd name="T3" fmla="*/ 1174 h 2085"/>
                <a:gd name="T4" fmla="*/ 1374 w 1799"/>
                <a:gd name="T5" fmla="*/ 1107 h 2085"/>
                <a:gd name="T6" fmla="*/ 1243 w 1799"/>
                <a:gd name="T7" fmla="*/ 1125 h 2085"/>
                <a:gd name="T8" fmla="*/ 1070 w 1799"/>
                <a:gd name="T9" fmla="*/ 1037 h 2085"/>
                <a:gd name="T10" fmla="*/ 964 w 1799"/>
                <a:gd name="T11" fmla="*/ 975 h 2085"/>
                <a:gd name="T12" fmla="*/ 1051 w 1799"/>
                <a:gd name="T13" fmla="*/ 831 h 2085"/>
                <a:gd name="T14" fmla="*/ 1179 w 1799"/>
                <a:gd name="T15" fmla="*/ 853 h 2085"/>
                <a:gd name="T16" fmla="*/ 1251 w 1799"/>
                <a:gd name="T17" fmla="*/ 692 h 2085"/>
                <a:gd name="T18" fmla="*/ 1408 w 1799"/>
                <a:gd name="T19" fmla="*/ 595 h 2085"/>
                <a:gd name="T20" fmla="*/ 1357 w 1799"/>
                <a:gd name="T21" fmla="*/ 533 h 2085"/>
                <a:gd name="T22" fmla="*/ 1494 w 1799"/>
                <a:gd name="T23" fmla="*/ 446 h 2085"/>
                <a:gd name="T24" fmla="*/ 1418 w 1799"/>
                <a:gd name="T25" fmla="*/ 353 h 2085"/>
                <a:gd name="T26" fmla="*/ 1325 w 1799"/>
                <a:gd name="T27" fmla="*/ 304 h 2085"/>
                <a:gd name="T28" fmla="*/ 1234 w 1799"/>
                <a:gd name="T29" fmla="*/ 388 h 2085"/>
                <a:gd name="T30" fmla="*/ 1159 w 1799"/>
                <a:gd name="T31" fmla="*/ 452 h 2085"/>
                <a:gd name="T32" fmla="*/ 987 w 1799"/>
                <a:gd name="T33" fmla="*/ 340 h 2085"/>
                <a:gd name="T34" fmla="*/ 1068 w 1799"/>
                <a:gd name="T35" fmla="*/ 243 h 2085"/>
                <a:gd name="T36" fmla="*/ 1149 w 1799"/>
                <a:gd name="T37" fmla="*/ 186 h 2085"/>
                <a:gd name="T38" fmla="*/ 1113 w 1799"/>
                <a:gd name="T39" fmla="*/ 135 h 2085"/>
                <a:gd name="T40" fmla="*/ 1030 w 1799"/>
                <a:gd name="T41" fmla="*/ 102 h 2085"/>
                <a:gd name="T42" fmla="*/ 976 w 1799"/>
                <a:gd name="T43" fmla="*/ 15 h 2085"/>
                <a:gd name="T44" fmla="*/ 979 w 1799"/>
                <a:gd name="T45" fmla="*/ 162 h 2085"/>
                <a:gd name="T46" fmla="*/ 846 w 1799"/>
                <a:gd name="T47" fmla="*/ 142 h 2085"/>
                <a:gd name="T48" fmla="*/ 811 w 1799"/>
                <a:gd name="T49" fmla="*/ 168 h 2085"/>
                <a:gd name="T50" fmla="*/ 619 w 1799"/>
                <a:gd name="T51" fmla="*/ 109 h 2085"/>
                <a:gd name="T52" fmla="*/ 473 w 1799"/>
                <a:gd name="T53" fmla="*/ 133 h 2085"/>
                <a:gd name="T54" fmla="*/ 413 w 1799"/>
                <a:gd name="T55" fmla="*/ 130 h 2085"/>
                <a:gd name="T56" fmla="*/ 185 w 1799"/>
                <a:gd name="T57" fmla="*/ 83 h 2085"/>
                <a:gd name="T58" fmla="*/ 79 w 1799"/>
                <a:gd name="T59" fmla="*/ 175 h 2085"/>
                <a:gd name="T60" fmla="*/ 12 w 1799"/>
                <a:gd name="T61" fmla="*/ 200 h 2085"/>
                <a:gd name="T62" fmla="*/ 96 w 1799"/>
                <a:gd name="T63" fmla="*/ 242 h 2085"/>
                <a:gd name="T64" fmla="*/ 37 w 1799"/>
                <a:gd name="T65" fmla="*/ 301 h 2085"/>
                <a:gd name="T66" fmla="*/ 80 w 1799"/>
                <a:gd name="T67" fmla="*/ 331 h 2085"/>
                <a:gd name="T68" fmla="*/ 142 w 1799"/>
                <a:gd name="T69" fmla="*/ 363 h 2085"/>
                <a:gd name="T70" fmla="*/ 83 w 1799"/>
                <a:gd name="T71" fmla="*/ 416 h 2085"/>
                <a:gd name="T72" fmla="*/ 188 w 1799"/>
                <a:gd name="T73" fmla="*/ 357 h 2085"/>
                <a:gd name="T74" fmla="*/ 236 w 1799"/>
                <a:gd name="T75" fmla="*/ 304 h 2085"/>
                <a:gd name="T76" fmla="*/ 278 w 1799"/>
                <a:gd name="T77" fmla="*/ 306 h 2085"/>
                <a:gd name="T78" fmla="*/ 381 w 1799"/>
                <a:gd name="T79" fmla="*/ 333 h 2085"/>
                <a:gd name="T80" fmla="*/ 489 w 1799"/>
                <a:gd name="T81" fmla="*/ 400 h 2085"/>
                <a:gd name="T82" fmla="*/ 547 w 1799"/>
                <a:gd name="T83" fmla="*/ 473 h 2085"/>
                <a:gd name="T84" fmla="*/ 611 w 1799"/>
                <a:gd name="T85" fmla="*/ 541 h 2085"/>
                <a:gd name="T86" fmla="*/ 591 w 1799"/>
                <a:gd name="T87" fmla="*/ 665 h 2085"/>
                <a:gd name="T88" fmla="*/ 648 w 1799"/>
                <a:gd name="T89" fmla="*/ 768 h 2085"/>
                <a:gd name="T90" fmla="*/ 715 w 1799"/>
                <a:gd name="T91" fmla="*/ 867 h 2085"/>
                <a:gd name="T92" fmla="*/ 767 w 1799"/>
                <a:gd name="T93" fmla="*/ 897 h 2085"/>
                <a:gd name="T94" fmla="*/ 768 w 1799"/>
                <a:gd name="T95" fmla="*/ 865 h 2085"/>
                <a:gd name="T96" fmla="*/ 844 w 1799"/>
                <a:gd name="T97" fmla="*/ 978 h 2085"/>
                <a:gd name="T98" fmla="*/ 1015 w 1799"/>
                <a:gd name="T99" fmla="*/ 1046 h 2085"/>
                <a:gd name="T100" fmla="*/ 1131 w 1799"/>
                <a:gd name="T101" fmla="*/ 1124 h 2085"/>
                <a:gd name="T102" fmla="*/ 1219 w 1799"/>
                <a:gd name="T103" fmla="*/ 1156 h 2085"/>
                <a:gd name="T104" fmla="*/ 1178 w 1799"/>
                <a:gd name="T105" fmla="*/ 1282 h 2085"/>
                <a:gd name="T106" fmla="*/ 1231 w 1799"/>
                <a:gd name="T107" fmla="*/ 1420 h 2085"/>
                <a:gd name="T108" fmla="*/ 1305 w 1799"/>
                <a:gd name="T109" fmla="*/ 1653 h 2085"/>
                <a:gd name="T110" fmla="*/ 1282 w 1799"/>
                <a:gd name="T111" fmla="*/ 1889 h 2085"/>
                <a:gd name="T112" fmla="*/ 1275 w 1799"/>
                <a:gd name="T113" fmla="*/ 2019 h 2085"/>
                <a:gd name="T114" fmla="*/ 1341 w 1799"/>
                <a:gd name="T115" fmla="*/ 2082 h 2085"/>
                <a:gd name="T116" fmla="*/ 1362 w 1799"/>
                <a:gd name="T117" fmla="*/ 1936 h 2085"/>
                <a:gd name="T118" fmla="*/ 1494 w 1799"/>
                <a:gd name="T119" fmla="*/ 1794 h 2085"/>
                <a:gd name="T120" fmla="*/ 1588 w 1799"/>
                <a:gd name="T121" fmla="*/ 1687 h 2085"/>
                <a:gd name="T122" fmla="*/ 1737 w 1799"/>
                <a:gd name="T123" fmla="*/ 1498 h 20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99" h="2085">
                  <a:moveTo>
                    <a:pt x="1799" y="1343"/>
                  </a:moveTo>
                  <a:cubicBezTo>
                    <a:pt x="1798" y="1342"/>
                    <a:pt x="1798" y="1340"/>
                    <a:pt x="1798" y="1339"/>
                  </a:cubicBezTo>
                  <a:cubicBezTo>
                    <a:pt x="1798" y="1340"/>
                    <a:pt x="1799" y="1340"/>
                    <a:pt x="1798" y="1339"/>
                  </a:cubicBezTo>
                  <a:cubicBezTo>
                    <a:pt x="1798" y="1338"/>
                    <a:pt x="1798" y="1338"/>
                    <a:pt x="1797" y="1337"/>
                  </a:cubicBezTo>
                  <a:cubicBezTo>
                    <a:pt x="1797" y="1337"/>
                    <a:pt x="1797" y="1337"/>
                    <a:pt x="1797" y="1337"/>
                  </a:cubicBezTo>
                  <a:cubicBezTo>
                    <a:pt x="1797" y="1337"/>
                    <a:pt x="1796" y="1336"/>
                    <a:pt x="1796" y="1334"/>
                  </a:cubicBezTo>
                  <a:cubicBezTo>
                    <a:pt x="1790" y="1323"/>
                    <a:pt x="1791" y="1322"/>
                    <a:pt x="1789" y="1322"/>
                  </a:cubicBezTo>
                  <a:cubicBezTo>
                    <a:pt x="1786" y="1322"/>
                    <a:pt x="1784" y="1322"/>
                    <a:pt x="1782" y="1322"/>
                  </a:cubicBezTo>
                  <a:cubicBezTo>
                    <a:pt x="1780" y="1322"/>
                    <a:pt x="1780" y="1321"/>
                    <a:pt x="1778" y="1321"/>
                  </a:cubicBezTo>
                  <a:cubicBezTo>
                    <a:pt x="1776" y="1321"/>
                    <a:pt x="1772" y="1321"/>
                    <a:pt x="1772" y="1321"/>
                  </a:cubicBezTo>
                  <a:cubicBezTo>
                    <a:pt x="1772" y="1321"/>
                    <a:pt x="1771" y="1322"/>
                    <a:pt x="1769" y="1320"/>
                  </a:cubicBezTo>
                  <a:cubicBezTo>
                    <a:pt x="1766" y="1318"/>
                    <a:pt x="1765" y="1317"/>
                    <a:pt x="1765" y="1315"/>
                  </a:cubicBezTo>
                  <a:cubicBezTo>
                    <a:pt x="1764" y="1312"/>
                    <a:pt x="1763" y="1309"/>
                    <a:pt x="1761" y="1308"/>
                  </a:cubicBezTo>
                  <a:cubicBezTo>
                    <a:pt x="1759" y="1306"/>
                    <a:pt x="1757" y="1306"/>
                    <a:pt x="1756" y="1305"/>
                  </a:cubicBezTo>
                  <a:cubicBezTo>
                    <a:pt x="1755" y="1305"/>
                    <a:pt x="1754" y="1303"/>
                    <a:pt x="1752" y="1302"/>
                  </a:cubicBezTo>
                  <a:cubicBezTo>
                    <a:pt x="1750" y="1302"/>
                    <a:pt x="1747" y="1298"/>
                    <a:pt x="1746" y="1298"/>
                  </a:cubicBezTo>
                  <a:cubicBezTo>
                    <a:pt x="1745" y="1298"/>
                    <a:pt x="1743" y="1296"/>
                    <a:pt x="1742" y="1295"/>
                  </a:cubicBezTo>
                  <a:cubicBezTo>
                    <a:pt x="1740" y="1294"/>
                    <a:pt x="1737" y="1292"/>
                    <a:pt x="1736" y="1292"/>
                  </a:cubicBezTo>
                  <a:cubicBezTo>
                    <a:pt x="1735" y="1291"/>
                    <a:pt x="1730" y="1292"/>
                    <a:pt x="1730" y="1291"/>
                  </a:cubicBezTo>
                  <a:cubicBezTo>
                    <a:pt x="1729" y="1290"/>
                    <a:pt x="1728" y="1290"/>
                    <a:pt x="1726" y="1289"/>
                  </a:cubicBezTo>
                  <a:cubicBezTo>
                    <a:pt x="1724" y="1288"/>
                    <a:pt x="1723" y="1287"/>
                    <a:pt x="1720" y="1288"/>
                  </a:cubicBezTo>
                  <a:cubicBezTo>
                    <a:pt x="1717" y="1289"/>
                    <a:pt x="1717" y="1288"/>
                    <a:pt x="1714" y="1290"/>
                  </a:cubicBezTo>
                  <a:cubicBezTo>
                    <a:pt x="1711" y="1292"/>
                    <a:pt x="1711" y="1290"/>
                    <a:pt x="1709" y="1291"/>
                  </a:cubicBezTo>
                  <a:cubicBezTo>
                    <a:pt x="1706" y="1292"/>
                    <a:pt x="1707" y="1290"/>
                    <a:pt x="1704" y="1290"/>
                  </a:cubicBezTo>
                  <a:cubicBezTo>
                    <a:pt x="1701" y="1290"/>
                    <a:pt x="1700" y="1286"/>
                    <a:pt x="1697" y="1287"/>
                  </a:cubicBezTo>
                  <a:cubicBezTo>
                    <a:pt x="1694" y="1288"/>
                    <a:pt x="1694" y="1287"/>
                    <a:pt x="1693" y="1286"/>
                  </a:cubicBezTo>
                  <a:cubicBezTo>
                    <a:pt x="1691" y="1286"/>
                    <a:pt x="1692" y="1284"/>
                    <a:pt x="1689" y="1283"/>
                  </a:cubicBezTo>
                  <a:cubicBezTo>
                    <a:pt x="1685" y="1282"/>
                    <a:pt x="1686" y="1280"/>
                    <a:pt x="1683" y="1282"/>
                  </a:cubicBezTo>
                  <a:cubicBezTo>
                    <a:pt x="1681" y="1284"/>
                    <a:pt x="1684" y="1282"/>
                    <a:pt x="1681" y="1284"/>
                  </a:cubicBezTo>
                  <a:cubicBezTo>
                    <a:pt x="1677" y="1286"/>
                    <a:pt x="1674" y="1287"/>
                    <a:pt x="1674" y="1287"/>
                  </a:cubicBezTo>
                  <a:cubicBezTo>
                    <a:pt x="1671" y="1286"/>
                    <a:pt x="1673" y="1284"/>
                    <a:pt x="1671" y="1286"/>
                  </a:cubicBezTo>
                  <a:cubicBezTo>
                    <a:pt x="1669" y="1288"/>
                    <a:pt x="1672" y="1289"/>
                    <a:pt x="1669" y="1290"/>
                  </a:cubicBezTo>
                  <a:cubicBezTo>
                    <a:pt x="1666" y="1290"/>
                    <a:pt x="1665" y="1289"/>
                    <a:pt x="1667" y="1286"/>
                  </a:cubicBezTo>
                  <a:cubicBezTo>
                    <a:pt x="1669" y="1283"/>
                    <a:pt x="1669" y="1283"/>
                    <a:pt x="1669" y="1281"/>
                  </a:cubicBezTo>
                  <a:cubicBezTo>
                    <a:pt x="1668" y="1276"/>
                    <a:pt x="1668" y="1277"/>
                    <a:pt x="1666" y="1275"/>
                  </a:cubicBezTo>
                  <a:cubicBezTo>
                    <a:pt x="1663" y="1273"/>
                    <a:pt x="1663" y="1274"/>
                    <a:pt x="1661" y="1273"/>
                  </a:cubicBezTo>
                  <a:cubicBezTo>
                    <a:pt x="1659" y="1272"/>
                    <a:pt x="1657" y="1272"/>
                    <a:pt x="1656" y="1271"/>
                  </a:cubicBezTo>
                  <a:cubicBezTo>
                    <a:pt x="1655" y="1270"/>
                    <a:pt x="1654" y="1271"/>
                    <a:pt x="1653" y="1269"/>
                  </a:cubicBezTo>
                  <a:cubicBezTo>
                    <a:pt x="1652" y="1268"/>
                    <a:pt x="1649" y="1268"/>
                    <a:pt x="1648" y="1268"/>
                  </a:cubicBezTo>
                  <a:cubicBezTo>
                    <a:pt x="1646" y="1269"/>
                    <a:pt x="1644" y="1266"/>
                    <a:pt x="1643" y="1267"/>
                  </a:cubicBezTo>
                  <a:cubicBezTo>
                    <a:pt x="1642" y="1267"/>
                    <a:pt x="1640" y="1264"/>
                    <a:pt x="1639" y="1264"/>
                  </a:cubicBezTo>
                  <a:cubicBezTo>
                    <a:pt x="1637" y="1265"/>
                    <a:pt x="1637" y="1262"/>
                    <a:pt x="1635" y="1262"/>
                  </a:cubicBezTo>
                  <a:cubicBezTo>
                    <a:pt x="1634" y="1263"/>
                    <a:pt x="1634" y="1260"/>
                    <a:pt x="1632" y="1260"/>
                  </a:cubicBezTo>
                  <a:cubicBezTo>
                    <a:pt x="1631" y="1260"/>
                    <a:pt x="1630" y="1259"/>
                    <a:pt x="1629" y="1261"/>
                  </a:cubicBezTo>
                  <a:cubicBezTo>
                    <a:pt x="1627" y="1262"/>
                    <a:pt x="1628" y="1260"/>
                    <a:pt x="1626" y="1261"/>
                  </a:cubicBezTo>
                  <a:cubicBezTo>
                    <a:pt x="1625" y="1261"/>
                    <a:pt x="1623" y="1259"/>
                    <a:pt x="1621" y="1261"/>
                  </a:cubicBezTo>
                  <a:cubicBezTo>
                    <a:pt x="1620" y="1263"/>
                    <a:pt x="1620" y="1260"/>
                    <a:pt x="1618" y="1263"/>
                  </a:cubicBezTo>
                  <a:cubicBezTo>
                    <a:pt x="1617" y="1266"/>
                    <a:pt x="1617" y="1267"/>
                    <a:pt x="1615" y="1269"/>
                  </a:cubicBezTo>
                  <a:cubicBezTo>
                    <a:pt x="1612" y="1273"/>
                    <a:pt x="1612" y="1271"/>
                    <a:pt x="1609" y="1274"/>
                  </a:cubicBezTo>
                  <a:cubicBezTo>
                    <a:pt x="1606" y="1277"/>
                    <a:pt x="1607" y="1275"/>
                    <a:pt x="1606" y="1277"/>
                  </a:cubicBezTo>
                  <a:cubicBezTo>
                    <a:pt x="1605" y="1279"/>
                    <a:pt x="1605" y="1278"/>
                    <a:pt x="1603" y="1280"/>
                  </a:cubicBezTo>
                  <a:cubicBezTo>
                    <a:pt x="1601" y="1281"/>
                    <a:pt x="1602" y="1279"/>
                    <a:pt x="1601" y="1281"/>
                  </a:cubicBezTo>
                  <a:cubicBezTo>
                    <a:pt x="1601" y="1283"/>
                    <a:pt x="1601" y="1283"/>
                    <a:pt x="1601" y="1283"/>
                  </a:cubicBezTo>
                  <a:cubicBezTo>
                    <a:pt x="1601" y="1283"/>
                    <a:pt x="1602" y="1277"/>
                    <a:pt x="1599" y="1278"/>
                  </a:cubicBezTo>
                  <a:cubicBezTo>
                    <a:pt x="1596" y="1279"/>
                    <a:pt x="1593" y="1280"/>
                    <a:pt x="1593" y="1280"/>
                  </a:cubicBezTo>
                  <a:cubicBezTo>
                    <a:pt x="1593" y="1280"/>
                    <a:pt x="1590" y="1277"/>
                    <a:pt x="1589" y="1277"/>
                  </a:cubicBezTo>
                  <a:cubicBezTo>
                    <a:pt x="1587" y="1277"/>
                    <a:pt x="1587" y="1276"/>
                    <a:pt x="1586" y="1275"/>
                  </a:cubicBezTo>
                  <a:cubicBezTo>
                    <a:pt x="1583" y="1272"/>
                    <a:pt x="1591" y="1275"/>
                    <a:pt x="1592" y="1275"/>
                  </a:cubicBezTo>
                  <a:cubicBezTo>
                    <a:pt x="1594" y="1275"/>
                    <a:pt x="1592" y="1275"/>
                    <a:pt x="1596" y="1275"/>
                  </a:cubicBezTo>
                  <a:cubicBezTo>
                    <a:pt x="1600" y="1274"/>
                    <a:pt x="1601" y="1275"/>
                    <a:pt x="1603" y="1274"/>
                  </a:cubicBezTo>
                  <a:cubicBezTo>
                    <a:pt x="1605" y="1274"/>
                    <a:pt x="1610" y="1271"/>
                    <a:pt x="1610" y="1271"/>
                  </a:cubicBezTo>
                  <a:cubicBezTo>
                    <a:pt x="1610" y="1271"/>
                    <a:pt x="1611" y="1270"/>
                    <a:pt x="1611" y="1268"/>
                  </a:cubicBezTo>
                  <a:cubicBezTo>
                    <a:pt x="1612" y="1267"/>
                    <a:pt x="1612" y="1266"/>
                    <a:pt x="1612" y="1264"/>
                  </a:cubicBezTo>
                  <a:cubicBezTo>
                    <a:pt x="1613" y="1263"/>
                    <a:pt x="1613" y="1261"/>
                    <a:pt x="1613" y="1259"/>
                  </a:cubicBezTo>
                  <a:cubicBezTo>
                    <a:pt x="1614" y="1258"/>
                    <a:pt x="1615" y="1256"/>
                    <a:pt x="1612" y="1256"/>
                  </a:cubicBezTo>
                  <a:cubicBezTo>
                    <a:pt x="1610" y="1256"/>
                    <a:pt x="1606" y="1256"/>
                    <a:pt x="1604" y="1256"/>
                  </a:cubicBezTo>
                  <a:cubicBezTo>
                    <a:pt x="1603" y="1256"/>
                    <a:pt x="1602" y="1255"/>
                    <a:pt x="1600" y="1256"/>
                  </a:cubicBezTo>
                  <a:cubicBezTo>
                    <a:pt x="1598" y="1257"/>
                    <a:pt x="1598" y="1256"/>
                    <a:pt x="1594" y="1255"/>
                  </a:cubicBezTo>
                  <a:cubicBezTo>
                    <a:pt x="1590" y="1254"/>
                    <a:pt x="1592" y="1251"/>
                    <a:pt x="1588" y="1254"/>
                  </a:cubicBezTo>
                  <a:cubicBezTo>
                    <a:pt x="1585" y="1257"/>
                    <a:pt x="1583" y="1257"/>
                    <a:pt x="1583" y="1259"/>
                  </a:cubicBezTo>
                  <a:cubicBezTo>
                    <a:pt x="1583" y="1260"/>
                    <a:pt x="1584" y="1258"/>
                    <a:pt x="1584" y="1262"/>
                  </a:cubicBezTo>
                  <a:cubicBezTo>
                    <a:pt x="1585" y="1266"/>
                    <a:pt x="1585" y="1269"/>
                    <a:pt x="1584" y="1268"/>
                  </a:cubicBezTo>
                  <a:cubicBezTo>
                    <a:pt x="1582" y="1268"/>
                    <a:pt x="1581" y="1266"/>
                    <a:pt x="1581" y="1266"/>
                  </a:cubicBezTo>
                  <a:cubicBezTo>
                    <a:pt x="1581" y="1265"/>
                    <a:pt x="1579" y="1264"/>
                    <a:pt x="1579" y="1263"/>
                  </a:cubicBezTo>
                  <a:cubicBezTo>
                    <a:pt x="1577" y="1258"/>
                    <a:pt x="1576" y="1258"/>
                    <a:pt x="1577" y="1256"/>
                  </a:cubicBezTo>
                  <a:cubicBezTo>
                    <a:pt x="1578" y="1254"/>
                    <a:pt x="1578" y="1255"/>
                    <a:pt x="1579" y="1253"/>
                  </a:cubicBezTo>
                  <a:cubicBezTo>
                    <a:pt x="1581" y="1250"/>
                    <a:pt x="1578" y="1251"/>
                    <a:pt x="1582" y="1250"/>
                  </a:cubicBezTo>
                  <a:cubicBezTo>
                    <a:pt x="1586" y="1248"/>
                    <a:pt x="1586" y="1248"/>
                    <a:pt x="1588" y="1247"/>
                  </a:cubicBezTo>
                  <a:cubicBezTo>
                    <a:pt x="1591" y="1245"/>
                    <a:pt x="1591" y="1245"/>
                    <a:pt x="1592" y="1243"/>
                  </a:cubicBezTo>
                  <a:cubicBezTo>
                    <a:pt x="1593" y="1241"/>
                    <a:pt x="1592" y="1241"/>
                    <a:pt x="1593" y="1239"/>
                  </a:cubicBezTo>
                  <a:cubicBezTo>
                    <a:pt x="1595" y="1237"/>
                    <a:pt x="1596" y="1243"/>
                    <a:pt x="1594" y="1235"/>
                  </a:cubicBezTo>
                  <a:cubicBezTo>
                    <a:pt x="1594" y="1235"/>
                    <a:pt x="1594" y="1232"/>
                    <a:pt x="1594" y="1231"/>
                  </a:cubicBezTo>
                  <a:cubicBezTo>
                    <a:pt x="1594" y="1230"/>
                    <a:pt x="1594" y="1228"/>
                    <a:pt x="1593" y="1228"/>
                  </a:cubicBezTo>
                  <a:cubicBezTo>
                    <a:pt x="1592" y="1227"/>
                    <a:pt x="1589" y="1225"/>
                    <a:pt x="1588" y="1225"/>
                  </a:cubicBezTo>
                  <a:cubicBezTo>
                    <a:pt x="1587" y="1225"/>
                    <a:pt x="1585" y="1223"/>
                    <a:pt x="1584" y="1223"/>
                  </a:cubicBezTo>
                  <a:cubicBezTo>
                    <a:pt x="1583" y="1223"/>
                    <a:pt x="1583" y="1220"/>
                    <a:pt x="1583" y="1219"/>
                  </a:cubicBezTo>
                  <a:cubicBezTo>
                    <a:pt x="1583" y="1218"/>
                    <a:pt x="1583" y="1216"/>
                    <a:pt x="1583" y="1215"/>
                  </a:cubicBezTo>
                  <a:cubicBezTo>
                    <a:pt x="1583" y="1213"/>
                    <a:pt x="1584" y="1212"/>
                    <a:pt x="1582" y="1209"/>
                  </a:cubicBezTo>
                  <a:cubicBezTo>
                    <a:pt x="1580" y="1207"/>
                    <a:pt x="1581" y="1206"/>
                    <a:pt x="1580" y="1204"/>
                  </a:cubicBezTo>
                  <a:cubicBezTo>
                    <a:pt x="1579" y="1202"/>
                    <a:pt x="1581" y="1202"/>
                    <a:pt x="1579" y="1199"/>
                  </a:cubicBezTo>
                  <a:cubicBezTo>
                    <a:pt x="1576" y="1195"/>
                    <a:pt x="1573" y="1195"/>
                    <a:pt x="1573" y="1195"/>
                  </a:cubicBezTo>
                  <a:cubicBezTo>
                    <a:pt x="1573" y="1195"/>
                    <a:pt x="1573" y="1194"/>
                    <a:pt x="1572" y="1193"/>
                  </a:cubicBezTo>
                  <a:cubicBezTo>
                    <a:pt x="1571" y="1192"/>
                    <a:pt x="1569" y="1190"/>
                    <a:pt x="1568" y="1189"/>
                  </a:cubicBezTo>
                  <a:cubicBezTo>
                    <a:pt x="1567" y="1188"/>
                    <a:pt x="1562" y="1184"/>
                    <a:pt x="1560" y="1183"/>
                  </a:cubicBezTo>
                  <a:cubicBezTo>
                    <a:pt x="1558" y="1182"/>
                    <a:pt x="1557" y="1182"/>
                    <a:pt x="1555" y="1181"/>
                  </a:cubicBezTo>
                  <a:cubicBezTo>
                    <a:pt x="1553" y="1180"/>
                    <a:pt x="1552" y="1177"/>
                    <a:pt x="1549" y="1178"/>
                  </a:cubicBezTo>
                  <a:cubicBezTo>
                    <a:pt x="1547" y="1178"/>
                    <a:pt x="1549" y="1175"/>
                    <a:pt x="1546" y="1175"/>
                  </a:cubicBezTo>
                  <a:cubicBezTo>
                    <a:pt x="1544" y="1175"/>
                    <a:pt x="1545" y="1174"/>
                    <a:pt x="1543" y="1174"/>
                  </a:cubicBezTo>
                  <a:cubicBezTo>
                    <a:pt x="1541" y="1174"/>
                    <a:pt x="1542" y="1172"/>
                    <a:pt x="1540" y="1172"/>
                  </a:cubicBezTo>
                  <a:cubicBezTo>
                    <a:pt x="1539" y="1172"/>
                    <a:pt x="1539" y="1172"/>
                    <a:pt x="1539" y="1172"/>
                  </a:cubicBezTo>
                  <a:cubicBezTo>
                    <a:pt x="1538" y="1172"/>
                    <a:pt x="1535" y="1171"/>
                    <a:pt x="1534" y="1172"/>
                  </a:cubicBezTo>
                  <a:cubicBezTo>
                    <a:pt x="1532" y="1173"/>
                    <a:pt x="1533" y="1172"/>
                    <a:pt x="1530" y="1173"/>
                  </a:cubicBezTo>
                  <a:cubicBezTo>
                    <a:pt x="1528" y="1174"/>
                    <a:pt x="1527" y="1170"/>
                    <a:pt x="1525" y="1172"/>
                  </a:cubicBezTo>
                  <a:cubicBezTo>
                    <a:pt x="1523" y="1173"/>
                    <a:pt x="1526" y="1171"/>
                    <a:pt x="1522" y="1171"/>
                  </a:cubicBezTo>
                  <a:cubicBezTo>
                    <a:pt x="1518" y="1171"/>
                    <a:pt x="1517" y="1170"/>
                    <a:pt x="1515" y="1171"/>
                  </a:cubicBezTo>
                  <a:cubicBezTo>
                    <a:pt x="1513" y="1172"/>
                    <a:pt x="1513" y="1173"/>
                    <a:pt x="1512" y="1174"/>
                  </a:cubicBezTo>
                  <a:cubicBezTo>
                    <a:pt x="1511" y="1174"/>
                    <a:pt x="1512" y="1171"/>
                    <a:pt x="1508" y="1172"/>
                  </a:cubicBezTo>
                  <a:cubicBezTo>
                    <a:pt x="1505" y="1174"/>
                    <a:pt x="1505" y="1173"/>
                    <a:pt x="1503" y="1174"/>
                  </a:cubicBezTo>
                  <a:cubicBezTo>
                    <a:pt x="1502" y="1174"/>
                    <a:pt x="1502" y="1174"/>
                    <a:pt x="1502" y="1174"/>
                  </a:cubicBezTo>
                  <a:cubicBezTo>
                    <a:pt x="1501" y="1173"/>
                    <a:pt x="1501" y="1172"/>
                    <a:pt x="1500" y="1172"/>
                  </a:cubicBezTo>
                  <a:cubicBezTo>
                    <a:pt x="1497" y="1170"/>
                    <a:pt x="1496" y="1169"/>
                    <a:pt x="1495" y="1167"/>
                  </a:cubicBezTo>
                  <a:cubicBezTo>
                    <a:pt x="1493" y="1165"/>
                    <a:pt x="1487" y="1160"/>
                    <a:pt x="1486" y="1161"/>
                  </a:cubicBezTo>
                  <a:cubicBezTo>
                    <a:pt x="1486" y="1161"/>
                    <a:pt x="1486" y="1159"/>
                    <a:pt x="1484" y="1160"/>
                  </a:cubicBezTo>
                  <a:cubicBezTo>
                    <a:pt x="1482" y="1160"/>
                    <a:pt x="1479" y="1161"/>
                    <a:pt x="1478" y="1159"/>
                  </a:cubicBezTo>
                  <a:cubicBezTo>
                    <a:pt x="1478" y="1156"/>
                    <a:pt x="1478" y="1157"/>
                    <a:pt x="1478" y="1154"/>
                  </a:cubicBezTo>
                  <a:cubicBezTo>
                    <a:pt x="1478" y="1152"/>
                    <a:pt x="1476" y="1151"/>
                    <a:pt x="1475" y="1150"/>
                  </a:cubicBezTo>
                  <a:cubicBezTo>
                    <a:pt x="1474" y="1148"/>
                    <a:pt x="1475" y="1147"/>
                    <a:pt x="1472" y="1146"/>
                  </a:cubicBezTo>
                  <a:cubicBezTo>
                    <a:pt x="1470" y="1146"/>
                    <a:pt x="1469" y="1145"/>
                    <a:pt x="1468" y="1144"/>
                  </a:cubicBezTo>
                  <a:cubicBezTo>
                    <a:pt x="1467" y="1142"/>
                    <a:pt x="1466" y="1142"/>
                    <a:pt x="1464" y="1141"/>
                  </a:cubicBezTo>
                  <a:cubicBezTo>
                    <a:pt x="1463" y="1141"/>
                    <a:pt x="1462" y="1140"/>
                    <a:pt x="1461" y="1139"/>
                  </a:cubicBezTo>
                  <a:cubicBezTo>
                    <a:pt x="1460" y="1139"/>
                    <a:pt x="1460" y="1139"/>
                    <a:pt x="1460" y="1139"/>
                  </a:cubicBezTo>
                  <a:cubicBezTo>
                    <a:pt x="1458" y="1139"/>
                    <a:pt x="1459" y="1137"/>
                    <a:pt x="1457" y="1136"/>
                  </a:cubicBezTo>
                  <a:cubicBezTo>
                    <a:pt x="1455" y="1135"/>
                    <a:pt x="1455" y="1133"/>
                    <a:pt x="1452" y="1133"/>
                  </a:cubicBezTo>
                  <a:cubicBezTo>
                    <a:pt x="1449" y="1133"/>
                    <a:pt x="1448" y="1132"/>
                    <a:pt x="1446" y="1133"/>
                  </a:cubicBezTo>
                  <a:cubicBezTo>
                    <a:pt x="1441" y="1136"/>
                    <a:pt x="1439" y="1137"/>
                    <a:pt x="1440" y="1135"/>
                  </a:cubicBezTo>
                  <a:cubicBezTo>
                    <a:pt x="1441" y="1133"/>
                    <a:pt x="1440" y="1133"/>
                    <a:pt x="1442" y="1131"/>
                  </a:cubicBezTo>
                  <a:cubicBezTo>
                    <a:pt x="1444" y="1129"/>
                    <a:pt x="1446" y="1126"/>
                    <a:pt x="1446" y="1126"/>
                  </a:cubicBezTo>
                  <a:cubicBezTo>
                    <a:pt x="1442" y="1123"/>
                    <a:pt x="1443" y="1121"/>
                    <a:pt x="1441" y="1121"/>
                  </a:cubicBezTo>
                  <a:cubicBezTo>
                    <a:pt x="1439" y="1121"/>
                    <a:pt x="1439" y="1120"/>
                    <a:pt x="1437" y="1121"/>
                  </a:cubicBezTo>
                  <a:cubicBezTo>
                    <a:pt x="1434" y="1122"/>
                    <a:pt x="1434" y="1121"/>
                    <a:pt x="1433" y="1120"/>
                  </a:cubicBezTo>
                  <a:cubicBezTo>
                    <a:pt x="1433" y="1118"/>
                    <a:pt x="1434" y="1117"/>
                    <a:pt x="1433" y="1116"/>
                  </a:cubicBezTo>
                  <a:cubicBezTo>
                    <a:pt x="1432" y="1116"/>
                    <a:pt x="1430" y="1118"/>
                    <a:pt x="1429" y="1119"/>
                  </a:cubicBezTo>
                  <a:cubicBezTo>
                    <a:pt x="1427" y="1120"/>
                    <a:pt x="1425" y="1120"/>
                    <a:pt x="1424" y="1119"/>
                  </a:cubicBezTo>
                  <a:cubicBezTo>
                    <a:pt x="1424" y="1118"/>
                    <a:pt x="1424" y="1115"/>
                    <a:pt x="1424" y="1115"/>
                  </a:cubicBezTo>
                  <a:cubicBezTo>
                    <a:pt x="1424" y="1115"/>
                    <a:pt x="1419" y="1118"/>
                    <a:pt x="1419" y="1116"/>
                  </a:cubicBezTo>
                  <a:cubicBezTo>
                    <a:pt x="1418" y="1113"/>
                    <a:pt x="1418" y="1113"/>
                    <a:pt x="1419" y="1111"/>
                  </a:cubicBezTo>
                  <a:cubicBezTo>
                    <a:pt x="1420" y="1110"/>
                    <a:pt x="1414" y="1113"/>
                    <a:pt x="1420" y="1110"/>
                  </a:cubicBezTo>
                  <a:cubicBezTo>
                    <a:pt x="1423" y="1109"/>
                    <a:pt x="1424" y="1108"/>
                    <a:pt x="1425" y="1107"/>
                  </a:cubicBezTo>
                  <a:cubicBezTo>
                    <a:pt x="1422" y="1107"/>
                    <a:pt x="1418" y="1106"/>
                    <a:pt x="1418" y="1107"/>
                  </a:cubicBezTo>
                  <a:cubicBezTo>
                    <a:pt x="1417" y="1108"/>
                    <a:pt x="1413" y="1108"/>
                    <a:pt x="1411" y="1108"/>
                  </a:cubicBezTo>
                  <a:cubicBezTo>
                    <a:pt x="1410" y="1108"/>
                    <a:pt x="1410" y="1107"/>
                    <a:pt x="1407" y="1108"/>
                  </a:cubicBezTo>
                  <a:cubicBezTo>
                    <a:pt x="1403" y="1109"/>
                    <a:pt x="1404" y="1105"/>
                    <a:pt x="1399" y="1110"/>
                  </a:cubicBezTo>
                  <a:cubicBezTo>
                    <a:pt x="1395" y="1114"/>
                    <a:pt x="1395" y="1114"/>
                    <a:pt x="1395" y="1114"/>
                  </a:cubicBezTo>
                  <a:cubicBezTo>
                    <a:pt x="1395" y="1114"/>
                    <a:pt x="1389" y="1113"/>
                    <a:pt x="1388" y="1113"/>
                  </a:cubicBezTo>
                  <a:cubicBezTo>
                    <a:pt x="1386" y="1114"/>
                    <a:pt x="1385" y="1113"/>
                    <a:pt x="1382" y="1112"/>
                  </a:cubicBezTo>
                  <a:cubicBezTo>
                    <a:pt x="1378" y="1111"/>
                    <a:pt x="1380" y="1110"/>
                    <a:pt x="1378" y="1109"/>
                  </a:cubicBezTo>
                  <a:cubicBezTo>
                    <a:pt x="1375" y="1108"/>
                    <a:pt x="1376" y="1106"/>
                    <a:pt x="1374" y="1107"/>
                  </a:cubicBezTo>
                  <a:cubicBezTo>
                    <a:pt x="1371" y="1108"/>
                    <a:pt x="1371" y="1108"/>
                    <a:pt x="1368" y="1108"/>
                  </a:cubicBezTo>
                  <a:cubicBezTo>
                    <a:pt x="1365" y="1108"/>
                    <a:pt x="1371" y="1106"/>
                    <a:pt x="1363" y="1108"/>
                  </a:cubicBezTo>
                  <a:cubicBezTo>
                    <a:pt x="1355" y="1110"/>
                    <a:pt x="1357" y="1113"/>
                    <a:pt x="1353" y="1110"/>
                  </a:cubicBezTo>
                  <a:cubicBezTo>
                    <a:pt x="1349" y="1108"/>
                    <a:pt x="1352" y="1108"/>
                    <a:pt x="1349" y="1108"/>
                  </a:cubicBezTo>
                  <a:cubicBezTo>
                    <a:pt x="1349" y="1108"/>
                    <a:pt x="1348" y="1108"/>
                    <a:pt x="1348" y="1108"/>
                  </a:cubicBezTo>
                  <a:cubicBezTo>
                    <a:pt x="1348" y="1108"/>
                    <a:pt x="1348" y="1108"/>
                    <a:pt x="1348" y="1108"/>
                  </a:cubicBezTo>
                  <a:cubicBezTo>
                    <a:pt x="1347" y="1106"/>
                    <a:pt x="1345" y="1103"/>
                    <a:pt x="1345" y="1103"/>
                  </a:cubicBezTo>
                  <a:cubicBezTo>
                    <a:pt x="1345" y="1103"/>
                    <a:pt x="1346" y="1099"/>
                    <a:pt x="1343" y="1099"/>
                  </a:cubicBezTo>
                  <a:cubicBezTo>
                    <a:pt x="1340" y="1099"/>
                    <a:pt x="1336" y="1098"/>
                    <a:pt x="1334" y="1098"/>
                  </a:cubicBezTo>
                  <a:cubicBezTo>
                    <a:pt x="1332" y="1098"/>
                    <a:pt x="1331" y="1096"/>
                    <a:pt x="1330" y="1096"/>
                  </a:cubicBezTo>
                  <a:cubicBezTo>
                    <a:pt x="1328" y="1096"/>
                    <a:pt x="1329" y="1094"/>
                    <a:pt x="1328" y="1092"/>
                  </a:cubicBezTo>
                  <a:cubicBezTo>
                    <a:pt x="1327" y="1090"/>
                    <a:pt x="1329" y="1087"/>
                    <a:pt x="1326" y="1087"/>
                  </a:cubicBezTo>
                  <a:cubicBezTo>
                    <a:pt x="1323" y="1087"/>
                    <a:pt x="1323" y="1084"/>
                    <a:pt x="1321" y="1087"/>
                  </a:cubicBezTo>
                  <a:cubicBezTo>
                    <a:pt x="1319" y="1090"/>
                    <a:pt x="1317" y="1092"/>
                    <a:pt x="1316" y="1094"/>
                  </a:cubicBezTo>
                  <a:cubicBezTo>
                    <a:pt x="1316" y="1096"/>
                    <a:pt x="1320" y="1095"/>
                    <a:pt x="1316" y="1097"/>
                  </a:cubicBezTo>
                  <a:cubicBezTo>
                    <a:pt x="1313" y="1100"/>
                    <a:pt x="1310" y="1099"/>
                    <a:pt x="1307" y="1101"/>
                  </a:cubicBezTo>
                  <a:cubicBezTo>
                    <a:pt x="1304" y="1102"/>
                    <a:pt x="1303" y="1103"/>
                    <a:pt x="1303" y="1104"/>
                  </a:cubicBezTo>
                  <a:cubicBezTo>
                    <a:pt x="1302" y="1106"/>
                    <a:pt x="1302" y="1106"/>
                    <a:pt x="1302" y="1109"/>
                  </a:cubicBezTo>
                  <a:cubicBezTo>
                    <a:pt x="1303" y="1111"/>
                    <a:pt x="1308" y="1111"/>
                    <a:pt x="1308" y="1115"/>
                  </a:cubicBezTo>
                  <a:cubicBezTo>
                    <a:pt x="1308" y="1119"/>
                    <a:pt x="1309" y="1116"/>
                    <a:pt x="1309" y="1121"/>
                  </a:cubicBezTo>
                  <a:cubicBezTo>
                    <a:pt x="1308" y="1127"/>
                    <a:pt x="1312" y="1126"/>
                    <a:pt x="1308" y="1128"/>
                  </a:cubicBezTo>
                  <a:cubicBezTo>
                    <a:pt x="1305" y="1131"/>
                    <a:pt x="1304" y="1129"/>
                    <a:pt x="1302" y="1129"/>
                  </a:cubicBezTo>
                  <a:cubicBezTo>
                    <a:pt x="1300" y="1128"/>
                    <a:pt x="1297" y="1123"/>
                    <a:pt x="1297" y="1121"/>
                  </a:cubicBezTo>
                  <a:cubicBezTo>
                    <a:pt x="1296" y="1119"/>
                    <a:pt x="1293" y="1120"/>
                    <a:pt x="1298" y="1114"/>
                  </a:cubicBezTo>
                  <a:cubicBezTo>
                    <a:pt x="1302" y="1109"/>
                    <a:pt x="1299" y="1100"/>
                    <a:pt x="1299" y="1099"/>
                  </a:cubicBezTo>
                  <a:cubicBezTo>
                    <a:pt x="1299" y="1098"/>
                    <a:pt x="1297" y="1098"/>
                    <a:pt x="1297" y="1096"/>
                  </a:cubicBezTo>
                  <a:cubicBezTo>
                    <a:pt x="1297" y="1096"/>
                    <a:pt x="1297" y="1096"/>
                    <a:pt x="1297" y="1096"/>
                  </a:cubicBezTo>
                  <a:cubicBezTo>
                    <a:pt x="1297" y="1093"/>
                    <a:pt x="1296" y="1093"/>
                    <a:pt x="1299" y="1093"/>
                  </a:cubicBezTo>
                  <a:cubicBezTo>
                    <a:pt x="1301" y="1093"/>
                    <a:pt x="1304" y="1093"/>
                    <a:pt x="1305" y="1092"/>
                  </a:cubicBezTo>
                  <a:cubicBezTo>
                    <a:pt x="1306" y="1091"/>
                    <a:pt x="1309" y="1089"/>
                    <a:pt x="1308" y="1088"/>
                  </a:cubicBezTo>
                  <a:cubicBezTo>
                    <a:pt x="1309" y="1088"/>
                    <a:pt x="1309" y="1089"/>
                    <a:pt x="1309" y="1089"/>
                  </a:cubicBezTo>
                  <a:cubicBezTo>
                    <a:pt x="1309" y="1089"/>
                    <a:pt x="1310" y="1089"/>
                    <a:pt x="1311" y="1089"/>
                  </a:cubicBezTo>
                  <a:cubicBezTo>
                    <a:pt x="1312" y="1089"/>
                    <a:pt x="1312" y="1088"/>
                    <a:pt x="1311" y="1087"/>
                  </a:cubicBezTo>
                  <a:cubicBezTo>
                    <a:pt x="1311" y="1085"/>
                    <a:pt x="1312" y="1083"/>
                    <a:pt x="1309" y="1083"/>
                  </a:cubicBezTo>
                  <a:cubicBezTo>
                    <a:pt x="1306" y="1083"/>
                    <a:pt x="1306" y="1082"/>
                    <a:pt x="1303" y="1083"/>
                  </a:cubicBezTo>
                  <a:cubicBezTo>
                    <a:pt x="1299" y="1083"/>
                    <a:pt x="1299" y="1083"/>
                    <a:pt x="1296" y="1085"/>
                  </a:cubicBezTo>
                  <a:cubicBezTo>
                    <a:pt x="1293" y="1086"/>
                    <a:pt x="1292" y="1088"/>
                    <a:pt x="1291" y="1089"/>
                  </a:cubicBezTo>
                  <a:cubicBezTo>
                    <a:pt x="1290" y="1091"/>
                    <a:pt x="1291" y="1092"/>
                    <a:pt x="1287" y="1093"/>
                  </a:cubicBezTo>
                  <a:cubicBezTo>
                    <a:pt x="1284" y="1095"/>
                    <a:pt x="1285" y="1095"/>
                    <a:pt x="1282" y="1097"/>
                  </a:cubicBezTo>
                  <a:cubicBezTo>
                    <a:pt x="1279" y="1099"/>
                    <a:pt x="1282" y="1099"/>
                    <a:pt x="1279" y="1099"/>
                  </a:cubicBezTo>
                  <a:cubicBezTo>
                    <a:pt x="1276" y="1099"/>
                    <a:pt x="1280" y="1100"/>
                    <a:pt x="1276" y="1099"/>
                  </a:cubicBezTo>
                  <a:cubicBezTo>
                    <a:pt x="1272" y="1099"/>
                    <a:pt x="1273" y="1096"/>
                    <a:pt x="1270" y="1098"/>
                  </a:cubicBezTo>
                  <a:cubicBezTo>
                    <a:pt x="1268" y="1099"/>
                    <a:pt x="1273" y="1093"/>
                    <a:pt x="1268" y="1099"/>
                  </a:cubicBezTo>
                  <a:cubicBezTo>
                    <a:pt x="1262" y="1105"/>
                    <a:pt x="1266" y="1102"/>
                    <a:pt x="1262" y="1103"/>
                  </a:cubicBezTo>
                  <a:cubicBezTo>
                    <a:pt x="1257" y="1103"/>
                    <a:pt x="1255" y="1103"/>
                    <a:pt x="1253" y="1104"/>
                  </a:cubicBezTo>
                  <a:cubicBezTo>
                    <a:pt x="1251" y="1105"/>
                    <a:pt x="1251" y="1107"/>
                    <a:pt x="1249" y="1109"/>
                  </a:cubicBezTo>
                  <a:cubicBezTo>
                    <a:pt x="1247" y="1111"/>
                    <a:pt x="1249" y="1108"/>
                    <a:pt x="1248" y="1113"/>
                  </a:cubicBezTo>
                  <a:cubicBezTo>
                    <a:pt x="1248" y="1117"/>
                    <a:pt x="1248" y="1122"/>
                    <a:pt x="1247" y="1124"/>
                  </a:cubicBezTo>
                  <a:cubicBezTo>
                    <a:pt x="1245" y="1125"/>
                    <a:pt x="1245" y="1125"/>
                    <a:pt x="1243" y="1125"/>
                  </a:cubicBezTo>
                  <a:cubicBezTo>
                    <a:pt x="1241" y="1125"/>
                    <a:pt x="1241" y="1123"/>
                    <a:pt x="1239" y="1127"/>
                  </a:cubicBezTo>
                  <a:cubicBezTo>
                    <a:pt x="1237" y="1130"/>
                    <a:pt x="1236" y="1133"/>
                    <a:pt x="1234" y="1134"/>
                  </a:cubicBezTo>
                  <a:cubicBezTo>
                    <a:pt x="1232" y="1136"/>
                    <a:pt x="1232" y="1135"/>
                    <a:pt x="1231" y="1137"/>
                  </a:cubicBezTo>
                  <a:cubicBezTo>
                    <a:pt x="1229" y="1140"/>
                    <a:pt x="1230" y="1139"/>
                    <a:pt x="1229" y="1141"/>
                  </a:cubicBezTo>
                  <a:cubicBezTo>
                    <a:pt x="1229" y="1142"/>
                    <a:pt x="1229" y="1142"/>
                    <a:pt x="1228" y="1142"/>
                  </a:cubicBezTo>
                  <a:cubicBezTo>
                    <a:pt x="1227" y="1141"/>
                    <a:pt x="1226" y="1140"/>
                    <a:pt x="1226" y="1139"/>
                  </a:cubicBezTo>
                  <a:cubicBezTo>
                    <a:pt x="1225" y="1138"/>
                    <a:pt x="1224" y="1138"/>
                    <a:pt x="1222" y="1137"/>
                  </a:cubicBezTo>
                  <a:cubicBezTo>
                    <a:pt x="1221" y="1135"/>
                    <a:pt x="1221" y="1132"/>
                    <a:pt x="1220" y="1132"/>
                  </a:cubicBezTo>
                  <a:cubicBezTo>
                    <a:pt x="1218" y="1131"/>
                    <a:pt x="1217" y="1127"/>
                    <a:pt x="1215" y="1127"/>
                  </a:cubicBezTo>
                  <a:cubicBezTo>
                    <a:pt x="1214" y="1127"/>
                    <a:pt x="1214" y="1125"/>
                    <a:pt x="1211" y="1125"/>
                  </a:cubicBezTo>
                  <a:cubicBezTo>
                    <a:pt x="1208" y="1125"/>
                    <a:pt x="1207" y="1125"/>
                    <a:pt x="1206" y="1124"/>
                  </a:cubicBezTo>
                  <a:cubicBezTo>
                    <a:pt x="1202" y="1123"/>
                    <a:pt x="1201" y="1121"/>
                    <a:pt x="1200" y="1122"/>
                  </a:cubicBezTo>
                  <a:cubicBezTo>
                    <a:pt x="1199" y="1122"/>
                    <a:pt x="1199" y="1117"/>
                    <a:pt x="1196" y="1121"/>
                  </a:cubicBezTo>
                  <a:cubicBezTo>
                    <a:pt x="1193" y="1125"/>
                    <a:pt x="1193" y="1120"/>
                    <a:pt x="1192" y="1124"/>
                  </a:cubicBezTo>
                  <a:cubicBezTo>
                    <a:pt x="1191" y="1127"/>
                    <a:pt x="1192" y="1126"/>
                    <a:pt x="1191" y="1127"/>
                  </a:cubicBezTo>
                  <a:cubicBezTo>
                    <a:pt x="1189" y="1129"/>
                    <a:pt x="1189" y="1128"/>
                    <a:pt x="1184" y="1130"/>
                  </a:cubicBezTo>
                  <a:cubicBezTo>
                    <a:pt x="1180" y="1131"/>
                    <a:pt x="1178" y="1130"/>
                    <a:pt x="1178" y="1130"/>
                  </a:cubicBezTo>
                  <a:cubicBezTo>
                    <a:pt x="1173" y="1131"/>
                    <a:pt x="1173" y="1131"/>
                    <a:pt x="1173" y="1131"/>
                  </a:cubicBezTo>
                  <a:cubicBezTo>
                    <a:pt x="1173" y="1131"/>
                    <a:pt x="1173" y="1132"/>
                    <a:pt x="1168" y="1132"/>
                  </a:cubicBezTo>
                  <a:cubicBezTo>
                    <a:pt x="1162" y="1132"/>
                    <a:pt x="1162" y="1130"/>
                    <a:pt x="1160" y="1129"/>
                  </a:cubicBezTo>
                  <a:cubicBezTo>
                    <a:pt x="1158" y="1128"/>
                    <a:pt x="1155" y="1127"/>
                    <a:pt x="1154" y="1126"/>
                  </a:cubicBezTo>
                  <a:cubicBezTo>
                    <a:pt x="1153" y="1124"/>
                    <a:pt x="1153" y="1123"/>
                    <a:pt x="1152" y="1122"/>
                  </a:cubicBezTo>
                  <a:cubicBezTo>
                    <a:pt x="1150" y="1121"/>
                    <a:pt x="1149" y="1121"/>
                    <a:pt x="1148" y="1118"/>
                  </a:cubicBezTo>
                  <a:cubicBezTo>
                    <a:pt x="1146" y="1116"/>
                    <a:pt x="1146" y="1115"/>
                    <a:pt x="1145" y="1113"/>
                  </a:cubicBezTo>
                  <a:cubicBezTo>
                    <a:pt x="1144" y="1110"/>
                    <a:pt x="1144" y="1109"/>
                    <a:pt x="1144" y="1109"/>
                  </a:cubicBezTo>
                  <a:cubicBezTo>
                    <a:pt x="1143" y="1108"/>
                    <a:pt x="1143" y="1108"/>
                    <a:pt x="1142" y="1107"/>
                  </a:cubicBezTo>
                  <a:cubicBezTo>
                    <a:pt x="1138" y="1102"/>
                    <a:pt x="1138" y="1101"/>
                    <a:pt x="1137" y="1101"/>
                  </a:cubicBezTo>
                  <a:cubicBezTo>
                    <a:pt x="1136" y="1100"/>
                    <a:pt x="1138" y="1097"/>
                    <a:pt x="1138" y="1095"/>
                  </a:cubicBezTo>
                  <a:cubicBezTo>
                    <a:pt x="1137" y="1093"/>
                    <a:pt x="1138" y="1092"/>
                    <a:pt x="1138" y="1089"/>
                  </a:cubicBezTo>
                  <a:cubicBezTo>
                    <a:pt x="1138" y="1086"/>
                    <a:pt x="1139" y="1086"/>
                    <a:pt x="1139" y="1083"/>
                  </a:cubicBezTo>
                  <a:cubicBezTo>
                    <a:pt x="1138" y="1079"/>
                    <a:pt x="1138" y="1077"/>
                    <a:pt x="1139" y="1075"/>
                  </a:cubicBezTo>
                  <a:cubicBezTo>
                    <a:pt x="1140" y="1074"/>
                    <a:pt x="1141" y="1076"/>
                    <a:pt x="1141" y="1072"/>
                  </a:cubicBezTo>
                  <a:cubicBezTo>
                    <a:pt x="1142" y="1068"/>
                    <a:pt x="1143" y="1064"/>
                    <a:pt x="1143" y="1063"/>
                  </a:cubicBezTo>
                  <a:cubicBezTo>
                    <a:pt x="1143" y="1062"/>
                    <a:pt x="1145" y="1058"/>
                    <a:pt x="1145" y="1056"/>
                  </a:cubicBezTo>
                  <a:cubicBezTo>
                    <a:pt x="1145" y="1054"/>
                    <a:pt x="1145" y="1054"/>
                    <a:pt x="1144" y="1052"/>
                  </a:cubicBezTo>
                  <a:cubicBezTo>
                    <a:pt x="1143" y="1051"/>
                    <a:pt x="1142" y="1051"/>
                    <a:pt x="1141" y="1049"/>
                  </a:cubicBezTo>
                  <a:cubicBezTo>
                    <a:pt x="1141" y="1049"/>
                    <a:pt x="1141" y="1049"/>
                    <a:pt x="1141" y="1049"/>
                  </a:cubicBezTo>
                  <a:cubicBezTo>
                    <a:pt x="1139" y="1046"/>
                    <a:pt x="1138" y="1045"/>
                    <a:pt x="1138" y="1044"/>
                  </a:cubicBezTo>
                  <a:cubicBezTo>
                    <a:pt x="1135" y="1040"/>
                    <a:pt x="1128" y="1038"/>
                    <a:pt x="1127" y="1037"/>
                  </a:cubicBezTo>
                  <a:cubicBezTo>
                    <a:pt x="1127" y="1036"/>
                    <a:pt x="1128" y="1034"/>
                    <a:pt x="1125" y="1034"/>
                  </a:cubicBezTo>
                  <a:cubicBezTo>
                    <a:pt x="1122" y="1034"/>
                    <a:pt x="1121" y="1032"/>
                    <a:pt x="1118" y="1033"/>
                  </a:cubicBezTo>
                  <a:cubicBezTo>
                    <a:pt x="1116" y="1033"/>
                    <a:pt x="1112" y="1034"/>
                    <a:pt x="1109" y="1034"/>
                  </a:cubicBezTo>
                  <a:cubicBezTo>
                    <a:pt x="1106" y="1035"/>
                    <a:pt x="1106" y="1036"/>
                    <a:pt x="1103" y="1036"/>
                  </a:cubicBezTo>
                  <a:cubicBezTo>
                    <a:pt x="1099" y="1037"/>
                    <a:pt x="1098" y="1034"/>
                    <a:pt x="1095" y="1034"/>
                  </a:cubicBezTo>
                  <a:cubicBezTo>
                    <a:pt x="1091" y="1035"/>
                    <a:pt x="1093" y="1033"/>
                    <a:pt x="1089" y="1034"/>
                  </a:cubicBezTo>
                  <a:cubicBezTo>
                    <a:pt x="1085" y="1035"/>
                    <a:pt x="1087" y="1033"/>
                    <a:pt x="1084" y="1034"/>
                  </a:cubicBezTo>
                  <a:cubicBezTo>
                    <a:pt x="1083" y="1035"/>
                    <a:pt x="1082" y="1035"/>
                    <a:pt x="1082" y="1035"/>
                  </a:cubicBezTo>
                  <a:cubicBezTo>
                    <a:pt x="1080" y="1035"/>
                    <a:pt x="1079" y="1035"/>
                    <a:pt x="1077" y="1036"/>
                  </a:cubicBezTo>
                  <a:cubicBezTo>
                    <a:pt x="1075" y="1038"/>
                    <a:pt x="1070" y="1043"/>
                    <a:pt x="1070" y="1037"/>
                  </a:cubicBezTo>
                  <a:cubicBezTo>
                    <a:pt x="1070" y="1037"/>
                    <a:pt x="1071" y="1036"/>
                    <a:pt x="1071" y="1036"/>
                  </a:cubicBezTo>
                  <a:cubicBezTo>
                    <a:pt x="1071" y="1031"/>
                    <a:pt x="1074" y="1029"/>
                    <a:pt x="1075" y="1028"/>
                  </a:cubicBezTo>
                  <a:cubicBezTo>
                    <a:pt x="1076" y="1028"/>
                    <a:pt x="1078" y="1026"/>
                    <a:pt x="1078" y="1025"/>
                  </a:cubicBezTo>
                  <a:cubicBezTo>
                    <a:pt x="1078" y="1023"/>
                    <a:pt x="1079" y="1022"/>
                    <a:pt x="1079" y="1021"/>
                  </a:cubicBezTo>
                  <a:cubicBezTo>
                    <a:pt x="1079" y="1020"/>
                    <a:pt x="1079" y="1015"/>
                    <a:pt x="1078" y="1012"/>
                  </a:cubicBezTo>
                  <a:cubicBezTo>
                    <a:pt x="1078" y="1010"/>
                    <a:pt x="1073" y="1008"/>
                    <a:pt x="1078" y="1007"/>
                  </a:cubicBezTo>
                  <a:cubicBezTo>
                    <a:pt x="1080" y="1006"/>
                    <a:pt x="1081" y="1005"/>
                    <a:pt x="1080" y="1004"/>
                  </a:cubicBezTo>
                  <a:cubicBezTo>
                    <a:pt x="1080" y="1003"/>
                    <a:pt x="1079" y="1002"/>
                    <a:pt x="1079" y="1001"/>
                  </a:cubicBezTo>
                  <a:cubicBezTo>
                    <a:pt x="1079" y="999"/>
                    <a:pt x="1077" y="997"/>
                    <a:pt x="1078" y="995"/>
                  </a:cubicBezTo>
                  <a:cubicBezTo>
                    <a:pt x="1080" y="994"/>
                    <a:pt x="1081" y="992"/>
                    <a:pt x="1081" y="994"/>
                  </a:cubicBezTo>
                  <a:cubicBezTo>
                    <a:pt x="1081" y="997"/>
                    <a:pt x="1083" y="1001"/>
                    <a:pt x="1083" y="1002"/>
                  </a:cubicBezTo>
                  <a:cubicBezTo>
                    <a:pt x="1083" y="1002"/>
                    <a:pt x="1085" y="999"/>
                    <a:pt x="1085" y="998"/>
                  </a:cubicBezTo>
                  <a:cubicBezTo>
                    <a:pt x="1084" y="997"/>
                    <a:pt x="1084" y="995"/>
                    <a:pt x="1085" y="993"/>
                  </a:cubicBezTo>
                  <a:cubicBezTo>
                    <a:pt x="1086" y="990"/>
                    <a:pt x="1086" y="991"/>
                    <a:pt x="1087" y="989"/>
                  </a:cubicBezTo>
                  <a:cubicBezTo>
                    <a:pt x="1087" y="987"/>
                    <a:pt x="1087" y="988"/>
                    <a:pt x="1087" y="984"/>
                  </a:cubicBezTo>
                  <a:cubicBezTo>
                    <a:pt x="1086" y="981"/>
                    <a:pt x="1085" y="979"/>
                    <a:pt x="1087" y="977"/>
                  </a:cubicBezTo>
                  <a:cubicBezTo>
                    <a:pt x="1088" y="975"/>
                    <a:pt x="1085" y="976"/>
                    <a:pt x="1090" y="972"/>
                  </a:cubicBezTo>
                  <a:cubicBezTo>
                    <a:pt x="1095" y="967"/>
                    <a:pt x="1095" y="969"/>
                    <a:pt x="1096" y="966"/>
                  </a:cubicBezTo>
                  <a:cubicBezTo>
                    <a:pt x="1098" y="962"/>
                    <a:pt x="1101" y="963"/>
                    <a:pt x="1098" y="960"/>
                  </a:cubicBezTo>
                  <a:cubicBezTo>
                    <a:pt x="1095" y="957"/>
                    <a:pt x="1096" y="956"/>
                    <a:pt x="1093" y="956"/>
                  </a:cubicBezTo>
                  <a:cubicBezTo>
                    <a:pt x="1090" y="955"/>
                    <a:pt x="1091" y="953"/>
                    <a:pt x="1087" y="956"/>
                  </a:cubicBezTo>
                  <a:cubicBezTo>
                    <a:pt x="1084" y="958"/>
                    <a:pt x="1083" y="958"/>
                    <a:pt x="1082" y="958"/>
                  </a:cubicBezTo>
                  <a:cubicBezTo>
                    <a:pt x="1081" y="959"/>
                    <a:pt x="1074" y="957"/>
                    <a:pt x="1073" y="956"/>
                  </a:cubicBezTo>
                  <a:cubicBezTo>
                    <a:pt x="1071" y="956"/>
                    <a:pt x="1069" y="955"/>
                    <a:pt x="1068" y="956"/>
                  </a:cubicBezTo>
                  <a:cubicBezTo>
                    <a:pt x="1064" y="961"/>
                    <a:pt x="1058" y="960"/>
                    <a:pt x="1057" y="960"/>
                  </a:cubicBezTo>
                  <a:cubicBezTo>
                    <a:pt x="1054" y="960"/>
                    <a:pt x="1053" y="958"/>
                    <a:pt x="1051" y="961"/>
                  </a:cubicBezTo>
                  <a:cubicBezTo>
                    <a:pt x="1049" y="964"/>
                    <a:pt x="1053" y="959"/>
                    <a:pt x="1049" y="964"/>
                  </a:cubicBezTo>
                  <a:cubicBezTo>
                    <a:pt x="1046" y="968"/>
                    <a:pt x="1046" y="960"/>
                    <a:pt x="1046" y="971"/>
                  </a:cubicBezTo>
                  <a:cubicBezTo>
                    <a:pt x="1045" y="982"/>
                    <a:pt x="1046" y="981"/>
                    <a:pt x="1044" y="983"/>
                  </a:cubicBezTo>
                  <a:cubicBezTo>
                    <a:pt x="1042" y="984"/>
                    <a:pt x="1043" y="983"/>
                    <a:pt x="1042" y="986"/>
                  </a:cubicBezTo>
                  <a:cubicBezTo>
                    <a:pt x="1041" y="988"/>
                    <a:pt x="1043" y="989"/>
                    <a:pt x="1041" y="990"/>
                  </a:cubicBezTo>
                  <a:cubicBezTo>
                    <a:pt x="1039" y="992"/>
                    <a:pt x="1037" y="994"/>
                    <a:pt x="1036" y="994"/>
                  </a:cubicBezTo>
                  <a:cubicBezTo>
                    <a:pt x="1034" y="995"/>
                    <a:pt x="1036" y="996"/>
                    <a:pt x="1034" y="997"/>
                  </a:cubicBezTo>
                  <a:cubicBezTo>
                    <a:pt x="1029" y="999"/>
                    <a:pt x="1030" y="996"/>
                    <a:pt x="1028" y="996"/>
                  </a:cubicBezTo>
                  <a:cubicBezTo>
                    <a:pt x="1026" y="997"/>
                    <a:pt x="1029" y="994"/>
                    <a:pt x="1025" y="995"/>
                  </a:cubicBezTo>
                  <a:cubicBezTo>
                    <a:pt x="1021" y="997"/>
                    <a:pt x="1017" y="999"/>
                    <a:pt x="1017" y="999"/>
                  </a:cubicBezTo>
                  <a:cubicBezTo>
                    <a:pt x="1017" y="999"/>
                    <a:pt x="1018" y="999"/>
                    <a:pt x="1015" y="1000"/>
                  </a:cubicBezTo>
                  <a:cubicBezTo>
                    <a:pt x="1011" y="1001"/>
                    <a:pt x="1009" y="1000"/>
                    <a:pt x="1007" y="1001"/>
                  </a:cubicBezTo>
                  <a:cubicBezTo>
                    <a:pt x="1006" y="1001"/>
                    <a:pt x="1007" y="998"/>
                    <a:pt x="1003" y="1000"/>
                  </a:cubicBezTo>
                  <a:cubicBezTo>
                    <a:pt x="998" y="1002"/>
                    <a:pt x="1001" y="1000"/>
                    <a:pt x="998" y="1002"/>
                  </a:cubicBezTo>
                  <a:cubicBezTo>
                    <a:pt x="996" y="1004"/>
                    <a:pt x="994" y="1004"/>
                    <a:pt x="993" y="1004"/>
                  </a:cubicBezTo>
                  <a:cubicBezTo>
                    <a:pt x="991" y="1004"/>
                    <a:pt x="993" y="1002"/>
                    <a:pt x="990" y="1001"/>
                  </a:cubicBezTo>
                  <a:cubicBezTo>
                    <a:pt x="987" y="1000"/>
                    <a:pt x="989" y="997"/>
                    <a:pt x="986" y="997"/>
                  </a:cubicBezTo>
                  <a:cubicBezTo>
                    <a:pt x="983" y="997"/>
                    <a:pt x="986" y="998"/>
                    <a:pt x="983" y="997"/>
                  </a:cubicBezTo>
                  <a:cubicBezTo>
                    <a:pt x="979" y="997"/>
                    <a:pt x="978" y="996"/>
                    <a:pt x="977" y="996"/>
                  </a:cubicBezTo>
                  <a:cubicBezTo>
                    <a:pt x="974" y="994"/>
                    <a:pt x="973" y="993"/>
                    <a:pt x="973" y="993"/>
                  </a:cubicBezTo>
                  <a:cubicBezTo>
                    <a:pt x="973" y="992"/>
                    <a:pt x="972" y="986"/>
                    <a:pt x="970" y="985"/>
                  </a:cubicBezTo>
                  <a:cubicBezTo>
                    <a:pt x="969" y="985"/>
                    <a:pt x="969" y="979"/>
                    <a:pt x="967" y="979"/>
                  </a:cubicBezTo>
                  <a:cubicBezTo>
                    <a:pt x="966" y="979"/>
                    <a:pt x="966" y="977"/>
                    <a:pt x="964" y="975"/>
                  </a:cubicBezTo>
                  <a:cubicBezTo>
                    <a:pt x="961" y="972"/>
                    <a:pt x="960" y="974"/>
                    <a:pt x="958" y="969"/>
                  </a:cubicBezTo>
                  <a:cubicBezTo>
                    <a:pt x="957" y="963"/>
                    <a:pt x="961" y="974"/>
                    <a:pt x="957" y="963"/>
                  </a:cubicBezTo>
                  <a:cubicBezTo>
                    <a:pt x="952" y="953"/>
                    <a:pt x="951" y="957"/>
                    <a:pt x="950" y="955"/>
                  </a:cubicBezTo>
                  <a:cubicBezTo>
                    <a:pt x="950" y="954"/>
                    <a:pt x="948" y="952"/>
                    <a:pt x="948" y="949"/>
                  </a:cubicBezTo>
                  <a:cubicBezTo>
                    <a:pt x="947" y="945"/>
                    <a:pt x="947" y="940"/>
                    <a:pt x="948" y="938"/>
                  </a:cubicBezTo>
                  <a:cubicBezTo>
                    <a:pt x="949" y="936"/>
                    <a:pt x="950" y="936"/>
                    <a:pt x="950" y="934"/>
                  </a:cubicBezTo>
                  <a:cubicBezTo>
                    <a:pt x="950" y="932"/>
                    <a:pt x="950" y="929"/>
                    <a:pt x="949" y="928"/>
                  </a:cubicBezTo>
                  <a:cubicBezTo>
                    <a:pt x="949" y="927"/>
                    <a:pt x="948" y="925"/>
                    <a:pt x="948" y="924"/>
                  </a:cubicBezTo>
                  <a:cubicBezTo>
                    <a:pt x="948" y="924"/>
                    <a:pt x="953" y="921"/>
                    <a:pt x="953" y="920"/>
                  </a:cubicBezTo>
                  <a:cubicBezTo>
                    <a:pt x="952" y="918"/>
                    <a:pt x="949" y="910"/>
                    <a:pt x="950" y="909"/>
                  </a:cubicBezTo>
                  <a:cubicBezTo>
                    <a:pt x="950" y="908"/>
                    <a:pt x="955" y="904"/>
                    <a:pt x="955" y="903"/>
                  </a:cubicBezTo>
                  <a:cubicBezTo>
                    <a:pt x="955" y="902"/>
                    <a:pt x="956" y="901"/>
                    <a:pt x="956" y="899"/>
                  </a:cubicBezTo>
                  <a:cubicBezTo>
                    <a:pt x="956" y="898"/>
                    <a:pt x="957" y="897"/>
                    <a:pt x="957" y="895"/>
                  </a:cubicBezTo>
                  <a:cubicBezTo>
                    <a:pt x="957" y="891"/>
                    <a:pt x="957" y="892"/>
                    <a:pt x="956" y="888"/>
                  </a:cubicBezTo>
                  <a:cubicBezTo>
                    <a:pt x="956" y="885"/>
                    <a:pt x="957" y="884"/>
                    <a:pt x="954" y="880"/>
                  </a:cubicBezTo>
                  <a:cubicBezTo>
                    <a:pt x="952" y="877"/>
                    <a:pt x="950" y="877"/>
                    <a:pt x="950" y="875"/>
                  </a:cubicBezTo>
                  <a:cubicBezTo>
                    <a:pt x="951" y="873"/>
                    <a:pt x="952" y="870"/>
                    <a:pt x="953" y="869"/>
                  </a:cubicBezTo>
                  <a:cubicBezTo>
                    <a:pt x="954" y="868"/>
                    <a:pt x="957" y="867"/>
                    <a:pt x="957" y="867"/>
                  </a:cubicBezTo>
                  <a:cubicBezTo>
                    <a:pt x="959" y="863"/>
                    <a:pt x="958" y="860"/>
                    <a:pt x="960" y="860"/>
                  </a:cubicBezTo>
                  <a:cubicBezTo>
                    <a:pt x="962" y="859"/>
                    <a:pt x="963" y="859"/>
                    <a:pt x="964" y="859"/>
                  </a:cubicBezTo>
                  <a:cubicBezTo>
                    <a:pt x="964" y="858"/>
                    <a:pt x="965" y="855"/>
                    <a:pt x="967" y="855"/>
                  </a:cubicBezTo>
                  <a:cubicBezTo>
                    <a:pt x="970" y="855"/>
                    <a:pt x="968" y="856"/>
                    <a:pt x="971" y="855"/>
                  </a:cubicBezTo>
                  <a:cubicBezTo>
                    <a:pt x="974" y="854"/>
                    <a:pt x="980" y="853"/>
                    <a:pt x="980" y="852"/>
                  </a:cubicBezTo>
                  <a:cubicBezTo>
                    <a:pt x="980" y="851"/>
                    <a:pt x="980" y="851"/>
                    <a:pt x="982" y="849"/>
                  </a:cubicBezTo>
                  <a:cubicBezTo>
                    <a:pt x="984" y="847"/>
                    <a:pt x="987" y="849"/>
                    <a:pt x="987" y="846"/>
                  </a:cubicBezTo>
                  <a:cubicBezTo>
                    <a:pt x="987" y="843"/>
                    <a:pt x="987" y="845"/>
                    <a:pt x="987" y="843"/>
                  </a:cubicBezTo>
                  <a:cubicBezTo>
                    <a:pt x="987" y="840"/>
                    <a:pt x="988" y="840"/>
                    <a:pt x="991" y="841"/>
                  </a:cubicBezTo>
                  <a:cubicBezTo>
                    <a:pt x="994" y="842"/>
                    <a:pt x="997" y="841"/>
                    <a:pt x="997" y="841"/>
                  </a:cubicBezTo>
                  <a:cubicBezTo>
                    <a:pt x="1001" y="838"/>
                    <a:pt x="1006" y="836"/>
                    <a:pt x="1008" y="836"/>
                  </a:cubicBezTo>
                  <a:cubicBezTo>
                    <a:pt x="1009" y="837"/>
                    <a:pt x="1010" y="837"/>
                    <a:pt x="1012" y="838"/>
                  </a:cubicBezTo>
                  <a:cubicBezTo>
                    <a:pt x="1013" y="839"/>
                    <a:pt x="1011" y="839"/>
                    <a:pt x="1016" y="840"/>
                  </a:cubicBezTo>
                  <a:cubicBezTo>
                    <a:pt x="1022" y="841"/>
                    <a:pt x="1022" y="841"/>
                    <a:pt x="1023" y="841"/>
                  </a:cubicBezTo>
                  <a:cubicBezTo>
                    <a:pt x="1024" y="841"/>
                    <a:pt x="1025" y="840"/>
                    <a:pt x="1027" y="840"/>
                  </a:cubicBezTo>
                  <a:cubicBezTo>
                    <a:pt x="1032" y="839"/>
                    <a:pt x="1033" y="840"/>
                    <a:pt x="1035" y="841"/>
                  </a:cubicBezTo>
                  <a:cubicBezTo>
                    <a:pt x="1037" y="843"/>
                    <a:pt x="1038" y="841"/>
                    <a:pt x="1039" y="843"/>
                  </a:cubicBezTo>
                  <a:cubicBezTo>
                    <a:pt x="1041" y="845"/>
                    <a:pt x="1039" y="845"/>
                    <a:pt x="1041" y="846"/>
                  </a:cubicBezTo>
                  <a:cubicBezTo>
                    <a:pt x="1043" y="847"/>
                    <a:pt x="1043" y="848"/>
                    <a:pt x="1046" y="847"/>
                  </a:cubicBezTo>
                  <a:cubicBezTo>
                    <a:pt x="1048" y="846"/>
                    <a:pt x="1046" y="846"/>
                    <a:pt x="1048" y="846"/>
                  </a:cubicBezTo>
                  <a:cubicBezTo>
                    <a:pt x="1050" y="845"/>
                    <a:pt x="1050" y="845"/>
                    <a:pt x="1050" y="845"/>
                  </a:cubicBezTo>
                  <a:cubicBezTo>
                    <a:pt x="1050" y="845"/>
                    <a:pt x="1046" y="848"/>
                    <a:pt x="1050" y="848"/>
                  </a:cubicBezTo>
                  <a:cubicBezTo>
                    <a:pt x="1055" y="848"/>
                    <a:pt x="1057" y="845"/>
                    <a:pt x="1056" y="844"/>
                  </a:cubicBezTo>
                  <a:cubicBezTo>
                    <a:pt x="1056" y="844"/>
                    <a:pt x="1059" y="843"/>
                    <a:pt x="1059" y="845"/>
                  </a:cubicBezTo>
                  <a:cubicBezTo>
                    <a:pt x="1060" y="848"/>
                    <a:pt x="1061" y="849"/>
                    <a:pt x="1063" y="848"/>
                  </a:cubicBezTo>
                  <a:cubicBezTo>
                    <a:pt x="1065" y="847"/>
                    <a:pt x="1067" y="845"/>
                    <a:pt x="1065" y="844"/>
                  </a:cubicBezTo>
                  <a:cubicBezTo>
                    <a:pt x="1064" y="843"/>
                    <a:pt x="1062" y="841"/>
                    <a:pt x="1062" y="839"/>
                  </a:cubicBezTo>
                  <a:cubicBezTo>
                    <a:pt x="1062" y="838"/>
                    <a:pt x="1062" y="836"/>
                    <a:pt x="1062" y="836"/>
                  </a:cubicBezTo>
                  <a:cubicBezTo>
                    <a:pt x="1059" y="835"/>
                    <a:pt x="1059" y="835"/>
                    <a:pt x="1059" y="835"/>
                  </a:cubicBezTo>
                  <a:cubicBezTo>
                    <a:pt x="1059" y="835"/>
                    <a:pt x="1060" y="833"/>
                    <a:pt x="1057" y="832"/>
                  </a:cubicBezTo>
                  <a:cubicBezTo>
                    <a:pt x="1055" y="832"/>
                    <a:pt x="1049" y="833"/>
                    <a:pt x="1051" y="831"/>
                  </a:cubicBezTo>
                  <a:cubicBezTo>
                    <a:pt x="1055" y="828"/>
                    <a:pt x="1054" y="829"/>
                    <a:pt x="1056" y="830"/>
                  </a:cubicBezTo>
                  <a:cubicBezTo>
                    <a:pt x="1057" y="831"/>
                    <a:pt x="1060" y="829"/>
                    <a:pt x="1062" y="830"/>
                  </a:cubicBezTo>
                  <a:cubicBezTo>
                    <a:pt x="1063" y="831"/>
                    <a:pt x="1062" y="831"/>
                    <a:pt x="1065" y="830"/>
                  </a:cubicBezTo>
                  <a:cubicBezTo>
                    <a:pt x="1068" y="829"/>
                    <a:pt x="1067" y="827"/>
                    <a:pt x="1070" y="829"/>
                  </a:cubicBezTo>
                  <a:cubicBezTo>
                    <a:pt x="1072" y="831"/>
                    <a:pt x="1078" y="832"/>
                    <a:pt x="1078" y="832"/>
                  </a:cubicBezTo>
                  <a:cubicBezTo>
                    <a:pt x="1078" y="832"/>
                    <a:pt x="1079" y="831"/>
                    <a:pt x="1079" y="830"/>
                  </a:cubicBezTo>
                  <a:cubicBezTo>
                    <a:pt x="1079" y="829"/>
                    <a:pt x="1081" y="826"/>
                    <a:pt x="1082" y="827"/>
                  </a:cubicBezTo>
                  <a:cubicBezTo>
                    <a:pt x="1084" y="831"/>
                    <a:pt x="1087" y="831"/>
                    <a:pt x="1088" y="830"/>
                  </a:cubicBezTo>
                  <a:cubicBezTo>
                    <a:pt x="1089" y="829"/>
                    <a:pt x="1091" y="828"/>
                    <a:pt x="1092" y="828"/>
                  </a:cubicBezTo>
                  <a:cubicBezTo>
                    <a:pt x="1094" y="828"/>
                    <a:pt x="1097" y="828"/>
                    <a:pt x="1097" y="828"/>
                  </a:cubicBezTo>
                  <a:cubicBezTo>
                    <a:pt x="1098" y="829"/>
                    <a:pt x="1105" y="829"/>
                    <a:pt x="1105" y="829"/>
                  </a:cubicBezTo>
                  <a:cubicBezTo>
                    <a:pt x="1111" y="830"/>
                    <a:pt x="1111" y="830"/>
                    <a:pt x="1111" y="830"/>
                  </a:cubicBezTo>
                  <a:cubicBezTo>
                    <a:pt x="1112" y="833"/>
                    <a:pt x="1112" y="833"/>
                    <a:pt x="1112" y="833"/>
                  </a:cubicBezTo>
                  <a:cubicBezTo>
                    <a:pt x="1112" y="833"/>
                    <a:pt x="1116" y="836"/>
                    <a:pt x="1115" y="837"/>
                  </a:cubicBezTo>
                  <a:cubicBezTo>
                    <a:pt x="1115" y="838"/>
                    <a:pt x="1119" y="839"/>
                    <a:pt x="1119" y="839"/>
                  </a:cubicBezTo>
                  <a:cubicBezTo>
                    <a:pt x="1123" y="839"/>
                    <a:pt x="1126" y="838"/>
                    <a:pt x="1127" y="838"/>
                  </a:cubicBezTo>
                  <a:cubicBezTo>
                    <a:pt x="1128" y="837"/>
                    <a:pt x="1131" y="836"/>
                    <a:pt x="1131" y="836"/>
                  </a:cubicBezTo>
                  <a:cubicBezTo>
                    <a:pt x="1136" y="834"/>
                    <a:pt x="1135" y="834"/>
                    <a:pt x="1136" y="835"/>
                  </a:cubicBezTo>
                  <a:cubicBezTo>
                    <a:pt x="1137" y="837"/>
                    <a:pt x="1137" y="837"/>
                    <a:pt x="1139" y="838"/>
                  </a:cubicBezTo>
                  <a:cubicBezTo>
                    <a:pt x="1141" y="839"/>
                    <a:pt x="1143" y="839"/>
                    <a:pt x="1144" y="841"/>
                  </a:cubicBezTo>
                  <a:cubicBezTo>
                    <a:pt x="1145" y="843"/>
                    <a:pt x="1146" y="842"/>
                    <a:pt x="1147" y="844"/>
                  </a:cubicBezTo>
                  <a:cubicBezTo>
                    <a:pt x="1148" y="846"/>
                    <a:pt x="1150" y="848"/>
                    <a:pt x="1150" y="849"/>
                  </a:cubicBezTo>
                  <a:cubicBezTo>
                    <a:pt x="1151" y="850"/>
                    <a:pt x="1153" y="853"/>
                    <a:pt x="1153" y="853"/>
                  </a:cubicBezTo>
                  <a:cubicBezTo>
                    <a:pt x="1153" y="856"/>
                    <a:pt x="1153" y="856"/>
                    <a:pt x="1153" y="856"/>
                  </a:cubicBezTo>
                  <a:cubicBezTo>
                    <a:pt x="1151" y="860"/>
                    <a:pt x="1151" y="863"/>
                    <a:pt x="1151" y="864"/>
                  </a:cubicBezTo>
                  <a:cubicBezTo>
                    <a:pt x="1151" y="866"/>
                    <a:pt x="1150" y="869"/>
                    <a:pt x="1151" y="869"/>
                  </a:cubicBezTo>
                  <a:cubicBezTo>
                    <a:pt x="1155" y="873"/>
                    <a:pt x="1153" y="874"/>
                    <a:pt x="1156" y="875"/>
                  </a:cubicBezTo>
                  <a:cubicBezTo>
                    <a:pt x="1158" y="876"/>
                    <a:pt x="1159" y="880"/>
                    <a:pt x="1159" y="880"/>
                  </a:cubicBezTo>
                  <a:cubicBezTo>
                    <a:pt x="1159" y="880"/>
                    <a:pt x="1161" y="882"/>
                    <a:pt x="1161" y="883"/>
                  </a:cubicBezTo>
                  <a:cubicBezTo>
                    <a:pt x="1161" y="884"/>
                    <a:pt x="1162" y="885"/>
                    <a:pt x="1162" y="887"/>
                  </a:cubicBezTo>
                  <a:cubicBezTo>
                    <a:pt x="1162" y="889"/>
                    <a:pt x="1160" y="892"/>
                    <a:pt x="1162" y="891"/>
                  </a:cubicBezTo>
                  <a:cubicBezTo>
                    <a:pt x="1166" y="896"/>
                    <a:pt x="1166" y="896"/>
                    <a:pt x="1166" y="896"/>
                  </a:cubicBezTo>
                  <a:cubicBezTo>
                    <a:pt x="1166" y="896"/>
                    <a:pt x="1168" y="896"/>
                    <a:pt x="1169" y="896"/>
                  </a:cubicBezTo>
                  <a:cubicBezTo>
                    <a:pt x="1170" y="896"/>
                    <a:pt x="1172" y="895"/>
                    <a:pt x="1172" y="897"/>
                  </a:cubicBezTo>
                  <a:cubicBezTo>
                    <a:pt x="1173" y="900"/>
                    <a:pt x="1173" y="903"/>
                    <a:pt x="1174" y="904"/>
                  </a:cubicBezTo>
                  <a:cubicBezTo>
                    <a:pt x="1174" y="905"/>
                    <a:pt x="1176" y="905"/>
                    <a:pt x="1177" y="906"/>
                  </a:cubicBezTo>
                  <a:cubicBezTo>
                    <a:pt x="1178" y="906"/>
                    <a:pt x="1180" y="906"/>
                    <a:pt x="1180" y="907"/>
                  </a:cubicBezTo>
                  <a:cubicBezTo>
                    <a:pt x="1184" y="904"/>
                    <a:pt x="1184" y="904"/>
                    <a:pt x="1184" y="904"/>
                  </a:cubicBezTo>
                  <a:cubicBezTo>
                    <a:pt x="1184" y="904"/>
                    <a:pt x="1184" y="902"/>
                    <a:pt x="1185" y="900"/>
                  </a:cubicBezTo>
                  <a:cubicBezTo>
                    <a:pt x="1186" y="898"/>
                    <a:pt x="1188" y="895"/>
                    <a:pt x="1188" y="895"/>
                  </a:cubicBezTo>
                  <a:cubicBezTo>
                    <a:pt x="1188" y="895"/>
                    <a:pt x="1190" y="891"/>
                    <a:pt x="1188" y="891"/>
                  </a:cubicBezTo>
                  <a:cubicBezTo>
                    <a:pt x="1187" y="891"/>
                    <a:pt x="1188" y="891"/>
                    <a:pt x="1187" y="886"/>
                  </a:cubicBezTo>
                  <a:cubicBezTo>
                    <a:pt x="1186" y="882"/>
                    <a:pt x="1187" y="882"/>
                    <a:pt x="1187" y="880"/>
                  </a:cubicBezTo>
                  <a:cubicBezTo>
                    <a:pt x="1187" y="879"/>
                    <a:pt x="1188" y="879"/>
                    <a:pt x="1187" y="877"/>
                  </a:cubicBezTo>
                  <a:cubicBezTo>
                    <a:pt x="1187" y="876"/>
                    <a:pt x="1187" y="876"/>
                    <a:pt x="1186" y="874"/>
                  </a:cubicBezTo>
                  <a:cubicBezTo>
                    <a:pt x="1184" y="873"/>
                    <a:pt x="1185" y="871"/>
                    <a:pt x="1183" y="870"/>
                  </a:cubicBezTo>
                  <a:cubicBezTo>
                    <a:pt x="1181" y="869"/>
                    <a:pt x="1182" y="868"/>
                    <a:pt x="1181" y="865"/>
                  </a:cubicBezTo>
                  <a:cubicBezTo>
                    <a:pt x="1180" y="862"/>
                    <a:pt x="1182" y="869"/>
                    <a:pt x="1180" y="862"/>
                  </a:cubicBezTo>
                  <a:cubicBezTo>
                    <a:pt x="1179" y="855"/>
                    <a:pt x="1177" y="856"/>
                    <a:pt x="1179" y="853"/>
                  </a:cubicBezTo>
                  <a:cubicBezTo>
                    <a:pt x="1180" y="850"/>
                    <a:pt x="1181" y="850"/>
                    <a:pt x="1180" y="848"/>
                  </a:cubicBezTo>
                  <a:cubicBezTo>
                    <a:pt x="1179" y="846"/>
                    <a:pt x="1178" y="844"/>
                    <a:pt x="1177" y="843"/>
                  </a:cubicBezTo>
                  <a:cubicBezTo>
                    <a:pt x="1176" y="842"/>
                    <a:pt x="1173" y="842"/>
                    <a:pt x="1172" y="838"/>
                  </a:cubicBezTo>
                  <a:cubicBezTo>
                    <a:pt x="1171" y="834"/>
                    <a:pt x="1171" y="834"/>
                    <a:pt x="1171" y="832"/>
                  </a:cubicBezTo>
                  <a:cubicBezTo>
                    <a:pt x="1170" y="829"/>
                    <a:pt x="1168" y="830"/>
                    <a:pt x="1170" y="826"/>
                  </a:cubicBezTo>
                  <a:cubicBezTo>
                    <a:pt x="1173" y="822"/>
                    <a:pt x="1171" y="826"/>
                    <a:pt x="1171" y="821"/>
                  </a:cubicBezTo>
                  <a:cubicBezTo>
                    <a:pt x="1170" y="816"/>
                    <a:pt x="1169" y="817"/>
                    <a:pt x="1171" y="814"/>
                  </a:cubicBezTo>
                  <a:cubicBezTo>
                    <a:pt x="1173" y="811"/>
                    <a:pt x="1175" y="809"/>
                    <a:pt x="1176" y="807"/>
                  </a:cubicBezTo>
                  <a:cubicBezTo>
                    <a:pt x="1177" y="804"/>
                    <a:pt x="1175" y="805"/>
                    <a:pt x="1179" y="802"/>
                  </a:cubicBezTo>
                  <a:cubicBezTo>
                    <a:pt x="1183" y="798"/>
                    <a:pt x="1188" y="794"/>
                    <a:pt x="1190" y="793"/>
                  </a:cubicBezTo>
                  <a:cubicBezTo>
                    <a:pt x="1195" y="790"/>
                    <a:pt x="1195" y="789"/>
                    <a:pt x="1196" y="788"/>
                  </a:cubicBezTo>
                  <a:cubicBezTo>
                    <a:pt x="1198" y="787"/>
                    <a:pt x="1198" y="786"/>
                    <a:pt x="1200" y="784"/>
                  </a:cubicBezTo>
                  <a:cubicBezTo>
                    <a:pt x="1201" y="783"/>
                    <a:pt x="1201" y="781"/>
                    <a:pt x="1204" y="779"/>
                  </a:cubicBezTo>
                  <a:cubicBezTo>
                    <a:pt x="1206" y="777"/>
                    <a:pt x="1205" y="776"/>
                    <a:pt x="1208" y="777"/>
                  </a:cubicBezTo>
                  <a:cubicBezTo>
                    <a:pt x="1212" y="778"/>
                    <a:pt x="1214" y="777"/>
                    <a:pt x="1215" y="777"/>
                  </a:cubicBezTo>
                  <a:cubicBezTo>
                    <a:pt x="1216" y="777"/>
                    <a:pt x="1214" y="780"/>
                    <a:pt x="1218" y="774"/>
                  </a:cubicBezTo>
                  <a:cubicBezTo>
                    <a:pt x="1223" y="768"/>
                    <a:pt x="1225" y="768"/>
                    <a:pt x="1225" y="767"/>
                  </a:cubicBezTo>
                  <a:cubicBezTo>
                    <a:pt x="1226" y="766"/>
                    <a:pt x="1231" y="763"/>
                    <a:pt x="1231" y="764"/>
                  </a:cubicBezTo>
                  <a:cubicBezTo>
                    <a:pt x="1232" y="765"/>
                    <a:pt x="1232" y="766"/>
                    <a:pt x="1234" y="764"/>
                  </a:cubicBezTo>
                  <a:cubicBezTo>
                    <a:pt x="1236" y="763"/>
                    <a:pt x="1239" y="761"/>
                    <a:pt x="1238" y="761"/>
                  </a:cubicBezTo>
                  <a:cubicBezTo>
                    <a:pt x="1232" y="758"/>
                    <a:pt x="1231" y="757"/>
                    <a:pt x="1232" y="756"/>
                  </a:cubicBezTo>
                  <a:cubicBezTo>
                    <a:pt x="1233" y="755"/>
                    <a:pt x="1231" y="754"/>
                    <a:pt x="1234" y="754"/>
                  </a:cubicBezTo>
                  <a:cubicBezTo>
                    <a:pt x="1238" y="754"/>
                    <a:pt x="1238" y="755"/>
                    <a:pt x="1239" y="754"/>
                  </a:cubicBezTo>
                  <a:cubicBezTo>
                    <a:pt x="1242" y="752"/>
                    <a:pt x="1245" y="750"/>
                    <a:pt x="1246" y="749"/>
                  </a:cubicBezTo>
                  <a:cubicBezTo>
                    <a:pt x="1246" y="748"/>
                    <a:pt x="1247" y="746"/>
                    <a:pt x="1247" y="746"/>
                  </a:cubicBezTo>
                  <a:cubicBezTo>
                    <a:pt x="1242" y="743"/>
                    <a:pt x="1241" y="745"/>
                    <a:pt x="1241" y="743"/>
                  </a:cubicBezTo>
                  <a:cubicBezTo>
                    <a:pt x="1241" y="741"/>
                    <a:pt x="1241" y="739"/>
                    <a:pt x="1241" y="739"/>
                  </a:cubicBezTo>
                  <a:cubicBezTo>
                    <a:pt x="1241" y="739"/>
                    <a:pt x="1244" y="740"/>
                    <a:pt x="1243" y="736"/>
                  </a:cubicBezTo>
                  <a:cubicBezTo>
                    <a:pt x="1243" y="733"/>
                    <a:pt x="1243" y="732"/>
                    <a:pt x="1243" y="730"/>
                  </a:cubicBezTo>
                  <a:cubicBezTo>
                    <a:pt x="1243" y="729"/>
                    <a:pt x="1243" y="727"/>
                    <a:pt x="1241" y="728"/>
                  </a:cubicBezTo>
                  <a:cubicBezTo>
                    <a:pt x="1238" y="728"/>
                    <a:pt x="1238" y="727"/>
                    <a:pt x="1236" y="726"/>
                  </a:cubicBezTo>
                  <a:cubicBezTo>
                    <a:pt x="1234" y="724"/>
                    <a:pt x="1231" y="723"/>
                    <a:pt x="1233" y="722"/>
                  </a:cubicBezTo>
                  <a:cubicBezTo>
                    <a:pt x="1235" y="722"/>
                    <a:pt x="1238" y="724"/>
                    <a:pt x="1238" y="722"/>
                  </a:cubicBezTo>
                  <a:cubicBezTo>
                    <a:pt x="1238" y="719"/>
                    <a:pt x="1236" y="718"/>
                    <a:pt x="1236" y="718"/>
                  </a:cubicBezTo>
                  <a:cubicBezTo>
                    <a:pt x="1236" y="718"/>
                    <a:pt x="1233" y="716"/>
                    <a:pt x="1233" y="713"/>
                  </a:cubicBezTo>
                  <a:cubicBezTo>
                    <a:pt x="1233" y="708"/>
                    <a:pt x="1229" y="706"/>
                    <a:pt x="1232" y="706"/>
                  </a:cubicBezTo>
                  <a:cubicBezTo>
                    <a:pt x="1235" y="705"/>
                    <a:pt x="1232" y="713"/>
                    <a:pt x="1237" y="704"/>
                  </a:cubicBezTo>
                  <a:cubicBezTo>
                    <a:pt x="1241" y="695"/>
                    <a:pt x="1239" y="692"/>
                    <a:pt x="1241" y="692"/>
                  </a:cubicBezTo>
                  <a:cubicBezTo>
                    <a:pt x="1244" y="691"/>
                    <a:pt x="1241" y="697"/>
                    <a:pt x="1241" y="702"/>
                  </a:cubicBezTo>
                  <a:cubicBezTo>
                    <a:pt x="1241" y="707"/>
                    <a:pt x="1240" y="704"/>
                    <a:pt x="1241" y="707"/>
                  </a:cubicBezTo>
                  <a:cubicBezTo>
                    <a:pt x="1243" y="710"/>
                    <a:pt x="1245" y="709"/>
                    <a:pt x="1245" y="712"/>
                  </a:cubicBezTo>
                  <a:cubicBezTo>
                    <a:pt x="1245" y="714"/>
                    <a:pt x="1241" y="716"/>
                    <a:pt x="1244" y="718"/>
                  </a:cubicBezTo>
                  <a:cubicBezTo>
                    <a:pt x="1247" y="720"/>
                    <a:pt x="1249" y="719"/>
                    <a:pt x="1249" y="716"/>
                  </a:cubicBezTo>
                  <a:cubicBezTo>
                    <a:pt x="1250" y="714"/>
                    <a:pt x="1249" y="713"/>
                    <a:pt x="1251" y="711"/>
                  </a:cubicBezTo>
                  <a:cubicBezTo>
                    <a:pt x="1253" y="710"/>
                    <a:pt x="1254" y="709"/>
                    <a:pt x="1254" y="708"/>
                  </a:cubicBezTo>
                  <a:cubicBezTo>
                    <a:pt x="1254" y="707"/>
                    <a:pt x="1256" y="706"/>
                    <a:pt x="1255" y="704"/>
                  </a:cubicBezTo>
                  <a:cubicBezTo>
                    <a:pt x="1255" y="701"/>
                    <a:pt x="1252" y="700"/>
                    <a:pt x="1252" y="699"/>
                  </a:cubicBezTo>
                  <a:cubicBezTo>
                    <a:pt x="1252" y="697"/>
                    <a:pt x="1251" y="699"/>
                    <a:pt x="1251" y="695"/>
                  </a:cubicBezTo>
                  <a:cubicBezTo>
                    <a:pt x="1251" y="694"/>
                    <a:pt x="1251" y="693"/>
                    <a:pt x="1251" y="692"/>
                  </a:cubicBezTo>
                  <a:cubicBezTo>
                    <a:pt x="1252" y="693"/>
                    <a:pt x="1253" y="695"/>
                    <a:pt x="1254" y="695"/>
                  </a:cubicBezTo>
                  <a:cubicBezTo>
                    <a:pt x="1256" y="695"/>
                    <a:pt x="1257" y="695"/>
                    <a:pt x="1258" y="695"/>
                  </a:cubicBezTo>
                  <a:cubicBezTo>
                    <a:pt x="1259" y="695"/>
                    <a:pt x="1258" y="695"/>
                    <a:pt x="1260" y="694"/>
                  </a:cubicBezTo>
                  <a:cubicBezTo>
                    <a:pt x="1262" y="692"/>
                    <a:pt x="1270" y="688"/>
                    <a:pt x="1269" y="685"/>
                  </a:cubicBezTo>
                  <a:cubicBezTo>
                    <a:pt x="1267" y="683"/>
                    <a:pt x="1269" y="682"/>
                    <a:pt x="1269" y="680"/>
                  </a:cubicBezTo>
                  <a:cubicBezTo>
                    <a:pt x="1270" y="678"/>
                    <a:pt x="1272" y="676"/>
                    <a:pt x="1271" y="675"/>
                  </a:cubicBezTo>
                  <a:cubicBezTo>
                    <a:pt x="1270" y="673"/>
                    <a:pt x="1266" y="674"/>
                    <a:pt x="1266" y="671"/>
                  </a:cubicBezTo>
                  <a:cubicBezTo>
                    <a:pt x="1266" y="669"/>
                    <a:pt x="1267" y="667"/>
                    <a:pt x="1268" y="666"/>
                  </a:cubicBezTo>
                  <a:cubicBezTo>
                    <a:pt x="1269" y="665"/>
                    <a:pt x="1272" y="664"/>
                    <a:pt x="1272" y="664"/>
                  </a:cubicBezTo>
                  <a:cubicBezTo>
                    <a:pt x="1271" y="670"/>
                    <a:pt x="1271" y="670"/>
                    <a:pt x="1271" y="670"/>
                  </a:cubicBezTo>
                  <a:cubicBezTo>
                    <a:pt x="1275" y="667"/>
                    <a:pt x="1275" y="667"/>
                    <a:pt x="1275" y="667"/>
                  </a:cubicBezTo>
                  <a:cubicBezTo>
                    <a:pt x="1275" y="667"/>
                    <a:pt x="1276" y="666"/>
                    <a:pt x="1278" y="665"/>
                  </a:cubicBezTo>
                  <a:cubicBezTo>
                    <a:pt x="1280" y="665"/>
                    <a:pt x="1280" y="662"/>
                    <a:pt x="1282" y="663"/>
                  </a:cubicBezTo>
                  <a:cubicBezTo>
                    <a:pt x="1284" y="663"/>
                    <a:pt x="1286" y="662"/>
                    <a:pt x="1288" y="663"/>
                  </a:cubicBezTo>
                  <a:cubicBezTo>
                    <a:pt x="1290" y="663"/>
                    <a:pt x="1286" y="666"/>
                    <a:pt x="1292" y="662"/>
                  </a:cubicBezTo>
                  <a:cubicBezTo>
                    <a:pt x="1298" y="658"/>
                    <a:pt x="1300" y="661"/>
                    <a:pt x="1302" y="661"/>
                  </a:cubicBezTo>
                  <a:cubicBezTo>
                    <a:pt x="1305" y="660"/>
                    <a:pt x="1303" y="661"/>
                    <a:pt x="1305" y="660"/>
                  </a:cubicBezTo>
                  <a:cubicBezTo>
                    <a:pt x="1306" y="658"/>
                    <a:pt x="1308" y="655"/>
                    <a:pt x="1308" y="655"/>
                  </a:cubicBezTo>
                  <a:cubicBezTo>
                    <a:pt x="1308" y="655"/>
                    <a:pt x="1310" y="655"/>
                    <a:pt x="1311" y="654"/>
                  </a:cubicBezTo>
                  <a:cubicBezTo>
                    <a:pt x="1313" y="653"/>
                    <a:pt x="1317" y="652"/>
                    <a:pt x="1316" y="651"/>
                  </a:cubicBezTo>
                  <a:cubicBezTo>
                    <a:pt x="1316" y="649"/>
                    <a:pt x="1315" y="648"/>
                    <a:pt x="1314" y="646"/>
                  </a:cubicBezTo>
                  <a:cubicBezTo>
                    <a:pt x="1313" y="644"/>
                    <a:pt x="1314" y="645"/>
                    <a:pt x="1313" y="642"/>
                  </a:cubicBezTo>
                  <a:cubicBezTo>
                    <a:pt x="1311" y="639"/>
                    <a:pt x="1310" y="643"/>
                    <a:pt x="1311" y="639"/>
                  </a:cubicBezTo>
                  <a:cubicBezTo>
                    <a:pt x="1313" y="635"/>
                    <a:pt x="1313" y="636"/>
                    <a:pt x="1313" y="633"/>
                  </a:cubicBezTo>
                  <a:cubicBezTo>
                    <a:pt x="1313" y="630"/>
                    <a:pt x="1313" y="628"/>
                    <a:pt x="1316" y="626"/>
                  </a:cubicBezTo>
                  <a:cubicBezTo>
                    <a:pt x="1320" y="625"/>
                    <a:pt x="1319" y="623"/>
                    <a:pt x="1322" y="621"/>
                  </a:cubicBezTo>
                  <a:cubicBezTo>
                    <a:pt x="1325" y="618"/>
                    <a:pt x="1320" y="619"/>
                    <a:pt x="1326" y="617"/>
                  </a:cubicBezTo>
                  <a:cubicBezTo>
                    <a:pt x="1332" y="616"/>
                    <a:pt x="1329" y="618"/>
                    <a:pt x="1331" y="617"/>
                  </a:cubicBezTo>
                  <a:cubicBezTo>
                    <a:pt x="1333" y="617"/>
                    <a:pt x="1337" y="617"/>
                    <a:pt x="1337" y="616"/>
                  </a:cubicBezTo>
                  <a:cubicBezTo>
                    <a:pt x="1337" y="615"/>
                    <a:pt x="1339" y="611"/>
                    <a:pt x="1339" y="611"/>
                  </a:cubicBezTo>
                  <a:cubicBezTo>
                    <a:pt x="1340" y="609"/>
                    <a:pt x="1343" y="609"/>
                    <a:pt x="1344" y="609"/>
                  </a:cubicBezTo>
                  <a:cubicBezTo>
                    <a:pt x="1345" y="609"/>
                    <a:pt x="1349" y="609"/>
                    <a:pt x="1349" y="609"/>
                  </a:cubicBezTo>
                  <a:cubicBezTo>
                    <a:pt x="1357" y="606"/>
                    <a:pt x="1357" y="606"/>
                    <a:pt x="1357" y="606"/>
                  </a:cubicBezTo>
                  <a:cubicBezTo>
                    <a:pt x="1357" y="606"/>
                    <a:pt x="1359" y="606"/>
                    <a:pt x="1359" y="605"/>
                  </a:cubicBezTo>
                  <a:cubicBezTo>
                    <a:pt x="1359" y="604"/>
                    <a:pt x="1361" y="601"/>
                    <a:pt x="1361" y="602"/>
                  </a:cubicBezTo>
                  <a:cubicBezTo>
                    <a:pt x="1362" y="603"/>
                    <a:pt x="1366" y="605"/>
                    <a:pt x="1366" y="602"/>
                  </a:cubicBezTo>
                  <a:cubicBezTo>
                    <a:pt x="1367" y="596"/>
                    <a:pt x="1366" y="596"/>
                    <a:pt x="1365" y="597"/>
                  </a:cubicBezTo>
                  <a:cubicBezTo>
                    <a:pt x="1365" y="596"/>
                    <a:pt x="1365" y="596"/>
                    <a:pt x="1365" y="596"/>
                  </a:cubicBezTo>
                  <a:cubicBezTo>
                    <a:pt x="1368" y="597"/>
                    <a:pt x="1372" y="597"/>
                    <a:pt x="1373" y="596"/>
                  </a:cubicBezTo>
                  <a:cubicBezTo>
                    <a:pt x="1376" y="592"/>
                    <a:pt x="1376" y="592"/>
                    <a:pt x="1376" y="592"/>
                  </a:cubicBezTo>
                  <a:cubicBezTo>
                    <a:pt x="1376" y="592"/>
                    <a:pt x="1379" y="596"/>
                    <a:pt x="1380" y="595"/>
                  </a:cubicBezTo>
                  <a:cubicBezTo>
                    <a:pt x="1381" y="594"/>
                    <a:pt x="1386" y="592"/>
                    <a:pt x="1387" y="592"/>
                  </a:cubicBezTo>
                  <a:cubicBezTo>
                    <a:pt x="1388" y="592"/>
                    <a:pt x="1391" y="591"/>
                    <a:pt x="1392" y="591"/>
                  </a:cubicBezTo>
                  <a:cubicBezTo>
                    <a:pt x="1394" y="591"/>
                    <a:pt x="1393" y="588"/>
                    <a:pt x="1395" y="588"/>
                  </a:cubicBezTo>
                  <a:cubicBezTo>
                    <a:pt x="1396" y="588"/>
                    <a:pt x="1394" y="588"/>
                    <a:pt x="1396" y="588"/>
                  </a:cubicBezTo>
                  <a:cubicBezTo>
                    <a:pt x="1398" y="587"/>
                    <a:pt x="1397" y="591"/>
                    <a:pt x="1397" y="591"/>
                  </a:cubicBezTo>
                  <a:cubicBezTo>
                    <a:pt x="1396" y="593"/>
                    <a:pt x="1396" y="594"/>
                    <a:pt x="1399" y="593"/>
                  </a:cubicBezTo>
                  <a:cubicBezTo>
                    <a:pt x="1401" y="593"/>
                    <a:pt x="1404" y="592"/>
                    <a:pt x="1405" y="592"/>
                  </a:cubicBezTo>
                  <a:cubicBezTo>
                    <a:pt x="1406" y="592"/>
                    <a:pt x="1409" y="593"/>
                    <a:pt x="1408" y="595"/>
                  </a:cubicBezTo>
                  <a:cubicBezTo>
                    <a:pt x="1408" y="596"/>
                    <a:pt x="1409" y="597"/>
                    <a:pt x="1406" y="597"/>
                  </a:cubicBezTo>
                  <a:cubicBezTo>
                    <a:pt x="1402" y="597"/>
                    <a:pt x="1407" y="594"/>
                    <a:pt x="1399" y="597"/>
                  </a:cubicBezTo>
                  <a:cubicBezTo>
                    <a:pt x="1392" y="600"/>
                    <a:pt x="1394" y="599"/>
                    <a:pt x="1392" y="599"/>
                  </a:cubicBezTo>
                  <a:cubicBezTo>
                    <a:pt x="1390" y="599"/>
                    <a:pt x="1392" y="597"/>
                    <a:pt x="1388" y="600"/>
                  </a:cubicBezTo>
                  <a:cubicBezTo>
                    <a:pt x="1384" y="603"/>
                    <a:pt x="1383" y="604"/>
                    <a:pt x="1380" y="606"/>
                  </a:cubicBezTo>
                  <a:cubicBezTo>
                    <a:pt x="1377" y="609"/>
                    <a:pt x="1377" y="611"/>
                    <a:pt x="1375" y="613"/>
                  </a:cubicBezTo>
                  <a:cubicBezTo>
                    <a:pt x="1373" y="614"/>
                    <a:pt x="1375" y="615"/>
                    <a:pt x="1375" y="617"/>
                  </a:cubicBezTo>
                  <a:cubicBezTo>
                    <a:pt x="1374" y="620"/>
                    <a:pt x="1373" y="621"/>
                    <a:pt x="1376" y="621"/>
                  </a:cubicBezTo>
                  <a:cubicBezTo>
                    <a:pt x="1378" y="621"/>
                    <a:pt x="1380" y="623"/>
                    <a:pt x="1382" y="623"/>
                  </a:cubicBezTo>
                  <a:cubicBezTo>
                    <a:pt x="1385" y="622"/>
                    <a:pt x="1389" y="621"/>
                    <a:pt x="1391" y="620"/>
                  </a:cubicBezTo>
                  <a:cubicBezTo>
                    <a:pt x="1392" y="618"/>
                    <a:pt x="1398" y="615"/>
                    <a:pt x="1399" y="613"/>
                  </a:cubicBezTo>
                  <a:cubicBezTo>
                    <a:pt x="1399" y="610"/>
                    <a:pt x="1401" y="608"/>
                    <a:pt x="1402" y="608"/>
                  </a:cubicBezTo>
                  <a:cubicBezTo>
                    <a:pt x="1403" y="608"/>
                    <a:pt x="1406" y="606"/>
                    <a:pt x="1409" y="606"/>
                  </a:cubicBezTo>
                  <a:cubicBezTo>
                    <a:pt x="1412" y="605"/>
                    <a:pt x="1417" y="604"/>
                    <a:pt x="1419" y="603"/>
                  </a:cubicBezTo>
                  <a:cubicBezTo>
                    <a:pt x="1421" y="603"/>
                    <a:pt x="1426" y="601"/>
                    <a:pt x="1428" y="601"/>
                  </a:cubicBezTo>
                  <a:cubicBezTo>
                    <a:pt x="1431" y="600"/>
                    <a:pt x="1437" y="598"/>
                    <a:pt x="1438" y="596"/>
                  </a:cubicBezTo>
                  <a:cubicBezTo>
                    <a:pt x="1439" y="595"/>
                    <a:pt x="1442" y="593"/>
                    <a:pt x="1442" y="593"/>
                  </a:cubicBezTo>
                  <a:cubicBezTo>
                    <a:pt x="1447" y="593"/>
                    <a:pt x="1447" y="593"/>
                    <a:pt x="1447" y="593"/>
                  </a:cubicBezTo>
                  <a:cubicBezTo>
                    <a:pt x="1447" y="593"/>
                    <a:pt x="1444" y="591"/>
                    <a:pt x="1443" y="589"/>
                  </a:cubicBezTo>
                  <a:cubicBezTo>
                    <a:pt x="1443" y="588"/>
                    <a:pt x="1445" y="584"/>
                    <a:pt x="1443" y="585"/>
                  </a:cubicBezTo>
                  <a:cubicBezTo>
                    <a:pt x="1441" y="586"/>
                    <a:pt x="1440" y="583"/>
                    <a:pt x="1436" y="585"/>
                  </a:cubicBezTo>
                  <a:cubicBezTo>
                    <a:pt x="1433" y="586"/>
                    <a:pt x="1432" y="587"/>
                    <a:pt x="1431" y="588"/>
                  </a:cubicBezTo>
                  <a:cubicBezTo>
                    <a:pt x="1430" y="589"/>
                    <a:pt x="1430" y="586"/>
                    <a:pt x="1428" y="586"/>
                  </a:cubicBezTo>
                  <a:cubicBezTo>
                    <a:pt x="1426" y="586"/>
                    <a:pt x="1421" y="588"/>
                    <a:pt x="1419" y="588"/>
                  </a:cubicBezTo>
                  <a:cubicBezTo>
                    <a:pt x="1416" y="589"/>
                    <a:pt x="1415" y="584"/>
                    <a:pt x="1415" y="584"/>
                  </a:cubicBezTo>
                  <a:cubicBezTo>
                    <a:pt x="1409" y="584"/>
                    <a:pt x="1409" y="584"/>
                    <a:pt x="1409" y="584"/>
                  </a:cubicBezTo>
                  <a:cubicBezTo>
                    <a:pt x="1406" y="583"/>
                    <a:pt x="1405" y="580"/>
                    <a:pt x="1405" y="580"/>
                  </a:cubicBezTo>
                  <a:cubicBezTo>
                    <a:pt x="1402" y="579"/>
                    <a:pt x="1400" y="578"/>
                    <a:pt x="1400" y="578"/>
                  </a:cubicBezTo>
                  <a:cubicBezTo>
                    <a:pt x="1400" y="578"/>
                    <a:pt x="1398" y="577"/>
                    <a:pt x="1397" y="576"/>
                  </a:cubicBezTo>
                  <a:cubicBezTo>
                    <a:pt x="1397" y="575"/>
                    <a:pt x="1397" y="572"/>
                    <a:pt x="1397" y="572"/>
                  </a:cubicBezTo>
                  <a:cubicBezTo>
                    <a:pt x="1397" y="572"/>
                    <a:pt x="1397" y="570"/>
                    <a:pt x="1396" y="570"/>
                  </a:cubicBezTo>
                  <a:cubicBezTo>
                    <a:pt x="1395" y="570"/>
                    <a:pt x="1393" y="567"/>
                    <a:pt x="1392" y="566"/>
                  </a:cubicBezTo>
                  <a:cubicBezTo>
                    <a:pt x="1391" y="563"/>
                    <a:pt x="1389" y="561"/>
                    <a:pt x="1389" y="561"/>
                  </a:cubicBezTo>
                  <a:cubicBezTo>
                    <a:pt x="1389" y="561"/>
                    <a:pt x="1396" y="556"/>
                    <a:pt x="1395" y="554"/>
                  </a:cubicBezTo>
                  <a:cubicBezTo>
                    <a:pt x="1395" y="552"/>
                    <a:pt x="1394" y="551"/>
                    <a:pt x="1393" y="550"/>
                  </a:cubicBezTo>
                  <a:cubicBezTo>
                    <a:pt x="1392" y="549"/>
                    <a:pt x="1384" y="554"/>
                    <a:pt x="1384" y="552"/>
                  </a:cubicBezTo>
                  <a:cubicBezTo>
                    <a:pt x="1385" y="551"/>
                    <a:pt x="1384" y="550"/>
                    <a:pt x="1383" y="550"/>
                  </a:cubicBezTo>
                  <a:cubicBezTo>
                    <a:pt x="1382" y="549"/>
                    <a:pt x="1380" y="547"/>
                    <a:pt x="1380" y="547"/>
                  </a:cubicBezTo>
                  <a:cubicBezTo>
                    <a:pt x="1380" y="547"/>
                    <a:pt x="1391" y="547"/>
                    <a:pt x="1392" y="546"/>
                  </a:cubicBezTo>
                  <a:cubicBezTo>
                    <a:pt x="1394" y="544"/>
                    <a:pt x="1396" y="544"/>
                    <a:pt x="1398" y="542"/>
                  </a:cubicBezTo>
                  <a:cubicBezTo>
                    <a:pt x="1400" y="540"/>
                    <a:pt x="1403" y="538"/>
                    <a:pt x="1403" y="537"/>
                  </a:cubicBezTo>
                  <a:cubicBezTo>
                    <a:pt x="1404" y="535"/>
                    <a:pt x="1399" y="534"/>
                    <a:pt x="1398" y="532"/>
                  </a:cubicBezTo>
                  <a:cubicBezTo>
                    <a:pt x="1397" y="531"/>
                    <a:pt x="1395" y="529"/>
                    <a:pt x="1394" y="527"/>
                  </a:cubicBezTo>
                  <a:cubicBezTo>
                    <a:pt x="1392" y="526"/>
                    <a:pt x="1385" y="525"/>
                    <a:pt x="1385" y="525"/>
                  </a:cubicBezTo>
                  <a:cubicBezTo>
                    <a:pt x="1385" y="525"/>
                    <a:pt x="1382" y="524"/>
                    <a:pt x="1381" y="525"/>
                  </a:cubicBezTo>
                  <a:cubicBezTo>
                    <a:pt x="1379" y="526"/>
                    <a:pt x="1372" y="527"/>
                    <a:pt x="1371" y="527"/>
                  </a:cubicBezTo>
                  <a:cubicBezTo>
                    <a:pt x="1371" y="528"/>
                    <a:pt x="1371" y="528"/>
                    <a:pt x="1368" y="529"/>
                  </a:cubicBezTo>
                  <a:cubicBezTo>
                    <a:pt x="1365" y="530"/>
                    <a:pt x="1365" y="531"/>
                    <a:pt x="1363" y="531"/>
                  </a:cubicBezTo>
                  <a:cubicBezTo>
                    <a:pt x="1362" y="532"/>
                    <a:pt x="1361" y="532"/>
                    <a:pt x="1357" y="533"/>
                  </a:cubicBezTo>
                  <a:cubicBezTo>
                    <a:pt x="1353" y="534"/>
                    <a:pt x="1352" y="533"/>
                    <a:pt x="1351" y="535"/>
                  </a:cubicBezTo>
                  <a:cubicBezTo>
                    <a:pt x="1349" y="536"/>
                    <a:pt x="1345" y="539"/>
                    <a:pt x="1342" y="540"/>
                  </a:cubicBezTo>
                  <a:cubicBezTo>
                    <a:pt x="1340" y="541"/>
                    <a:pt x="1341" y="541"/>
                    <a:pt x="1337" y="544"/>
                  </a:cubicBezTo>
                  <a:cubicBezTo>
                    <a:pt x="1332" y="547"/>
                    <a:pt x="1329" y="550"/>
                    <a:pt x="1327" y="552"/>
                  </a:cubicBezTo>
                  <a:cubicBezTo>
                    <a:pt x="1324" y="554"/>
                    <a:pt x="1329" y="550"/>
                    <a:pt x="1322" y="555"/>
                  </a:cubicBezTo>
                  <a:cubicBezTo>
                    <a:pt x="1315" y="561"/>
                    <a:pt x="1312" y="564"/>
                    <a:pt x="1312" y="564"/>
                  </a:cubicBezTo>
                  <a:cubicBezTo>
                    <a:pt x="1311" y="567"/>
                    <a:pt x="1315" y="557"/>
                    <a:pt x="1315" y="557"/>
                  </a:cubicBezTo>
                  <a:cubicBezTo>
                    <a:pt x="1315" y="557"/>
                    <a:pt x="1320" y="553"/>
                    <a:pt x="1322" y="552"/>
                  </a:cubicBezTo>
                  <a:cubicBezTo>
                    <a:pt x="1323" y="551"/>
                    <a:pt x="1326" y="548"/>
                    <a:pt x="1327" y="547"/>
                  </a:cubicBezTo>
                  <a:cubicBezTo>
                    <a:pt x="1328" y="546"/>
                    <a:pt x="1329" y="545"/>
                    <a:pt x="1330" y="543"/>
                  </a:cubicBezTo>
                  <a:cubicBezTo>
                    <a:pt x="1331" y="541"/>
                    <a:pt x="1330" y="541"/>
                    <a:pt x="1332" y="540"/>
                  </a:cubicBezTo>
                  <a:cubicBezTo>
                    <a:pt x="1334" y="539"/>
                    <a:pt x="1338" y="538"/>
                    <a:pt x="1339" y="537"/>
                  </a:cubicBezTo>
                  <a:cubicBezTo>
                    <a:pt x="1340" y="535"/>
                    <a:pt x="1342" y="532"/>
                    <a:pt x="1343" y="531"/>
                  </a:cubicBezTo>
                  <a:cubicBezTo>
                    <a:pt x="1344" y="531"/>
                    <a:pt x="1347" y="529"/>
                    <a:pt x="1347" y="529"/>
                  </a:cubicBezTo>
                  <a:cubicBezTo>
                    <a:pt x="1347" y="529"/>
                    <a:pt x="1348" y="528"/>
                    <a:pt x="1349" y="528"/>
                  </a:cubicBezTo>
                  <a:cubicBezTo>
                    <a:pt x="1350" y="528"/>
                    <a:pt x="1353" y="528"/>
                    <a:pt x="1354" y="528"/>
                  </a:cubicBezTo>
                  <a:cubicBezTo>
                    <a:pt x="1354" y="527"/>
                    <a:pt x="1360" y="524"/>
                    <a:pt x="1360" y="524"/>
                  </a:cubicBezTo>
                  <a:cubicBezTo>
                    <a:pt x="1363" y="520"/>
                    <a:pt x="1363" y="520"/>
                    <a:pt x="1363" y="520"/>
                  </a:cubicBezTo>
                  <a:cubicBezTo>
                    <a:pt x="1363" y="520"/>
                    <a:pt x="1368" y="514"/>
                    <a:pt x="1369" y="514"/>
                  </a:cubicBezTo>
                  <a:cubicBezTo>
                    <a:pt x="1370" y="514"/>
                    <a:pt x="1376" y="511"/>
                    <a:pt x="1376" y="511"/>
                  </a:cubicBezTo>
                  <a:cubicBezTo>
                    <a:pt x="1380" y="510"/>
                    <a:pt x="1380" y="510"/>
                    <a:pt x="1380" y="510"/>
                  </a:cubicBezTo>
                  <a:cubicBezTo>
                    <a:pt x="1380" y="510"/>
                    <a:pt x="1395" y="509"/>
                    <a:pt x="1397" y="509"/>
                  </a:cubicBezTo>
                  <a:cubicBezTo>
                    <a:pt x="1398" y="509"/>
                    <a:pt x="1399" y="508"/>
                    <a:pt x="1402" y="508"/>
                  </a:cubicBezTo>
                  <a:cubicBezTo>
                    <a:pt x="1404" y="508"/>
                    <a:pt x="1409" y="506"/>
                    <a:pt x="1409" y="507"/>
                  </a:cubicBezTo>
                  <a:cubicBezTo>
                    <a:pt x="1410" y="507"/>
                    <a:pt x="1411" y="508"/>
                    <a:pt x="1412" y="508"/>
                  </a:cubicBezTo>
                  <a:cubicBezTo>
                    <a:pt x="1413" y="509"/>
                    <a:pt x="1413" y="509"/>
                    <a:pt x="1414" y="510"/>
                  </a:cubicBezTo>
                  <a:cubicBezTo>
                    <a:pt x="1415" y="510"/>
                    <a:pt x="1418" y="509"/>
                    <a:pt x="1419" y="510"/>
                  </a:cubicBezTo>
                  <a:cubicBezTo>
                    <a:pt x="1420" y="510"/>
                    <a:pt x="1428" y="509"/>
                    <a:pt x="1428" y="509"/>
                  </a:cubicBezTo>
                  <a:cubicBezTo>
                    <a:pt x="1431" y="511"/>
                    <a:pt x="1431" y="511"/>
                    <a:pt x="1431" y="511"/>
                  </a:cubicBezTo>
                  <a:cubicBezTo>
                    <a:pt x="1442" y="511"/>
                    <a:pt x="1442" y="511"/>
                    <a:pt x="1442" y="511"/>
                  </a:cubicBezTo>
                  <a:cubicBezTo>
                    <a:pt x="1442" y="511"/>
                    <a:pt x="1447" y="510"/>
                    <a:pt x="1448" y="510"/>
                  </a:cubicBezTo>
                  <a:cubicBezTo>
                    <a:pt x="1450" y="510"/>
                    <a:pt x="1458" y="506"/>
                    <a:pt x="1459" y="505"/>
                  </a:cubicBezTo>
                  <a:cubicBezTo>
                    <a:pt x="1460" y="505"/>
                    <a:pt x="1462" y="506"/>
                    <a:pt x="1464" y="503"/>
                  </a:cubicBezTo>
                  <a:cubicBezTo>
                    <a:pt x="1466" y="501"/>
                    <a:pt x="1475" y="498"/>
                    <a:pt x="1475" y="496"/>
                  </a:cubicBezTo>
                  <a:cubicBezTo>
                    <a:pt x="1475" y="494"/>
                    <a:pt x="1479" y="491"/>
                    <a:pt x="1480" y="490"/>
                  </a:cubicBezTo>
                  <a:cubicBezTo>
                    <a:pt x="1480" y="490"/>
                    <a:pt x="1484" y="490"/>
                    <a:pt x="1485" y="489"/>
                  </a:cubicBezTo>
                  <a:cubicBezTo>
                    <a:pt x="1487" y="489"/>
                    <a:pt x="1491" y="489"/>
                    <a:pt x="1494" y="488"/>
                  </a:cubicBezTo>
                  <a:cubicBezTo>
                    <a:pt x="1496" y="487"/>
                    <a:pt x="1500" y="485"/>
                    <a:pt x="1501" y="486"/>
                  </a:cubicBezTo>
                  <a:cubicBezTo>
                    <a:pt x="1502" y="486"/>
                    <a:pt x="1509" y="483"/>
                    <a:pt x="1509" y="483"/>
                  </a:cubicBezTo>
                  <a:cubicBezTo>
                    <a:pt x="1514" y="479"/>
                    <a:pt x="1514" y="479"/>
                    <a:pt x="1514" y="479"/>
                  </a:cubicBezTo>
                  <a:cubicBezTo>
                    <a:pt x="1516" y="475"/>
                    <a:pt x="1516" y="475"/>
                    <a:pt x="1516" y="475"/>
                  </a:cubicBezTo>
                  <a:cubicBezTo>
                    <a:pt x="1512" y="470"/>
                    <a:pt x="1512" y="470"/>
                    <a:pt x="1512" y="470"/>
                  </a:cubicBezTo>
                  <a:cubicBezTo>
                    <a:pt x="1511" y="467"/>
                    <a:pt x="1511" y="467"/>
                    <a:pt x="1511" y="467"/>
                  </a:cubicBezTo>
                  <a:cubicBezTo>
                    <a:pt x="1512" y="463"/>
                    <a:pt x="1515" y="462"/>
                    <a:pt x="1515" y="460"/>
                  </a:cubicBezTo>
                  <a:cubicBezTo>
                    <a:pt x="1515" y="457"/>
                    <a:pt x="1513" y="456"/>
                    <a:pt x="1513" y="454"/>
                  </a:cubicBezTo>
                  <a:cubicBezTo>
                    <a:pt x="1514" y="452"/>
                    <a:pt x="1516" y="450"/>
                    <a:pt x="1514" y="449"/>
                  </a:cubicBezTo>
                  <a:cubicBezTo>
                    <a:pt x="1512" y="447"/>
                    <a:pt x="1508" y="445"/>
                    <a:pt x="1505" y="444"/>
                  </a:cubicBezTo>
                  <a:cubicBezTo>
                    <a:pt x="1503" y="443"/>
                    <a:pt x="1499" y="443"/>
                    <a:pt x="1497" y="443"/>
                  </a:cubicBezTo>
                  <a:cubicBezTo>
                    <a:pt x="1495" y="442"/>
                    <a:pt x="1494" y="445"/>
                    <a:pt x="1494" y="446"/>
                  </a:cubicBezTo>
                  <a:cubicBezTo>
                    <a:pt x="1493" y="447"/>
                    <a:pt x="1495" y="449"/>
                    <a:pt x="1492" y="450"/>
                  </a:cubicBezTo>
                  <a:cubicBezTo>
                    <a:pt x="1490" y="450"/>
                    <a:pt x="1492" y="448"/>
                    <a:pt x="1492" y="443"/>
                  </a:cubicBezTo>
                  <a:cubicBezTo>
                    <a:pt x="1491" y="438"/>
                    <a:pt x="1490" y="438"/>
                    <a:pt x="1488" y="438"/>
                  </a:cubicBezTo>
                  <a:cubicBezTo>
                    <a:pt x="1485" y="438"/>
                    <a:pt x="1481" y="439"/>
                    <a:pt x="1479" y="439"/>
                  </a:cubicBezTo>
                  <a:cubicBezTo>
                    <a:pt x="1478" y="440"/>
                    <a:pt x="1473" y="443"/>
                    <a:pt x="1473" y="443"/>
                  </a:cubicBezTo>
                  <a:cubicBezTo>
                    <a:pt x="1469" y="445"/>
                    <a:pt x="1469" y="445"/>
                    <a:pt x="1469" y="445"/>
                  </a:cubicBezTo>
                  <a:cubicBezTo>
                    <a:pt x="1469" y="445"/>
                    <a:pt x="1468" y="446"/>
                    <a:pt x="1465" y="448"/>
                  </a:cubicBezTo>
                  <a:cubicBezTo>
                    <a:pt x="1462" y="449"/>
                    <a:pt x="1458" y="452"/>
                    <a:pt x="1457" y="452"/>
                  </a:cubicBezTo>
                  <a:cubicBezTo>
                    <a:pt x="1456" y="452"/>
                    <a:pt x="1454" y="452"/>
                    <a:pt x="1453" y="450"/>
                  </a:cubicBezTo>
                  <a:cubicBezTo>
                    <a:pt x="1451" y="449"/>
                    <a:pt x="1451" y="447"/>
                    <a:pt x="1453" y="446"/>
                  </a:cubicBezTo>
                  <a:cubicBezTo>
                    <a:pt x="1454" y="446"/>
                    <a:pt x="1462" y="447"/>
                    <a:pt x="1462" y="445"/>
                  </a:cubicBezTo>
                  <a:cubicBezTo>
                    <a:pt x="1462" y="444"/>
                    <a:pt x="1466" y="443"/>
                    <a:pt x="1466" y="442"/>
                  </a:cubicBezTo>
                  <a:cubicBezTo>
                    <a:pt x="1467" y="441"/>
                    <a:pt x="1468" y="441"/>
                    <a:pt x="1469" y="440"/>
                  </a:cubicBezTo>
                  <a:cubicBezTo>
                    <a:pt x="1470" y="438"/>
                    <a:pt x="1471" y="437"/>
                    <a:pt x="1472" y="438"/>
                  </a:cubicBezTo>
                  <a:cubicBezTo>
                    <a:pt x="1473" y="438"/>
                    <a:pt x="1478" y="438"/>
                    <a:pt x="1479" y="437"/>
                  </a:cubicBezTo>
                  <a:cubicBezTo>
                    <a:pt x="1480" y="436"/>
                    <a:pt x="1485" y="436"/>
                    <a:pt x="1485" y="436"/>
                  </a:cubicBezTo>
                  <a:cubicBezTo>
                    <a:pt x="1490" y="434"/>
                    <a:pt x="1490" y="434"/>
                    <a:pt x="1490" y="434"/>
                  </a:cubicBezTo>
                  <a:cubicBezTo>
                    <a:pt x="1494" y="432"/>
                    <a:pt x="1494" y="432"/>
                    <a:pt x="1494" y="432"/>
                  </a:cubicBezTo>
                  <a:cubicBezTo>
                    <a:pt x="1494" y="432"/>
                    <a:pt x="1488" y="430"/>
                    <a:pt x="1488" y="429"/>
                  </a:cubicBezTo>
                  <a:cubicBezTo>
                    <a:pt x="1486" y="426"/>
                    <a:pt x="1488" y="423"/>
                    <a:pt x="1485" y="423"/>
                  </a:cubicBezTo>
                  <a:cubicBezTo>
                    <a:pt x="1482" y="423"/>
                    <a:pt x="1481" y="423"/>
                    <a:pt x="1478" y="425"/>
                  </a:cubicBezTo>
                  <a:cubicBezTo>
                    <a:pt x="1475" y="426"/>
                    <a:pt x="1475" y="427"/>
                    <a:pt x="1474" y="425"/>
                  </a:cubicBezTo>
                  <a:cubicBezTo>
                    <a:pt x="1472" y="423"/>
                    <a:pt x="1473" y="421"/>
                    <a:pt x="1472" y="421"/>
                  </a:cubicBezTo>
                  <a:cubicBezTo>
                    <a:pt x="1471" y="420"/>
                    <a:pt x="1470" y="416"/>
                    <a:pt x="1468" y="418"/>
                  </a:cubicBezTo>
                  <a:cubicBezTo>
                    <a:pt x="1467" y="420"/>
                    <a:pt x="1466" y="419"/>
                    <a:pt x="1465" y="421"/>
                  </a:cubicBezTo>
                  <a:cubicBezTo>
                    <a:pt x="1463" y="424"/>
                    <a:pt x="1460" y="423"/>
                    <a:pt x="1460" y="423"/>
                  </a:cubicBezTo>
                  <a:cubicBezTo>
                    <a:pt x="1460" y="423"/>
                    <a:pt x="1462" y="420"/>
                    <a:pt x="1462" y="419"/>
                  </a:cubicBezTo>
                  <a:cubicBezTo>
                    <a:pt x="1462" y="418"/>
                    <a:pt x="1459" y="417"/>
                    <a:pt x="1458" y="417"/>
                  </a:cubicBezTo>
                  <a:cubicBezTo>
                    <a:pt x="1457" y="417"/>
                    <a:pt x="1455" y="416"/>
                    <a:pt x="1454" y="416"/>
                  </a:cubicBezTo>
                  <a:cubicBezTo>
                    <a:pt x="1454" y="417"/>
                    <a:pt x="1453" y="410"/>
                    <a:pt x="1453" y="410"/>
                  </a:cubicBezTo>
                  <a:cubicBezTo>
                    <a:pt x="1453" y="410"/>
                    <a:pt x="1452" y="409"/>
                    <a:pt x="1450" y="407"/>
                  </a:cubicBezTo>
                  <a:cubicBezTo>
                    <a:pt x="1449" y="405"/>
                    <a:pt x="1450" y="406"/>
                    <a:pt x="1449" y="405"/>
                  </a:cubicBezTo>
                  <a:cubicBezTo>
                    <a:pt x="1447" y="404"/>
                    <a:pt x="1451" y="405"/>
                    <a:pt x="1447" y="404"/>
                  </a:cubicBezTo>
                  <a:cubicBezTo>
                    <a:pt x="1443" y="404"/>
                    <a:pt x="1447" y="406"/>
                    <a:pt x="1446" y="406"/>
                  </a:cubicBezTo>
                  <a:cubicBezTo>
                    <a:pt x="1444" y="406"/>
                    <a:pt x="1443" y="403"/>
                    <a:pt x="1442" y="402"/>
                  </a:cubicBezTo>
                  <a:cubicBezTo>
                    <a:pt x="1440" y="402"/>
                    <a:pt x="1440" y="397"/>
                    <a:pt x="1439" y="397"/>
                  </a:cubicBezTo>
                  <a:cubicBezTo>
                    <a:pt x="1437" y="397"/>
                    <a:pt x="1438" y="394"/>
                    <a:pt x="1436" y="395"/>
                  </a:cubicBezTo>
                  <a:cubicBezTo>
                    <a:pt x="1433" y="395"/>
                    <a:pt x="1432" y="392"/>
                    <a:pt x="1432" y="392"/>
                  </a:cubicBezTo>
                  <a:cubicBezTo>
                    <a:pt x="1432" y="392"/>
                    <a:pt x="1428" y="390"/>
                    <a:pt x="1432" y="390"/>
                  </a:cubicBezTo>
                  <a:cubicBezTo>
                    <a:pt x="1436" y="389"/>
                    <a:pt x="1438" y="388"/>
                    <a:pt x="1438" y="388"/>
                  </a:cubicBezTo>
                  <a:cubicBezTo>
                    <a:pt x="1438" y="388"/>
                    <a:pt x="1440" y="384"/>
                    <a:pt x="1439" y="384"/>
                  </a:cubicBezTo>
                  <a:cubicBezTo>
                    <a:pt x="1437" y="384"/>
                    <a:pt x="1438" y="379"/>
                    <a:pt x="1436" y="378"/>
                  </a:cubicBezTo>
                  <a:cubicBezTo>
                    <a:pt x="1434" y="378"/>
                    <a:pt x="1434" y="376"/>
                    <a:pt x="1432" y="374"/>
                  </a:cubicBezTo>
                  <a:cubicBezTo>
                    <a:pt x="1430" y="373"/>
                    <a:pt x="1430" y="371"/>
                    <a:pt x="1431" y="370"/>
                  </a:cubicBezTo>
                  <a:cubicBezTo>
                    <a:pt x="1432" y="370"/>
                    <a:pt x="1436" y="369"/>
                    <a:pt x="1433" y="367"/>
                  </a:cubicBezTo>
                  <a:cubicBezTo>
                    <a:pt x="1431" y="366"/>
                    <a:pt x="1429" y="364"/>
                    <a:pt x="1427" y="363"/>
                  </a:cubicBezTo>
                  <a:cubicBezTo>
                    <a:pt x="1424" y="362"/>
                    <a:pt x="1424" y="361"/>
                    <a:pt x="1423" y="360"/>
                  </a:cubicBezTo>
                  <a:cubicBezTo>
                    <a:pt x="1421" y="360"/>
                    <a:pt x="1423" y="359"/>
                    <a:pt x="1421" y="357"/>
                  </a:cubicBezTo>
                  <a:cubicBezTo>
                    <a:pt x="1419" y="355"/>
                    <a:pt x="1420" y="353"/>
                    <a:pt x="1418" y="353"/>
                  </a:cubicBezTo>
                  <a:cubicBezTo>
                    <a:pt x="1417" y="353"/>
                    <a:pt x="1416" y="355"/>
                    <a:pt x="1415" y="353"/>
                  </a:cubicBezTo>
                  <a:cubicBezTo>
                    <a:pt x="1413" y="350"/>
                    <a:pt x="1415" y="344"/>
                    <a:pt x="1414" y="344"/>
                  </a:cubicBezTo>
                  <a:cubicBezTo>
                    <a:pt x="1413" y="344"/>
                    <a:pt x="1413" y="343"/>
                    <a:pt x="1412" y="343"/>
                  </a:cubicBezTo>
                  <a:cubicBezTo>
                    <a:pt x="1412" y="342"/>
                    <a:pt x="1411" y="341"/>
                    <a:pt x="1409" y="339"/>
                  </a:cubicBezTo>
                  <a:cubicBezTo>
                    <a:pt x="1403" y="331"/>
                    <a:pt x="1408" y="337"/>
                    <a:pt x="1408" y="336"/>
                  </a:cubicBezTo>
                  <a:cubicBezTo>
                    <a:pt x="1407" y="335"/>
                    <a:pt x="1408" y="334"/>
                    <a:pt x="1407" y="333"/>
                  </a:cubicBezTo>
                  <a:cubicBezTo>
                    <a:pt x="1406" y="332"/>
                    <a:pt x="1404" y="332"/>
                    <a:pt x="1402" y="330"/>
                  </a:cubicBezTo>
                  <a:cubicBezTo>
                    <a:pt x="1401" y="329"/>
                    <a:pt x="1402" y="325"/>
                    <a:pt x="1399" y="325"/>
                  </a:cubicBezTo>
                  <a:cubicBezTo>
                    <a:pt x="1397" y="324"/>
                    <a:pt x="1398" y="323"/>
                    <a:pt x="1397" y="321"/>
                  </a:cubicBezTo>
                  <a:cubicBezTo>
                    <a:pt x="1397" y="318"/>
                    <a:pt x="1397" y="315"/>
                    <a:pt x="1396" y="317"/>
                  </a:cubicBezTo>
                  <a:cubicBezTo>
                    <a:pt x="1390" y="323"/>
                    <a:pt x="1392" y="322"/>
                    <a:pt x="1390" y="325"/>
                  </a:cubicBezTo>
                  <a:cubicBezTo>
                    <a:pt x="1389" y="327"/>
                    <a:pt x="1389" y="323"/>
                    <a:pt x="1389" y="327"/>
                  </a:cubicBezTo>
                  <a:cubicBezTo>
                    <a:pt x="1388" y="327"/>
                    <a:pt x="1388" y="327"/>
                    <a:pt x="1388" y="327"/>
                  </a:cubicBezTo>
                  <a:cubicBezTo>
                    <a:pt x="1388" y="331"/>
                    <a:pt x="1384" y="328"/>
                    <a:pt x="1383" y="330"/>
                  </a:cubicBezTo>
                  <a:cubicBezTo>
                    <a:pt x="1383" y="332"/>
                    <a:pt x="1384" y="332"/>
                    <a:pt x="1385" y="334"/>
                  </a:cubicBezTo>
                  <a:cubicBezTo>
                    <a:pt x="1386" y="336"/>
                    <a:pt x="1387" y="337"/>
                    <a:pt x="1386" y="338"/>
                  </a:cubicBezTo>
                  <a:cubicBezTo>
                    <a:pt x="1385" y="339"/>
                    <a:pt x="1382" y="336"/>
                    <a:pt x="1382" y="339"/>
                  </a:cubicBezTo>
                  <a:cubicBezTo>
                    <a:pt x="1382" y="342"/>
                    <a:pt x="1380" y="343"/>
                    <a:pt x="1380" y="345"/>
                  </a:cubicBezTo>
                  <a:cubicBezTo>
                    <a:pt x="1381" y="346"/>
                    <a:pt x="1387" y="343"/>
                    <a:pt x="1382" y="347"/>
                  </a:cubicBezTo>
                  <a:cubicBezTo>
                    <a:pt x="1377" y="351"/>
                    <a:pt x="1379" y="356"/>
                    <a:pt x="1377" y="356"/>
                  </a:cubicBezTo>
                  <a:cubicBezTo>
                    <a:pt x="1374" y="355"/>
                    <a:pt x="1374" y="349"/>
                    <a:pt x="1372" y="350"/>
                  </a:cubicBezTo>
                  <a:cubicBezTo>
                    <a:pt x="1369" y="352"/>
                    <a:pt x="1373" y="349"/>
                    <a:pt x="1369" y="352"/>
                  </a:cubicBezTo>
                  <a:cubicBezTo>
                    <a:pt x="1366" y="354"/>
                    <a:pt x="1368" y="351"/>
                    <a:pt x="1366" y="354"/>
                  </a:cubicBezTo>
                  <a:cubicBezTo>
                    <a:pt x="1365" y="355"/>
                    <a:pt x="1365" y="356"/>
                    <a:pt x="1365" y="356"/>
                  </a:cubicBezTo>
                  <a:cubicBezTo>
                    <a:pt x="1365" y="356"/>
                    <a:pt x="1365" y="356"/>
                    <a:pt x="1365" y="357"/>
                  </a:cubicBezTo>
                  <a:cubicBezTo>
                    <a:pt x="1365" y="359"/>
                    <a:pt x="1363" y="358"/>
                    <a:pt x="1361" y="359"/>
                  </a:cubicBezTo>
                  <a:cubicBezTo>
                    <a:pt x="1357" y="361"/>
                    <a:pt x="1358" y="358"/>
                    <a:pt x="1357" y="361"/>
                  </a:cubicBezTo>
                  <a:cubicBezTo>
                    <a:pt x="1353" y="363"/>
                    <a:pt x="1356" y="358"/>
                    <a:pt x="1354" y="358"/>
                  </a:cubicBezTo>
                  <a:cubicBezTo>
                    <a:pt x="1352" y="357"/>
                    <a:pt x="1354" y="355"/>
                    <a:pt x="1351" y="359"/>
                  </a:cubicBezTo>
                  <a:cubicBezTo>
                    <a:pt x="1347" y="362"/>
                    <a:pt x="1350" y="360"/>
                    <a:pt x="1347" y="362"/>
                  </a:cubicBezTo>
                  <a:cubicBezTo>
                    <a:pt x="1344" y="363"/>
                    <a:pt x="1342" y="362"/>
                    <a:pt x="1344" y="359"/>
                  </a:cubicBezTo>
                  <a:cubicBezTo>
                    <a:pt x="1346" y="356"/>
                    <a:pt x="1347" y="354"/>
                    <a:pt x="1347" y="354"/>
                  </a:cubicBezTo>
                  <a:cubicBezTo>
                    <a:pt x="1346" y="354"/>
                    <a:pt x="1347" y="349"/>
                    <a:pt x="1344" y="348"/>
                  </a:cubicBezTo>
                  <a:cubicBezTo>
                    <a:pt x="1342" y="346"/>
                    <a:pt x="1346" y="346"/>
                    <a:pt x="1342" y="346"/>
                  </a:cubicBezTo>
                  <a:cubicBezTo>
                    <a:pt x="1339" y="346"/>
                    <a:pt x="1332" y="349"/>
                    <a:pt x="1332" y="349"/>
                  </a:cubicBezTo>
                  <a:cubicBezTo>
                    <a:pt x="1328" y="352"/>
                    <a:pt x="1332" y="355"/>
                    <a:pt x="1328" y="352"/>
                  </a:cubicBezTo>
                  <a:cubicBezTo>
                    <a:pt x="1324" y="349"/>
                    <a:pt x="1323" y="345"/>
                    <a:pt x="1325" y="345"/>
                  </a:cubicBezTo>
                  <a:cubicBezTo>
                    <a:pt x="1327" y="346"/>
                    <a:pt x="1328" y="347"/>
                    <a:pt x="1329" y="346"/>
                  </a:cubicBezTo>
                  <a:cubicBezTo>
                    <a:pt x="1331" y="346"/>
                    <a:pt x="1332" y="347"/>
                    <a:pt x="1332" y="345"/>
                  </a:cubicBezTo>
                  <a:cubicBezTo>
                    <a:pt x="1332" y="345"/>
                    <a:pt x="1333" y="345"/>
                    <a:pt x="1333" y="345"/>
                  </a:cubicBezTo>
                  <a:cubicBezTo>
                    <a:pt x="1333" y="345"/>
                    <a:pt x="1332" y="344"/>
                    <a:pt x="1332" y="342"/>
                  </a:cubicBezTo>
                  <a:cubicBezTo>
                    <a:pt x="1331" y="338"/>
                    <a:pt x="1332" y="347"/>
                    <a:pt x="1330" y="340"/>
                  </a:cubicBezTo>
                  <a:cubicBezTo>
                    <a:pt x="1329" y="334"/>
                    <a:pt x="1327" y="335"/>
                    <a:pt x="1327" y="332"/>
                  </a:cubicBezTo>
                  <a:cubicBezTo>
                    <a:pt x="1326" y="330"/>
                    <a:pt x="1326" y="329"/>
                    <a:pt x="1326" y="329"/>
                  </a:cubicBezTo>
                  <a:cubicBezTo>
                    <a:pt x="1326" y="328"/>
                    <a:pt x="1327" y="327"/>
                    <a:pt x="1327" y="324"/>
                  </a:cubicBezTo>
                  <a:cubicBezTo>
                    <a:pt x="1327" y="320"/>
                    <a:pt x="1326" y="321"/>
                    <a:pt x="1326" y="319"/>
                  </a:cubicBezTo>
                  <a:cubicBezTo>
                    <a:pt x="1326" y="317"/>
                    <a:pt x="1322" y="319"/>
                    <a:pt x="1326" y="314"/>
                  </a:cubicBezTo>
                  <a:cubicBezTo>
                    <a:pt x="1330" y="308"/>
                    <a:pt x="1330" y="305"/>
                    <a:pt x="1330" y="305"/>
                  </a:cubicBezTo>
                  <a:cubicBezTo>
                    <a:pt x="1327" y="304"/>
                    <a:pt x="1327" y="304"/>
                    <a:pt x="1325" y="304"/>
                  </a:cubicBezTo>
                  <a:cubicBezTo>
                    <a:pt x="1323" y="304"/>
                    <a:pt x="1324" y="305"/>
                    <a:pt x="1320" y="305"/>
                  </a:cubicBezTo>
                  <a:cubicBezTo>
                    <a:pt x="1316" y="306"/>
                    <a:pt x="1319" y="302"/>
                    <a:pt x="1318" y="303"/>
                  </a:cubicBezTo>
                  <a:cubicBezTo>
                    <a:pt x="1317" y="303"/>
                    <a:pt x="1312" y="304"/>
                    <a:pt x="1312" y="304"/>
                  </a:cubicBezTo>
                  <a:cubicBezTo>
                    <a:pt x="1309" y="303"/>
                    <a:pt x="1309" y="303"/>
                    <a:pt x="1309" y="303"/>
                  </a:cubicBezTo>
                  <a:cubicBezTo>
                    <a:pt x="1306" y="301"/>
                    <a:pt x="1304" y="301"/>
                    <a:pt x="1303" y="301"/>
                  </a:cubicBezTo>
                  <a:cubicBezTo>
                    <a:pt x="1303" y="301"/>
                    <a:pt x="1300" y="298"/>
                    <a:pt x="1300" y="297"/>
                  </a:cubicBezTo>
                  <a:cubicBezTo>
                    <a:pt x="1299" y="294"/>
                    <a:pt x="1300" y="293"/>
                    <a:pt x="1299" y="292"/>
                  </a:cubicBezTo>
                  <a:cubicBezTo>
                    <a:pt x="1297" y="291"/>
                    <a:pt x="1297" y="289"/>
                    <a:pt x="1295" y="289"/>
                  </a:cubicBezTo>
                  <a:cubicBezTo>
                    <a:pt x="1293" y="289"/>
                    <a:pt x="1290" y="287"/>
                    <a:pt x="1289" y="288"/>
                  </a:cubicBezTo>
                  <a:cubicBezTo>
                    <a:pt x="1288" y="288"/>
                    <a:pt x="1289" y="285"/>
                    <a:pt x="1288" y="284"/>
                  </a:cubicBezTo>
                  <a:cubicBezTo>
                    <a:pt x="1288" y="284"/>
                    <a:pt x="1288" y="282"/>
                    <a:pt x="1286" y="281"/>
                  </a:cubicBezTo>
                  <a:cubicBezTo>
                    <a:pt x="1283" y="279"/>
                    <a:pt x="1286" y="276"/>
                    <a:pt x="1280" y="277"/>
                  </a:cubicBezTo>
                  <a:cubicBezTo>
                    <a:pt x="1274" y="277"/>
                    <a:pt x="1275" y="278"/>
                    <a:pt x="1275" y="278"/>
                  </a:cubicBezTo>
                  <a:cubicBezTo>
                    <a:pt x="1270" y="277"/>
                    <a:pt x="1268" y="277"/>
                    <a:pt x="1265" y="278"/>
                  </a:cubicBezTo>
                  <a:cubicBezTo>
                    <a:pt x="1263" y="279"/>
                    <a:pt x="1264" y="279"/>
                    <a:pt x="1261" y="280"/>
                  </a:cubicBezTo>
                  <a:cubicBezTo>
                    <a:pt x="1258" y="281"/>
                    <a:pt x="1261" y="283"/>
                    <a:pt x="1258" y="281"/>
                  </a:cubicBezTo>
                  <a:cubicBezTo>
                    <a:pt x="1256" y="279"/>
                    <a:pt x="1256" y="278"/>
                    <a:pt x="1255" y="278"/>
                  </a:cubicBezTo>
                  <a:cubicBezTo>
                    <a:pt x="1253" y="278"/>
                    <a:pt x="1253" y="277"/>
                    <a:pt x="1251" y="278"/>
                  </a:cubicBezTo>
                  <a:cubicBezTo>
                    <a:pt x="1250" y="279"/>
                    <a:pt x="1251" y="276"/>
                    <a:pt x="1248" y="278"/>
                  </a:cubicBezTo>
                  <a:cubicBezTo>
                    <a:pt x="1246" y="280"/>
                    <a:pt x="1246" y="281"/>
                    <a:pt x="1245" y="278"/>
                  </a:cubicBezTo>
                  <a:cubicBezTo>
                    <a:pt x="1244" y="276"/>
                    <a:pt x="1245" y="275"/>
                    <a:pt x="1243" y="275"/>
                  </a:cubicBezTo>
                  <a:cubicBezTo>
                    <a:pt x="1241" y="274"/>
                    <a:pt x="1245" y="271"/>
                    <a:pt x="1239" y="273"/>
                  </a:cubicBezTo>
                  <a:cubicBezTo>
                    <a:pt x="1234" y="275"/>
                    <a:pt x="1232" y="275"/>
                    <a:pt x="1231" y="274"/>
                  </a:cubicBezTo>
                  <a:cubicBezTo>
                    <a:pt x="1230" y="273"/>
                    <a:pt x="1229" y="270"/>
                    <a:pt x="1227" y="271"/>
                  </a:cubicBezTo>
                  <a:cubicBezTo>
                    <a:pt x="1224" y="272"/>
                    <a:pt x="1223" y="272"/>
                    <a:pt x="1221" y="273"/>
                  </a:cubicBezTo>
                  <a:cubicBezTo>
                    <a:pt x="1219" y="275"/>
                    <a:pt x="1216" y="274"/>
                    <a:pt x="1215" y="276"/>
                  </a:cubicBezTo>
                  <a:cubicBezTo>
                    <a:pt x="1213" y="278"/>
                    <a:pt x="1213" y="277"/>
                    <a:pt x="1213" y="281"/>
                  </a:cubicBezTo>
                  <a:cubicBezTo>
                    <a:pt x="1213" y="285"/>
                    <a:pt x="1215" y="283"/>
                    <a:pt x="1216" y="287"/>
                  </a:cubicBezTo>
                  <a:cubicBezTo>
                    <a:pt x="1217" y="291"/>
                    <a:pt x="1217" y="291"/>
                    <a:pt x="1218" y="294"/>
                  </a:cubicBezTo>
                  <a:cubicBezTo>
                    <a:pt x="1219" y="296"/>
                    <a:pt x="1221" y="293"/>
                    <a:pt x="1219" y="296"/>
                  </a:cubicBezTo>
                  <a:cubicBezTo>
                    <a:pt x="1217" y="299"/>
                    <a:pt x="1219" y="303"/>
                    <a:pt x="1218" y="305"/>
                  </a:cubicBezTo>
                  <a:cubicBezTo>
                    <a:pt x="1217" y="306"/>
                    <a:pt x="1217" y="307"/>
                    <a:pt x="1217" y="309"/>
                  </a:cubicBezTo>
                  <a:cubicBezTo>
                    <a:pt x="1216" y="311"/>
                    <a:pt x="1216" y="310"/>
                    <a:pt x="1217" y="313"/>
                  </a:cubicBezTo>
                  <a:cubicBezTo>
                    <a:pt x="1219" y="315"/>
                    <a:pt x="1221" y="317"/>
                    <a:pt x="1221" y="319"/>
                  </a:cubicBezTo>
                  <a:cubicBezTo>
                    <a:pt x="1221" y="321"/>
                    <a:pt x="1222" y="322"/>
                    <a:pt x="1222" y="323"/>
                  </a:cubicBezTo>
                  <a:cubicBezTo>
                    <a:pt x="1221" y="325"/>
                    <a:pt x="1224" y="326"/>
                    <a:pt x="1224" y="328"/>
                  </a:cubicBezTo>
                  <a:cubicBezTo>
                    <a:pt x="1224" y="329"/>
                    <a:pt x="1225" y="332"/>
                    <a:pt x="1224" y="333"/>
                  </a:cubicBezTo>
                  <a:cubicBezTo>
                    <a:pt x="1223" y="334"/>
                    <a:pt x="1219" y="334"/>
                    <a:pt x="1219" y="335"/>
                  </a:cubicBezTo>
                  <a:cubicBezTo>
                    <a:pt x="1218" y="340"/>
                    <a:pt x="1218" y="340"/>
                    <a:pt x="1216" y="342"/>
                  </a:cubicBezTo>
                  <a:cubicBezTo>
                    <a:pt x="1214" y="345"/>
                    <a:pt x="1211" y="346"/>
                    <a:pt x="1211" y="346"/>
                  </a:cubicBezTo>
                  <a:cubicBezTo>
                    <a:pt x="1211" y="346"/>
                    <a:pt x="1210" y="348"/>
                    <a:pt x="1210" y="349"/>
                  </a:cubicBezTo>
                  <a:cubicBezTo>
                    <a:pt x="1209" y="350"/>
                    <a:pt x="1204" y="354"/>
                    <a:pt x="1206" y="355"/>
                  </a:cubicBezTo>
                  <a:cubicBezTo>
                    <a:pt x="1208" y="355"/>
                    <a:pt x="1214" y="356"/>
                    <a:pt x="1217" y="359"/>
                  </a:cubicBezTo>
                  <a:cubicBezTo>
                    <a:pt x="1221" y="362"/>
                    <a:pt x="1226" y="361"/>
                    <a:pt x="1226" y="362"/>
                  </a:cubicBezTo>
                  <a:cubicBezTo>
                    <a:pt x="1226" y="363"/>
                    <a:pt x="1227" y="363"/>
                    <a:pt x="1229" y="366"/>
                  </a:cubicBezTo>
                  <a:cubicBezTo>
                    <a:pt x="1230" y="369"/>
                    <a:pt x="1232" y="371"/>
                    <a:pt x="1233" y="373"/>
                  </a:cubicBezTo>
                  <a:cubicBezTo>
                    <a:pt x="1234" y="375"/>
                    <a:pt x="1234" y="375"/>
                    <a:pt x="1234" y="377"/>
                  </a:cubicBezTo>
                  <a:cubicBezTo>
                    <a:pt x="1234" y="378"/>
                    <a:pt x="1234" y="377"/>
                    <a:pt x="1235" y="380"/>
                  </a:cubicBezTo>
                  <a:cubicBezTo>
                    <a:pt x="1235" y="383"/>
                    <a:pt x="1237" y="381"/>
                    <a:pt x="1234" y="388"/>
                  </a:cubicBezTo>
                  <a:cubicBezTo>
                    <a:pt x="1234" y="388"/>
                    <a:pt x="1233" y="393"/>
                    <a:pt x="1234" y="395"/>
                  </a:cubicBezTo>
                  <a:cubicBezTo>
                    <a:pt x="1234" y="397"/>
                    <a:pt x="1235" y="400"/>
                    <a:pt x="1235" y="400"/>
                  </a:cubicBezTo>
                  <a:cubicBezTo>
                    <a:pt x="1235" y="400"/>
                    <a:pt x="1234" y="403"/>
                    <a:pt x="1234" y="403"/>
                  </a:cubicBezTo>
                  <a:cubicBezTo>
                    <a:pt x="1233" y="404"/>
                    <a:pt x="1234" y="407"/>
                    <a:pt x="1229" y="409"/>
                  </a:cubicBezTo>
                  <a:cubicBezTo>
                    <a:pt x="1225" y="411"/>
                    <a:pt x="1223" y="411"/>
                    <a:pt x="1221" y="413"/>
                  </a:cubicBezTo>
                  <a:cubicBezTo>
                    <a:pt x="1220" y="415"/>
                    <a:pt x="1218" y="416"/>
                    <a:pt x="1216" y="418"/>
                  </a:cubicBezTo>
                  <a:cubicBezTo>
                    <a:pt x="1214" y="421"/>
                    <a:pt x="1215" y="420"/>
                    <a:pt x="1214" y="421"/>
                  </a:cubicBezTo>
                  <a:cubicBezTo>
                    <a:pt x="1212" y="421"/>
                    <a:pt x="1209" y="423"/>
                    <a:pt x="1208" y="424"/>
                  </a:cubicBezTo>
                  <a:cubicBezTo>
                    <a:pt x="1207" y="424"/>
                    <a:pt x="1204" y="423"/>
                    <a:pt x="1201" y="424"/>
                  </a:cubicBezTo>
                  <a:cubicBezTo>
                    <a:pt x="1199" y="425"/>
                    <a:pt x="1200" y="421"/>
                    <a:pt x="1197" y="423"/>
                  </a:cubicBezTo>
                  <a:cubicBezTo>
                    <a:pt x="1194" y="425"/>
                    <a:pt x="1194" y="425"/>
                    <a:pt x="1194" y="428"/>
                  </a:cubicBezTo>
                  <a:cubicBezTo>
                    <a:pt x="1194" y="430"/>
                    <a:pt x="1199" y="433"/>
                    <a:pt x="1199" y="434"/>
                  </a:cubicBezTo>
                  <a:cubicBezTo>
                    <a:pt x="1199" y="435"/>
                    <a:pt x="1199" y="434"/>
                    <a:pt x="1199" y="438"/>
                  </a:cubicBezTo>
                  <a:cubicBezTo>
                    <a:pt x="1199" y="442"/>
                    <a:pt x="1200" y="442"/>
                    <a:pt x="1200" y="443"/>
                  </a:cubicBezTo>
                  <a:cubicBezTo>
                    <a:pt x="1201" y="445"/>
                    <a:pt x="1205" y="445"/>
                    <a:pt x="1203" y="448"/>
                  </a:cubicBezTo>
                  <a:cubicBezTo>
                    <a:pt x="1202" y="450"/>
                    <a:pt x="1203" y="449"/>
                    <a:pt x="1202" y="452"/>
                  </a:cubicBezTo>
                  <a:cubicBezTo>
                    <a:pt x="1202" y="455"/>
                    <a:pt x="1203" y="455"/>
                    <a:pt x="1203" y="459"/>
                  </a:cubicBezTo>
                  <a:cubicBezTo>
                    <a:pt x="1203" y="462"/>
                    <a:pt x="1204" y="466"/>
                    <a:pt x="1204" y="467"/>
                  </a:cubicBezTo>
                  <a:cubicBezTo>
                    <a:pt x="1205" y="468"/>
                    <a:pt x="1208" y="466"/>
                    <a:pt x="1208" y="469"/>
                  </a:cubicBezTo>
                  <a:cubicBezTo>
                    <a:pt x="1208" y="472"/>
                    <a:pt x="1210" y="473"/>
                    <a:pt x="1210" y="474"/>
                  </a:cubicBezTo>
                  <a:cubicBezTo>
                    <a:pt x="1210" y="476"/>
                    <a:pt x="1208" y="475"/>
                    <a:pt x="1207" y="476"/>
                  </a:cubicBezTo>
                  <a:cubicBezTo>
                    <a:pt x="1206" y="477"/>
                    <a:pt x="1205" y="479"/>
                    <a:pt x="1204" y="480"/>
                  </a:cubicBezTo>
                  <a:cubicBezTo>
                    <a:pt x="1203" y="481"/>
                    <a:pt x="1202" y="482"/>
                    <a:pt x="1203" y="483"/>
                  </a:cubicBezTo>
                  <a:cubicBezTo>
                    <a:pt x="1206" y="486"/>
                    <a:pt x="1207" y="486"/>
                    <a:pt x="1207" y="488"/>
                  </a:cubicBezTo>
                  <a:cubicBezTo>
                    <a:pt x="1206" y="489"/>
                    <a:pt x="1204" y="493"/>
                    <a:pt x="1203" y="492"/>
                  </a:cubicBezTo>
                  <a:cubicBezTo>
                    <a:pt x="1203" y="491"/>
                    <a:pt x="1200" y="490"/>
                    <a:pt x="1199" y="489"/>
                  </a:cubicBezTo>
                  <a:cubicBezTo>
                    <a:pt x="1196" y="488"/>
                    <a:pt x="1197" y="486"/>
                    <a:pt x="1194" y="489"/>
                  </a:cubicBezTo>
                  <a:cubicBezTo>
                    <a:pt x="1192" y="492"/>
                    <a:pt x="1192" y="490"/>
                    <a:pt x="1192" y="493"/>
                  </a:cubicBezTo>
                  <a:cubicBezTo>
                    <a:pt x="1192" y="496"/>
                    <a:pt x="1194" y="495"/>
                    <a:pt x="1195" y="498"/>
                  </a:cubicBezTo>
                  <a:cubicBezTo>
                    <a:pt x="1196" y="501"/>
                    <a:pt x="1192" y="494"/>
                    <a:pt x="1190" y="493"/>
                  </a:cubicBezTo>
                  <a:cubicBezTo>
                    <a:pt x="1187" y="491"/>
                    <a:pt x="1184" y="492"/>
                    <a:pt x="1183" y="492"/>
                  </a:cubicBezTo>
                  <a:cubicBezTo>
                    <a:pt x="1178" y="495"/>
                    <a:pt x="1177" y="495"/>
                    <a:pt x="1176" y="496"/>
                  </a:cubicBezTo>
                  <a:cubicBezTo>
                    <a:pt x="1176" y="496"/>
                    <a:pt x="1176" y="495"/>
                    <a:pt x="1178" y="493"/>
                  </a:cubicBezTo>
                  <a:cubicBezTo>
                    <a:pt x="1180" y="492"/>
                    <a:pt x="1180" y="490"/>
                    <a:pt x="1180" y="490"/>
                  </a:cubicBezTo>
                  <a:cubicBezTo>
                    <a:pt x="1182" y="488"/>
                    <a:pt x="1182" y="491"/>
                    <a:pt x="1182" y="488"/>
                  </a:cubicBezTo>
                  <a:cubicBezTo>
                    <a:pt x="1182" y="485"/>
                    <a:pt x="1183" y="484"/>
                    <a:pt x="1181" y="484"/>
                  </a:cubicBezTo>
                  <a:cubicBezTo>
                    <a:pt x="1180" y="483"/>
                    <a:pt x="1179" y="482"/>
                    <a:pt x="1178" y="481"/>
                  </a:cubicBezTo>
                  <a:cubicBezTo>
                    <a:pt x="1176" y="480"/>
                    <a:pt x="1179" y="480"/>
                    <a:pt x="1176" y="479"/>
                  </a:cubicBezTo>
                  <a:cubicBezTo>
                    <a:pt x="1172" y="478"/>
                    <a:pt x="1171" y="475"/>
                    <a:pt x="1170" y="475"/>
                  </a:cubicBezTo>
                  <a:cubicBezTo>
                    <a:pt x="1166" y="475"/>
                    <a:pt x="1163" y="479"/>
                    <a:pt x="1166" y="475"/>
                  </a:cubicBezTo>
                  <a:cubicBezTo>
                    <a:pt x="1167" y="473"/>
                    <a:pt x="1168" y="472"/>
                    <a:pt x="1169" y="471"/>
                  </a:cubicBezTo>
                  <a:cubicBezTo>
                    <a:pt x="1170" y="472"/>
                    <a:pt x="1171" y="473"/>
                    <a:pt x="1169" y="471"/>
                  </a:cubicBezTo>
                  <a:cubicBezTo>
                    <a:pt x="1169" y="471"/>
                    <a:pt x="1169" y="471"/>
                    <a:pt x="1169" y="471"/>
                  </a:cubicBezTo>
                  <a:cubicBezTo>
                    <a:pt x="1165" y="468"/>
                    <a:pt x="1166" y="467"/>
                    <a:pt x="1164" y="467"/>
                  </a:cubicBezTo>
                  <a:cubicBezTo>
                    <a:pt x="1162" y="466"/>
                    <a:pt x="1163" y="466"/>
                    <a:pt x="1161" y="465"/>
                  </a:cubicBezTo>
                  <a:cubicBezTo>
                    <a:pt x="1159" y="465"/>
                    <a:pt x="1160" y="463"/>
                    <a:pt x="1159" y="462"/>
                  </a:cubicBezTo>
                  <a:cubicBezTo>
                    <a:pt x="1157" y="461"/>
                    <a:pt x="1157" y="461"/>
                    <a:pt x="1157" y="460"/>
                  </a:cubicBezTo>
                  <a:cubicBezTo>
                    <a:pt x="1157" y="459"/>
                    <a:pt x="1158" y="460"/>
                    <a:pt x="1158" y="457"/>
                  </a:cubicBezTo>
                  <a:cubicBezTo>
                    <a:pt x="1159" y="454"/>
                    <a:pt x="1159" y="454"/>
                    <a:pt x="1159" y="452"/>
                  </a:cubicBezTo>
                  <a:cubicBezTo>
                    <a:pt x="1159" y="451"/>
                    <a:pt x="1161" y="451"/>
                    <a:pt x="1159" y="449"/>
                  </a:cubicBezTo>
                  <a:cubicBezTo>
                    <a:pt x="1157" y="447"/>
                    <a:pt x="1157" y="443"/>
                    <a:pt x="1157" y="443"/>
                  </a:cubicBezTo>
                  <a:cubicBezTo>
                    <a:pt x="1157" y="439"/>
                    <a:pt x="1157" y="439"/>
                    <a:pt x="1157" y="439"/>
                  </a:cubicBezTo>
                  <a:cubicBezTo>
                    <a:pt x="1157" y="439"/>
                    <a:pt x="1155" y="438"/>
                    <a:pt x="1155" y="436"/>
                  </a:cubicBezTo>
                  <a:cubicBezTo>
                    <a:pt x="1155" y="435"/>
                    <a:pt x="1155" y="432"/>
                    <a:pt x="1156" y="431"/>
                  </a:cubicBezTo>
                  <a:cubicBezTo>
                    <a:pt x="1156" y="431"/>
                    <a:pt x="1158" y="429"/>
                    <a:pt x="1158" y="428"/>
                  </a:cubicBezTo>
                  <a:cubicBezTo>
                    <a:pt x="1158" y="427"/>
                    <a:pt x="1161" y="429"/>
                    <a:pt x="1157" y="423"/>
                  </a:cubicBezTo>
                  <a:cubicBezTo>
                    <a:pt x="1156" y="423"/>
                    <a:pt x="1156" y="422"/>
                    <a:pt x="1155" y="422"/>
                  </a:cubicBezTo>
                  <a:cubicBezTo>
                    <a:pt x="1156" y="420"/>
                    <a:pt x="1157" y="421"/>
                    <a:pt x="1155" y="420"/>
                  </a:cubicBezTo>
                  <a:cubicBezTo>
                    <a:pt x="1153" y="418"/>
                    <a:pt x="1151" y="418"/>
                    <a:pt x="1149" y="418"/>
                  </a:cubicBezTo>
                  <a:cubicBezTo>
                    <a:pt x="1147" y="418"/>
                    <a:pt x="1145" y="419"/>
                    <a:pt x="1143" y="419"/>
                  </a:cubicBezTo>
                  <a:cubicBezTo>
                    <a:pt x="1140" y="419"/>
                    <a:pt x="1136" y="420"/>
                    <a:pt x="1135" y="419"/>
                  </a:cubicBezTo>
                  <a:cubicBezTo>
                    <a:pt x="1133" y="418"/>
                    <a:pt x="1135" y="416"/>
                    <a:pt x="1132" y="416"/>
                  </a:cubicBezTo>
                  <a:cubicBezTo>
                    <a:pt x="1129" y="416"/>
                    <a:pt x="1129" y="416"/>
                    <a:pt x="1126" y="416"/>
                  </a:cubicBezTo>
                  <a:cubicBezTo>
                    <a:pt x="1123" y="416"/>
                    <a:pt x="1124" y="415"/>
                    <a:pt x="1121" y="417"/>
                  </a:cubicBezTo>
                  <a:cubicBezTo>
                    <a:pt x="1118" y="418"/>
                    <a:pt x="1121" y="417"/>
                    <a:pt x="1118" y="418"/>
                  </a:cubicBezTo>
                  <a:cubicBezTo>
                    <a:pt x="1113" y="412"/>
                    <a:pt x="1115" y="410"/>
                    <a:pt x="1111" y="411"/>
                  </a:cubicBezTo>
                  <a:cubicBezTo>
                    <a:pt x="1107" y="411"/>
                    <a:pt x="1107" y="410"/>
                    <a:pt x="1105" y="410"/>
                  </a:cubicBezTo>
                  <a:cubicBezTo>
                    <a:pt x="1102" y="408"/>
                    <a:pt x="1107" y="408"/>
                    <a:pt x="1100" y="406"/>
                  </a:cubicBezTo>
                  <a:cubicBezTo>
                    <a:pt x="1093" y="404"/>
                    <a:pt x="1093" y="404"/>
                    <a:pt x="1091" y="404"/>
                  </a:cubicBezTo>
                  <a:cubicBezTo>
                    <a:pt x="1090" y="404"/>
                    <a:pt x="1088" y="405"/>
                    <a:pt x="1087" y="404"/>
                  </a:cubicBezTo>
                  <a:cubicBezTo>
                    <a:pt x="1084" y="400"/>
                    <a:pt x="1088" y="399"/>
                    <a:pt x="1083" y="397"/>
                  </a:cubicBezTo>
                  <a:cubicBezTo>
                    <a:pt x="1078" y="395"/>
                    <a:pt x="1079" y="395"/>
                    <a:pt x="1078" y="394"/>
                  </a:cubicBezTo>
                  <a:cubicBezTo>
                    <a:pt x="1077" y="393"/>
                    <a:pt x="1075" y="392"/>
                    <a:pt x="1074" y="391"/>
                  </a:cubicBezTo>
                  <a:cubicBezTo>
                    <a:pt x="1073" y="391"/>
                    <a:pt x="1070" y="390"/>
                    <a:pt x="1070" y="390"/>
                  </a:cubicBezTo>
                  <a:cubicBezTo>
                    <a:pt x="1066" y="389"/>
                    <a:pt x="1066" y="389"/>
                    <a:pt x="1066" y="389"/>
                  </a:cubicBezTo>
                  <a:cubicBezTo>
                    <a:pt x="1063" y="387"/>
                    <a:pt x="1063" y="386"/>
                    <a:pt x="1061" y="386"/>
                  </a:cubicBezTo>
                  <a:cubicBezTo>
                    <a:pt x="1059" y="386"/>
                    <a:pt x="1059" y="384"/>
                    <a:pt x="1056" y="384"/>
                  </a:cubicBezTo>
                  <a:cubicBezTo>
                    <a:pt x="1054" y="385"/>
                    <a:pt x="1054" y="386"/>
                    <a:pt x="1052" y="385"/>
                  </a:cubicBezTo>
                  <a:cubicBezTo>
                    <a:pt x="1051" y="384"/>
                    <a:pt x="1051" y="382"/>
                    <a:pt x="1049" y="381"/>
                  </a:cubicBezTo>
                  <a:cubicBezTo>
                    <a:pt x="1048" y="380"/>
                    <a:pt x="1048" y="379"/>
                    <a:pt x="1046" y="379"/>
                  </a:cubicBezTo>
                  <a:cubicBezTo>
                    <a:pt x="1044" y="379"/>
                    <a:pt x="1050" y="377"/>
                    <a:pt x="1042" y="379"/>
                  </a:cubicBezTo>
                  <a:cubicBezTo>
                    <a:pt x="1035" y="380"/>
                    <a:pt x="1034" y="379"/>
                    <a:pt x="1032" y="380"/>
                  </a:cubicBezTo>
                  <a:cubicBezTo>
                    <a:pt x="1029" y="381"/>
                    <a:pt x="1027" y="383"/>
                    <a:pt x="1025" y="383"/>
                  </a:cubicBezTo>
                  <a:cubicBezTo>
                    <a:pt x="1023" y="384"/>
                    <a:pt x="1021" y="384"/>
                    <a:pt x="1019" y="384"/>
                  </a:cubicBezTo>
                  <a:cubicBezTo>
                    <a:pt x="1018" y="384"/>
                    <a:pt x="1015" y="384"/>
                    <a:pt x="1016" y="383"/>
                  </a:cubicBezTo>
                  <a:cubicBezTo>
                    <a:pt x="1016" y="382"/>
                    <a:pt x="1016" y="382"/>
                    <a:pt x="1018" y="380"/>
                  </a:cubicBezTo>
                  <a:cubicBezTo>
                    <a:pt x="1020" y="378"/>
                    <a:pt x="1021" y="377"/>
                    <a:pt x="1021" y="377"/>
                  </a:cubicBezTo>
                  <a:cubicBezTo>
                    <a:pt x="1020" y="376"/>
                    <a:pt x="1021" y="376"/>
                    <a:pt x="1018" y="373"/>
                  </a:cubicBezTo>
                  <a:cubicBezTo>
                    <a:pt x="1016" y="370"/>
                    <a:pt x="1016" y="369"/>
                    <a:pt x="1016" y="367"/>
                  </a:cubicBezTo>
                  <a:cubicBezTo>
                    <a:pt x="1015" y="366"/>
                    <a:pt x="1015" y="364"/>
                    <a:pt x="1014" y="362"/>
                  </a:cubicBezTo>
                  <a:cubicBezTo>
                    <a:pt x="1012" y="360"/>
                    <a:pt x="1012" y="358"/>
                    <a:pt x="1012" y="356"/>
                  </a:cubicBezTo>
                  <a:cubicBezTo>
                    <a:pt x="1011" y="355"/>
                    <a:pt x="1014" y="356"/>
                    <a:pt x="1010" y="354"/>
                  </a:cubicBezTo>
                  <a:cubicBezTo>
                    <a:pt x="1006" y="351"/>
                    <a:pt x="1007" y="352"/>
                    <a:pt x="1004" y="351"/>
                  </a:cubicBezTo>
                  <a:cubicBezTo>
                    <a:pt x="1001" y="350"/>
                    <a:pt x="1000" y="349"/>
                    <a:pt x="1000" y="349"/>
                  </a:cubicBezTo>
                  <a:cubicBezTo>
                    <a:pt x="996" y="351"/>
                    <a:pt x="992" y="353"/>
                    <a:pt x="993" y="353"/>
                  </a:cubicBezTo>
                  <a:cubicBezTo>
                    <a:pt x="993" y="353"/>
                    <a:pt x="993" y="346"/>
                    <a:pt x="992" y="347"/>
                  </a:cubicBezTo>
                  <a:cubicBezTo>
                    <a:pt x="992" y="347"/>
                    <a:pt x="990" y="344"/>
                    <a:pt x="988" y="343"/>
                  </a:cubicBezTo>
                  <a:cubicBezTo>
                    <a:pt x="987" y="342"/>
                    <a:pt x="985" y="341"/>
                    <a:pt x="987" y="340"/>
                  </a:cubicBezTo>
                  <a:cubicBezTo>
                    <a:pt x="988" y="339"/>
                    <a:pt x="989" y="338"/>
                    <a:pt x="989" y="337"/>
                  </a:cubicBezTo>
                  <a:cubicBezTo>
                    <a:pt x="989" y="335"/>
                    <a:pt x="989" y="334"/>
                    <a:pt x="989" y="332"/>
                  </a:cubicBezTo>
                  <a:cubicBezTo>
                    <a:pt x="989" y="330"/>
                    <a:pt x="992" y="326"/>
                    <a:pt x="991" y="323"/>
                  </a:cubicBezTo>
                  <a:cubicBezTo>
                    <a:pt x="990" y="321"/>
                    <a:pt x="990" y="322"/>
                    <a:pt x="990" y="319"/>
                  </a:cubicBezTo>
                  <a:cubicBezTo>
                    <a:pt x="990" y="316"/>
                    <a:pt x="988" y="316"/>
                    <a:pt x="990" y="314"/>
                  </a:cubicBezTo>
                  <a:cubicBezTo>
                    <a:pt x="992" y="312"/>
                    <a:pt x="996" y="311"/>
                    <a:pt x="996" y="309"/>
                  </a:cubicBezTo>
                  <a:cubicBezTo>
                    <a:pt x="995" y="307"/>
                    <a:pt x="999" y="305"/>
                    <a:pt x="999" y="303"/>
                  </a:cubicBezTo>
                  <a:cubicBezTo>
                    <a:pt x="998" y="302"/>
                    <a:pt x="1001" y="302"/>
                    <a:pt x="1001" y="298"/>
                  </a:cubicBezTo>
                  <a:cubicBezTo>
                    <a:pt x="1001" y="294"/>
                    <a:pt x="1002" y="293"/>
                    <a:pt x="1002" y="293"/>
                  </a:cubicBezTo>
                  <a:cubicBezTo>
                    <a:pt x="1006" y="292"/>
                    <a:pt x="1009" y="289"/>
                    <a:pt x="1009" y="289"/>
                  </a:cubicBezTo>
                  <a:cubicBezTo>
                    <a:pt x="1009" y="289"/>
                    <a:pt x="1010" y="287"/>
                    <a:pt x="1009" y="285"/>
                  </a:cubicBezTo>
                  <a:cubicBezTo>
                    <a:pt x="1008" y="284"/>
                    <a:pt x="1008" y="283"/>
                    <a:pt x="1010" y="283"/>
                  </a:cubicBezTo>
                  <a:cubicBezTo>
                    <a:pt x="1012" y="282"/>
                    <a:pt x="1015" y="281"/>
                    <a:pt x="1015" y="281"/>
                  </a:cubicBezTo>
                  <a:cubicBezTo>
                    <a:pt x="1017" y="279"/>
                    <a:pt x="1017" y="279"/>
                    <a:pt x="1017" y="279"/>
                  </a:cubicBezTo>
                  <a:cubicBezTo>
                    <a:pt x="1017" y="279"/>
                    <a:pt x="1019" y="276"/>
                    <a:pt x="1017" y="276"/>
                  </a:cubicBezTo>
                  <a:cubicBezTo>
                    <a:pt x="1015" y="275"/>
                    <a:pt x="1015" y="273"/>
                    <a:pt x="1017" y="273"/>
                  </a:cubicBezTo>
                  <a:cubicBezTo>
                    <a:pt x="1018" y="272"/>
                    <a:pt x="1023" y="271"/>
                    <a:pt x="1023" y="271"/>
                  </a:cubicBezTo>
                  <a:cubicBezTo>
                    <a:pt x="1026" y="270"/>
                    <a:pt x="1026" y="270"/>
                    <a:pt x="1026" y="270"/>
                  </a:cubicBezTo>
                  <a:cubicBezTo>
                    <a:pt x="1024" y="267"/>
                    <a:pt x="1023" y="265"/>
                    <a:pt x="1024" y="266"/>
                  </a:cubicBezTo>
                  <a:cubicBezTo>
                    <a:pt x="1025" y="266"/>
                    <a:pt x="1029" y="266"/>
                    <a:pt x="1029" y="266"/>
                  </a:cubicBezTo>
                  <a:cubicBezTo>
                    <a:pt x="1029" y="266"/>
                    <a:pt x="1031" y="267"/>
                    <a:pt x="1032" y="267"/>
                  </a:cubicBezTo>
                  <a:cubicBezTo>
                    <a:pt x="1033" y="267"/>
                    <a:pt x="1037" y="266"/>
                    <a:pt x="1037" y="266"/>
                  </a:cubicBezTo>
                  <a:cubicBezTo>
                    <a:pt x="1040" y="263"/>
                    <a:pt x="1040" y="263"/>
                    <a:pt x="1040" y="263"/>
                  </a:cubicBezTo>
                  <a:cubicBezTo>
                    <a:pt x="1043" y="263"/>
                    <a:pt x="1043" y="263"/>
                    <a:pt x="1043" y="263"/>
                  </a:cubicBezTo>
                  <a:cubicBezTo>
                    <a:pt x="1043" y="263"/>
                    <a:pt x="1046" y="260"/>
                    <a:pt x="1044" y="260"/>
                  </a:cubicBezTo>
                  <a:cubicBezTo>
                    <a:pt x="1043" y="259"/>
                    <a:pt x="1040" y="258"/>
                    <a:pt x="1040" y="256"/>
                  </a:cubicBezTo>
                  <a:cubicBezTo>
                    <a:pt x="1039" y="255"/>
                    <a:pt x="1040" y="255"/>
                    <a:pt x="1038" y="253"/>
                  </a:cubicBezTo>
                  <a:cubicBezTo>
                    <a:pt x="1035" y="251"/>
                    <a:pt x="1034" y="250"/>
                    <a:pt x="1032" y="250"/>
                  </a:cubicBezTo>
                  <a:cubicBezTo>
                    <a:pt x="1030" y="250"/>
                    <a:pt x="1029" y="251"/>
                    <a:pt x="1028" y="250"/>
                  </a:cubicBezTo>
                  <a:cubicBezTo>
                    <a:pt x="1027" y="250"/>
                    <a:pt x="1029" y="246"/>
                    <a:pt x="1026" y="247"/>
                  </a:cubicBezTo>
                  <a:cubicBezTo>
                    <a:pt x="1022" y="248"/>
                    <a:pt x="1021" y="250"/>
                    <a:pt x="1020" y="249"/>
                  </a:cubicBezTo>
                  <a:cubicBezTo>
                    <a:pt x="1020" y="247"/>
                    <a:pt x="1020" y="246"/>
                    <a:pt x="1020" y="246"/>
                  </a:cubicBezTo>
                  <a:cubicBezTo>
                    <a:pt x="1020" y="246"/>
                    <a:pt x="1018" y="245"/>
                    <a:pt x="1016" y="244"/>
                  </a:cubicBezTo>
                  <a:cubicBezTo>
                    <a:pt x="1013" y="243"/>
                    <a:pt x="1011" y="241"/>
                    <a:pt x="1012" y="242"/>
                  </a:cubicBezTo>
                  <a:cubicBezTo>
                    <a:pt x="1014" y="243"/>
                    <a:pt x="1023" y="244"/>
                    <a:pt x="1023" y="244"/>
                  </a:cubicBezTo>
                  <a:cubicBezTo>
                    <a:pt x="1023" y="244"/>
                    <a:pt x="1022" y="246"/>
                    <a:pt x="1022" y="246"/>
                  </a:cubicBezTo>
                  <a:cubicBezTo>
                    <a:pt x="1023" y="247"/>
                    <a:pt x="1024" y="245"/>
                    <a:pt x="1026" y="246"/>
                  </a:cubicBezTo>
                  <a:cubicBezTo>
                    <a:pt x="1029" y="246"/>
                    <a:pt x="1030" y="247"/>
                    <a:pt x="1031" y="248"/>
                  </a:cubicBezTo>
                  <a:cubicBezTo>
                    <a:pt x="1032" y="248"/>
                    <a:pt x="1035" y="249"/>
                    <a:pt x="1036" y="249"/>
                  </a:cubicBezTo>
                  <a:cubicBezTo>
                    <a:pt x="1037" y="249"/>
                    <a:pt x="1040" y="251"/>
                    <a:pt x="1040" y="251"/>
                  </a:cubicBezTo>
                  <a:cubicBezTo>
                    <a:pt x="1044" y="252"/>
                    <a:pt x="1047" y="252"/>
                    <a:pt x="1048" y="251"/>
                  </a:cubicBezTo>
                  <a:cubicBezTo>
                    <a:pt x="1048" y="251"/>
                    <a:pt x="1048" y="250"/>
                    <a:pt x="1049" y="250"/>
                  </a:cubicBezTo>
                  <a:cubicBezTo>
                    <a:pt x="1050" y="250"/>
                    <a:pt x="1052" y="249"/>
                    <a:pt x="1052" y="249"/>
                  </a:cubicBezTo>
                  <a:cubicBezTo>
                    <a:pt x="1052" y="249"/>
                    <a:pt x="1053" y="245"/>
                    <a:pt x="1053" y="244"/>
                  </a:cubicBezTo>
                  <a:cubicBezTo>
                    <a:pt x="1053" y="243"/>
                    <a:pt x="1053" y="240"/>
                    <a:pt x="1053" y="240"/>
                  </a:cubicBezTo>
                  <a:cubicBezTo>
                    <a:pt x="1056" y="239"/>
                    <a:pt x="1057" y="241"/>
                    <a:pt x="1057" y="241"/>
                  </a:cubicBezTo>
                  <a:cubicBezTo>
                    <a:pt x="1060" y="243"/>
                    <a:pt x="1060" y="243"/>
                    <a:pt x="1060" y="243"/>
                  </a:cubicBezTo>
                  <a:cubicBezTo>
                    <a:pt x="1063" y="243"/>
                    <a:pt x="1063" y="243"/>
                    <a:pt x="1063" y="243"/>
                  </a:cubicBezTo>
                  <a:cubicBezTo>
                    <a:pt x="1063" y="243"/>
                    <a:pt x="1068" y="242"/>
                    <a:pt x="1068" y="243"/>
                  </a:cubicBezTo>
                  <a:cubicBezTo>
                    <a:pt x="1068" y="243"/>
                    <a:pt x="1071" y="243"/>
                    <a:pt x="1072" y="242"/>
                  </a:cubicBezTo>
                  <a:cubicBezTo>
                    <a:pt x="1077" y="239"/>
                    <a:pt x="1077" y="239"/>
                    <a:pt x="1077" y="239"/>
                  </a:cubicBezTo>
                  <a:cubicBezTo>
                    <a:pt x="1081" y="237"/>
                    <a:pt x="1081" y="237"/>
                    <a:pt x="1081" y="237"/>
                  </a:cubicBezTo>
                  <a:cubicBezTo>
                    <a:pt x="1081" y="237"/>
                    <a:pt x="1082" y="234"/>
                    <a:pt x="1083" y="234"/>
                  </a:cubicBezTo>
                  <a:cubicBezTo>
                    <a:pt x="1084" y="233"/>
                    <a:pt x="1087" y="229"/>
                    <a:pt x="1087" y="229"/>
                  </a:cubicBezTo>
                  <a:cubicBezTo>
                    <a:pt x="1087" y="227"/>
                    <a:pt x="1087" y="227"/>
                    <a:pt x="1087" y="227"/>
                  </a:cubicBezTo>
                  <a:cubicBezTo>
                    <a:pt x="1092" y="223"/>
                    <a:pt x="1092" y="223"/>
                    <a:pt x="1092" y="223"/>
                  </a:cubicBezTo>
                  <a:cubicBezTo>
                    <a:pt x="1092" y="220"/>
                    <a:pt x="1092" y="220"/>
                    <a:pt x="1092" y="220"/>
                  </a:cubicBezTo>
                  <a:cubicBezTo>
                    <a:pt x="1092" y="215"/>
                    <a:pt x="1092" y="215"/>
                    <a:pt x="1092" y="215"/>
                  </a:cubicBezTo>
                  <a:cubicBezTo>
                    <a:pt x="1089" y="215"/>
                    <a:pt x="1089" y="215"/>
                    <a:pt x="1089" y="215"/>
                  </a:cubicBezTo>
                  <a:cubicBezTo>
                    <a:pt x="1089" y="215"/>
                    <a:pt x="1087" y="213"/>
                    <a:pt x="1085" y="213"/>
                  </a:cubicBezTo>
                  <a:cubicBezTo>
                    <a:pt x="1084" y="213"/>
                    <a:pt x="1084" y="213"/>
                    <a:pt x="1083" y="213"/>
                  </a:cubicBezTo>
                  <a:cubicBezTo>
                    <a:pt x="1087" y="213"/>
                    <a:pt x="1090" y="212"/>
                    <a:pt x="1091" y="211"/>
                  </a:cubicBezTo>
                  <a:cubicBezTo>
                    <a:pt x="1093" y="210"/>
                    <a:pt x="1093" y="209"/>
                    <a:pt x="1095" y="208"/>
                  </a:cubicBezTo>
                  <a:cubicBezTo>
                    <a:pt x="1097" y="207"/>
                    <a:pt x="1098" y="205"/>
                    <a:pt x="1099" y="205"/>
                  </a:cubicBezTo>
                  <a:cubicBezTo>
                    <a:pt x="1102" y="202"/>
                    <a:pt x="1102" y="202"/>
                    <a:pt x="1104" y="201"/>
                  </a:cubicBezTo>
                  <a:cubicBezTo>
                    <a:pt x="1106" y="198"/>
                    <a:pt x="1105" y="198"/>
                    <a:pt x="1107" y="197"/>
                  </a:cubicBezTo>
                  <a:cubicBezTo>
                    <a:pt x="1108" y="195"/>
                    <a:pt x="1108" y="195"/>
                    <a:pt x="1108" y="195"/>
                  </a:cubicBezTo>
                  <a:cubicBezTo>
                    <a:pt x="1108" y="195"/>
                    <a:pt x="1105" y="191"/>
                    <a:pt x="1104" y="191"/>
                  </a:cubicBezTo>
                  <a:cubicBezTo>
                    <a:pt x="1103" y="191"/>
                    <a:pt x="1100" y="189"/>
                    <a:pt x="1100" y="189"/>
                  </a:cubicBezTo>
                  <a:cubicBezTo>
                    <a:pt x="1100" y="189"/>
                    <a:pt x="1100" y="187"/>
                    <a:pt x="1101" y="186"/>
                  </a:cubicBezTo>
                  <a:cubicBezTo>
                    <a:pt x="1102" y="186"/>
                    <a:pt x="1104" y="185"/>
                    <a:pt x="1104" y="185"/>
                  </a:cubicBezTo>
                  <a:cubicBezTo>
                    <a:pt x="1107" y="187"/>
                    <a:pt x="1109" y="187"/>
                    <a:pt x="1109" y="187"/>
                  </a:cubicBezTo>
                  <a:cubicBezTo>
                    <a:pt x="1112" y="185"/>
                    <a:pt x="1112" y="185"/>
                    <a:pt x="1112" y="185"/>
                  </a:cubicBezTo>
                  <a:cubicBezTo>
                    <a:pt x="1115" y="188"/>
                    <a:pt x="1115" y="188"/>
                    <a:pt x="1115" y="188"/>
                  </a:cubicBezTo>
                  <a:cubicBezTo>
                    <a:pt x="1117" y="192"/>
                    <a:pt x="1118" y="192"/>
                    <a:pt x="1118" y="193"/>
                  </a:cubicBezTo>
                  <a:cubicBezTo>
                    <a:pt x="1118" y="193"/>
                    <a:pt x="1121" y="194"/>
                    <a:pt x="1123" y="194"/>
                  </a:cubicBezTo>
                  <a:cubicBezTo>
                    <a:pt x="1123" y="194"/>
                    <a:pt x="1124" y="194"/>
                    <a:pt x="1125" y="193"/>
                  </a:cubicBezTo>
                  <a:cubicBezTo>
                    <a:pt x="1128" y="191"/>
                    <a:pt x="1128" y="191"/>
                    <a:pt x="1128" y="191"/>
                  </a:cubicBezTo>
                  <a:cubicBezTo>
                    <a:pt x="1128" y="191"/>
                    <a:pt x="1129" y="192"/>
                    <a:pt x="1131" y="191"/>
                  </a:cubicBezTo>
                  <a:cubicBezTo>
                    <a:pt x="1133" y="191"/>
                    <a:pt x="1134" y="192"/>
                    <a:pt x="1135" y="193"/>
                  </a:cubicBezTo>
                  <a:cubicBezTo>
                    <a:pt x="1138" y="193"/>
                    <a:pt x="1138" y="192"/>
                    <a:pt x="1138" y="191"/>
                  </a:cubicBezTo>
                  <a:cubicBezTo>
                    <a:pt x="1139" y="190"/>
                    <a:pt x="1136" y="187"/>
                    <a:pt x="1136" y="187"/>
                  </a:cubicBezTo>
                  <a:cubicBezTo>
                    <a:pt x="1134" y="184"/>
                    <a:pt x="1134" y="184"/>
                    <a:pt x="1134" y="184"/>
                  </a:cubicBezTo>
                  <a:cubicBezTo>
                    <a:pt x="1130" y="181"/>
                    <a:pt x="1130" y="181"/>
                    <a:pt x="1130" y="181"/>
                  </a:cubicBezTo>
                  <a:cubicBezTo>
                    <a:pt x="1127" y="179"/>
                    <a:pt x="1129" y="178"/>
                    <a:pt x="1126" y="178"/>
                  </a:cubicBezTo>
                  <a:cubicBezTo>
                    <a:pt x="1123" y="179"/>
                    <a:pt x="1121" y="178"/>
                    <a:pt x="1124" y="178"/>
                  </a:cubicBezTo>
                  <a:cubicBezTo>
                    <a:pt x="1127" y="177"/>
                    <a:pt x="1124" y="178"/>
                    <a:pt x="1127" y="177"/>
                  </a:cubicBezTo>
                  <a:cubicBezTo>
                    <a:pt x="1127" y="177"/>
                    <a:pt x="1128" y="176"/>
                    <a:pt x="1128" y="176"/>
                  </a:cubicBezTo>
                  <a:cubicBezTo>
                    <a:pt x="1128" y="176"/>
                    <a:pt x="1128" y="176"/>
                    <a:pt x="1128" y="176"/>
                  </a:cubicBezTo>
                  <a:cubicBezTo>
                    <a:pt x="1130" y="179"/>
                    <a:pt x="1130" y="179"/>
                    <a:pt x="1131" y="179"/>
                  </a:cubicBezTo>
                  <a:cubicBezTo>
                    <a:pt x="1132" y="180"/>
                    <a:pt x="1133" y="181"/>
                    <a:pt x="1134" y="181"/>
                  </a:cubicBezTo>
                  <a:cubicBezTo>
                    <a:pt x="1134" y="181"/>
                    <a:pt x="1137" y="184"/>
                    <a:pt x="1137" y="185"/>
                  </a:cubicBezTo>
                  <a:cubicBezTo>
                    <a:pt x="1138" y="186"/>
                    <a:pt x="1139" y="185"/>
                    <a:pt x="1140" y="187"/>
                  </a:cubicBezTo>
                  <a:cubicBezTo>
                    <a:pt x="1142" y="190"/>
                    <a:pt x="1143" y="190"/>
                    <a:pt x="1143" y="190"/>
                  </a:cubicBezTo>
                  <a:cubicBezTo>
                    <a:pt x="1146" y="192"/>
                    <a:pt x="1149" y="194"/>
                    <a:pt x="1149" y="194"/>
                  </a:cubicBezTo>
                  <a:cubicBezTo>
                    <a:pt x="1146" y="189"/>
                    <a:pt x="1145" y="192"/>
                    <a:pt x="1146" y="189"/>
                  </a:cubicBezTo>
                  <a:cubicBezTo>
                    <a:pt x="1147" y="187"/>
                    <a:pt x="1145" y="188"/>
                    <a:pt x="1147" y="187"/>
                  </a:cubicBezTo>
                  <a:cubicBezTo>
                    <a:pt x="1149" y="186"/>
                    <a:pt x="1143" y="187"/>
                    <a:pt x="1149" y="186"/>
                  </a:cubicBezTo>
                  <a:cubicBezTo>
                    <a:pt x="1154" y="186"/>
                    <a:pt x="1156" y="184"/>
                    <a:pt x="1156" y="184"/>
                  </a:cubicBezTo>
                  <a:cubicBezTo>
                    <a:pt x="1157" y="181"/>
                    <a:pt x="1153" y="182"/>
                    <a:pt x="1157" y="181"/>
                  </a:cubicBezTo>
                  <a:cubicBezTo>
                    <a:pt x="1160" y="181"/>
                    <a:pt x="1160" y="179"/>
                    <a:pt x="1160" y="179"/>
                  </a:cubicBezTo>
                  <a:cubicBezTo>
                    <a:pt x="1162" y="176"/>
                    <a:pt x="1162" y="176"/>
                    <a:pt x="1162" y="176"/>
                  </a:cubicBezTo>
                  <a:cubicBezTo>
                    <a:pt x="1162" y="176"/>
                    <a:pt x="1164" y="176"/>
                    <a:pt x="1165" y="176"/>
                  </a:cubicBezTo>
                  <a:cubicBezTo>
                    <a:pt x="1167" y="175"/>
                    <a:pt x="1167" y="175"/>
                    <a:pt x="1168" y="173"/>
                  </a:cubicBezTo>
                  <a:cubicBezTo>
                    <a:pt x="1170" y="170"/>
                    <a:pt x="1170" y="170"/>
                    <a:pt x="1170" y="169"/>
                  </a:cubicBezTo>
                  <a:cubicBezTo>
                    <a:pt x="1172" y="165"/>
                    <a:pt x="1173" y="164"/>
                    <a:pt x="1172" y="163"/>
                  </a:cubicBezTo>
                  <a:cubicBezTo>
                    <a:pt x="1170" y="162"/>
                    <a:pt x="1166" y="161"/>
                    <a:pt x="1166" y="161"/>
                  </a:cubicBezTo>
                  <a:cubicBezTo>
                    <a:pt x="1166" y="161"/>
                    <a:pt x="1165" y="158"/>
                    <a:pt x="1163" y="157"/>
                  </a:cubicBezTo>
                  <a:cubicBezTo>
                    <a:pt x="1161" y="155"/>
                    <a:pt x="1159" y="156"/>
                    <a:pt x="1159" y="153"/>
                  </a:cubicBezTo>
                  <a:cubicBezTo>
                    <a:pt x="1158" y="150"/>
                    <a:pt x="1161" y="154"/>
                    <a:pt x="1158" y="150"/>
                  </a:cubicBezTo>
                  <a:cubicBezTo>
                    <a:pt x="1155" y="145"/>
                    <a:pt x="1156" y="147"/>
                    <a:pt x="1155" y="145"/>
                  </a:cubicBezTo>
                  <a:cubicBezTo>
                    <a:pt x="1154" y="144"/>
                    <a:pt x="1153" y="146"/>
                    <a:pt x="1154" y="144"/>
                  </a:cubicBezTo>
                  <a:cubicBezTo>
                    <a:pt x="1155" y="142"/>
                    <a:pt x="1152" y="142"/>
                    <a:pt x="1155" y="142"/>
                  </a:cubicBezTo>
                  <a:cubicBezTo>
                    <a:pt x="1158" y="142"/>
                    <a:pt x="1159" y="141"/>
                    <a:pt x="1160" y="142"/>
                  </a:cubicBezTo>
                  <a:cubicBezTo>
                    <a:pt x="1161" y="143"/>
                    <a:pt x="1162" y="143"/>
                    <a:pt x="1163" y="143"/>
                  </a:cubicBezTo>
                  <a:cubicBezTo>
                    <a:pt x="1164" y="142"/>
                    <a:pt x="1162" y="140"/>
                    <a:pt x="1163" y="140"/>
                  </a:cubicBezTo>
                  <a:cubicBezTo>
                    <a:pt x="1164" y="140"/>
                    <a:pt x="1165" y="139"/>
                    <a:pt x="1166" y="139"/>
                  </a:cubicBezTo>
                  <a:cubicBezTo>
                    <a:pt x="1169" y="140"/>
                    <a:pt x="1170" y="138"/>
                    <a:pt x="1171" y="137"/>
                  </a:cubicBezTo>
                  <a:cubicBezTo>
                    <a:pt x="1171" y="137"/>
                    <a:pt x="1173" y="134"/>
                    <a:pt x="1172" y="134"/>
                  </a:cubicBezTo>
                  <a:cubicBezTo>
                    <a:pt x="1171" y="134"/>
                    <a:pt x="1169" y="132"/>
                    <a:pt x="1168" y="133"/>
                  </a:cubicBezTo>
                  <a:cubicBezTo>
                    <a:pt x="1166" y="133"/>
                    <a:pt x="1165" y="134"/>
                    <a:pt x="1165" y="133"/>
                  </a:cubicBezTo>
                  <a:cubicBezTo>
                    <a:pt x="1165" y="131"/>
                    <a:pt x="1161" y="131"/>
                    <a:pt x="1165" y="130"/>
                  </a:cubicBezTo>
                  <a:cubicBezTo>
                    <a:pt x="1169" y="128"/>
                    <a:pt x="1169" y="130"/>
                    <a:pt x="1169" y="128"/>
                  </a:cubicBezTo>
                  <a:cubicBezTo>
                    <a:pt x="1168" y="123"/>
                    <a:pt x="1168" y="123"/>
                    <a:pt x="1168" y="123"/>
                  </a:cubicBezTo>
                  <a:cubicBezTo>
                    <a:pt x="1163" y="121"/>
                    <a:pt x="1161" y="122"/>
                    <a:pt x="1159" y="121"/>
                  </a:cubicBezTo>
                  <a:cubicBezTo>
                    <a:pt x="1156" y="120"/>
                    <a:pt x="1156" y="122"/>
                    <a:pt x="1155" y="120"/>
                  </a:cubicBezTo>
                  <a:cubicBezTo>
                    <a:pt x="1153" y="119"/>
                    <a:pt x="1155" y="117"/>
                    <a:pt x="1153" y="117"/>
                  </a:cubicBezTo>
                  <a:cubicBezTo>
                    <a:pt x="1152" y="117"/>
                    <a:pt x="1148" y="118"/>
                    <a:pt x="1149" y="117"/>
                  </a:cubicBezTo>
                  <a:cubicBezTo>
                    <a:pt x="1149" y="116"/>
                    <a:pt x="1149" y="115"/>
                    <a:pt x="1152" y="115"/>
                  </a:cubicBezTo>
                  <a:cubicBezTo>
                    <a:pt x="1152" y="115"/>
                    <a:pt x="1152" y="111"/>
                    <a:pt x="1151" y="111"/>
                  </a:cubicBezTo>
                  <a:cubicBezTo>
                    <a:pt x="1150" y="111"/>
                    <a:pt x="1146" y="113"/>
                    <a:pt x="1146" y="113"/>
                  </a:cubicBezTo>
                  <a:cubicBezTo>
                    <a:pt x="1146" y="113"/>
                    <a:pt x="1143" y="113"/>
                    <a:pt x="1142" y="113"/>
                  </a:cubicBezTo>
                  <a:cubicBezTo>
                    <a:pt x="1141" y="113"/>
                    <a:pt x="1141" y="110"/>
                    <a:pt x="1138" y="110"/>
                  </a:cubicBezTo>
                  <a:cubicBezTo>
                    <a:pt x="1135" y="110"/>
                    <a:pt x="1133" y="110"/>
                    <a:pt x="1132" y="110"/>
                  </a:cubicBezTo>
                  <a:cubicBezTo>
                    <a:pt x="1131" y="110"/>
                    <a:pt x="1127" y="110"/>
                    <a:pt x="1127" y="110"/>
                  </a:cubicBezTo>
                  <a:cubicBezTo>
                    <a:pt x="1127" y="110"/>
                    <a:pt x="1123" y="108"/>
                    <a:pt x="1122" y="109"/>
                  </a:cubicBezTo>
                  <a:cubicBezTo>
                    <a:pt x="1121" y="109"/>
                    <a:pt x="1115" y="110"/>
                    <a:pt x="1115" y="110"/>
                  </a:cubicBezTo>
                  <a:cubicBezTo>
                    <a:pt x="1115" y="110"/>
                    <a:pt x="1115" y="106"/>
                    <a:pt x="1112" y="109"/>
                  </a:cubicBezTo>
                  <a:cubicBezTo>
                    <a:pt x="1110" y="113"/>
                    <a:pt x="1112" y="112"/>
                    <a:pt x="1113" y="112"/>
                  </a:cubicBezTo>
                  <a:cubicBezTo>
                    <a:pt x="1114" y="118"/>
                    <a:pt x="1114" y="118"/>
                    <a:pt x="1114" y="118"/>
                  </a:cubicBezTo>
                  <a:cubicBezTo>
                    <a:pt x="1115" y="121"/>
                    <a:pt x="1111" y="120"/>
                    <a:pt x="1115" y="121"/>
                  </a:cubicBezTo>
                  <a:cubicBezTo>
                    <a:pt x="1118" y="123"/>
                    <a:pt x="1118" y="119"/>
                    <a:pt x="1120" y="124"/>
                  </a:cubicBezTo>
                  <a:cubicBezTo>
                    <a:pt x="1122" y="128"/>
                    <a:pt x="1119" y="126"/>
                    <a:pt x="1122" y="128"/>
                  </a:cubicBezTo>
                  <a:cubicBezTo>
                    <a:pt x="1126" y="130"/>
                    <a:pt x="1129" y="128"/>
                    <a:pt x="1126" y="130"/>
                  </a:cubicBezTo>
                  <a:cubicBezTo>
                    <a:pt x="1123" y="133"/>
                    <a:pt x="1120" y="134"/>
                    <a:pt x="1120" y="134"/>
                  </a:cubicBezTo>
                  <a:cubicBezTo>
                    <a:pt x="1120" y="134"/>
                    <a:pt x="1119" y="133"/>
                    <a:pt x="1117" y="135"/>
                  </a:cubicBezTo>
                  <a:cubicBezTo>
                    <a:pt x="1115" y="136"/>
                    <a:pt x="1113" y="131"/>
                    <a:pt x="1113" y="135"/>
                  </a:cubicBezTo>
                  <a:cubicBezTo>
                    <a:pt x="1112" y="139"/>
                    <a:pt x="1113" y="141"/>
                    <a:pt x="1112" y="142"/>
                  </a:cubicBezTo>
                  <a:cubicBezTo>
                    <a:pt x="1110" y="145"/>
                    <a:pt x="1110" y="144"/>
                    <a:pt x="1110" y="147"/>
                  </a:cubicBezTo>
                  <a:cubicBezTo>
                    <a:pt x="1110" y="150"/>
                    <a:pt x="1111" y="151"/>
                    <a:pt x="1109" y="152"/>
                  </a:cubicBezTo>
                  <a:cubicBezTo>
                    <a:pt x="1107" y="153"/>
                    <a:pt x="1107" y="153"/>
                    <a:pt x="1107" y="153"/>
                  </a:cubicBezTo>
                  <a:cubicBezTo>
                    <a:pt x="1104" y="155"/>
                    <a:pt x="1104" y="155"/>
                    <a:pt x="1104" y="155"/>
                  </a:cubicBezTo>
                  <a:cubicBezTo>
                    <a:pt x="1101" y="157"/>
                    <a:pt x="1101" y="157"/>
                    <a:pt x="1100" y="159"/>
                  </a:cubicBezTo>
                  <a:cubicBezTo>
                    <a:pt x="1099" y="161"/>
                    <a:pt x="1099" y="160"/>
                    <a:pt x="1100" y="162"/>
                  </a:cubicBezTo>
                  <a:cubicBezTo>
                    <a:pt x="1101" y="165"/>
                    <a:pt x="1100" y="167"/>
                    <a:pt x="1100" y="167"/>
                  </a:cubicBezTo>
                  <a:cubicBezTo>
                    <a:pt x="1095" y="167"/>
                    <a:pt x="1095" y="167"/>
                    <a:pt x="1095" y="167"/>
                  </a:cubicBezTo>
                  <a:cubicBezTo>
                    <a:pt x="1091" y="170"/>
                    <a:pt x="1090" y="169"/>
                    <a:pt x="1090" y="170"/>
                  </a:cubicBezTo>
                  <a:cubicBezTo>
                    <a:pt x="1088" y="174"/>
                    <a:pt x="1089" y="176"/>
                    <a:pt x="1088" y="174"/>
                  </a:cubicBezTo>
                  <a:cubicBezTo>
                    <a:pt x="1088" y="173"/>
                    <a:pt x="1087" y="169"/>
                    <a:pt x="1087" y="169"/>
                  </a:cubicBezTo>
                  <a:cubicBezTo>
                    <a:pt x="1085" y="165"/>
                    <a:pt x="1084" y="164"/>
                    <a:pt x="1084" y="164"/>
                  </a:cubicBezTo>
                  <a:cubicBezTo>
                    <a:pt x="1084" y="164"/>
                    <a:pt x="1079" y="160"/>
                    <a:pt x="1078" y="159"/>
                  </a:cubicBezTo>
                  <a:cubicBezTo>
                    <a:pt x="1077" y="155"/>
                    <a:pt x="1078" y="154"/>
                    <a:pt x="1077" y="152"/>
                  </a:cubicBezTo>
                  <a:cubicBezTo>
                    <a:pt x="1077" y="150"/>
                    <a:pt x="1075" y="150"/>
                    <a:pt x="1077" y="148"/>
                  </a:cubicBezTo>
                  <a:cubicBezTo>
                    <a:pt x="1078" y="147"/>
                    <a:pt x="1078" y="144"/>
                    <a:pt x="1080" y="145"/>
                  </a:cubicBezTo>
                  <a:cubicBezTo>
                    <a:pt x="1083" y="147"/>
                    <a:pt x="1082" y="150"/>
                    <a:pt x="1083" y="147"/>
                  </a:cubicBezTo>
                  <a:cubicBezTo>
                    <a:pt x="1083" y="147"/>
                    <a:pt x="1084" y="145"/>
                    <a:pt x="1084" y="143"/>
                  </a:cubicBezTo>
                  <a:cubicBezTo>
                    <a:pt x="1083" y="142"/>
                    <a:pt x="1081" y="139"/>
                    <a:pt x="1081" y="139"/>
                  </a:cubicBezTo>
                  <a:cubicBezTo>
                    <a:pt x="1081" y="135"/>
                    <a:pt x="1081" y="135"/>
                    <a:pt x="1081" y="135"/>
                  </a:cubicBezTo>
                  <a:cubicBezTo>
                    <a:pt x="1079" y="132"/>
                    <a:pt x="1079" y="132"/>
                    <a:pt x="1079" y="132"/>
                  </a:cubicBezTo>
                  <a:cubicBezTo>
                    <a:pt x="1077" y="128"/>
                    <a:pt x="1077" y="128"/>
                    <a:pt x="1077" y="128"/>
                  </a:cubicBezTo>
                  <a:cubicBezTo>
                    <a:pt x="1074" y="129"/>
                    <a:pt x="1074" y="129"/>
                    <a:pt x="1074" y="129"/>
                  </a:cubicBezTo>
                  <a:cubicBezTo>
                    <a:pt x="1070" y="126"/>
                    <a:pt x="1070" y="126"/>
                    <a:pt x="1070" y="126"/>
                  </a:cubicBezTo>
                  <a:cubicBezTo>
                    <a:pt x="1066" y="125"/>
                    <a:pt x="1066" y="125"/>
                    <a:pt x="1066" y="125"/>
                  </a:cubicBezTo>
                  <a:cubicBezTo>
                    <a:pt x="1066" y="125"/>
                    <a:pt x="1066" y="125"/>
                    <a:pt x="1065" y="124"/>
                  </a:cubicBezTo>
                  <a:cubicBezTo>
                    <a:pt x="1064" y="123"/>
                    <a:pt x="1062" y="123"/>
                    <a:pt x="1060" y="124"/>
                  </a:cubicBezTo>
                  <a:cubicBezTo>
                    <a:pt x="1058" y="126"/>
                    <a:pt x="1057" y="126"/>
                    <a:pt x="1056" y="128"/>
                  </a:cubicBezTo>
                  <a:cubicBezTo>
                    <a:pt x="1056" y="129"/>
                    <a:pt x="1053" y="130"/>
                    <a:pt x="1054" y="131"/>
                  </a:cubicBezTo>
                  <a:cubicBezTo>
                    <a:pt x="1055" y="134"/>
                    <a:pt x="1054" y="132"/>
                    <a:pt x="1052" y="134"/>
                  </a:cubicBezTo>
                  <a:cubicBezTo>
                    <a:pt x="1049" y="137"/>
                    <a:pt x="1048" y="138"/>
                    <a:pt x="1048" y="140"/>
                  </a:cubicBezTo>
                  <a:cubicBezTo>
                    <a:pt x="1048" y="142"/>
                    <a:pt x="1047" y="143"/>
                    <a:pt x="1047" y="143"/>
                  </a:cubicBezTo>
                  <a:cubicBezTo>
                    <a:pt x="1047" y="143"/>
                    <a:pt x="1046" y="140"/>
                    <a:pt x="1046" y="137"/>
                  </a:cubicBezTo>
                  <a:cubicBezTo>
                    <a:pt x="1047" y="134"/>
                    <a:pt x="1046" y="132"/>
                    <a:pt x="1047" y="131"/>
                  </a:cubicBezTo>
                  <a:cubicBezTo>
                    <a:pt x="1048" y="130"/>
                    <a:pt x="1052" y="130"/>
                    <a:pt x="1048" y="128"/>
                  </a:cubicBezTo>
                  <a:cubicBezTo>
                    <a:pt x="1044" y="126"/>
                    <a:pt x="1042" y="127"/>
                    <a:pt x="1042" y="126"/>
                  </a:cubicBezTo>
                  <a:cubicBezTo>
                    <a:pt x="1042" y="122"/>
                    <a:pt x="1045" y="122"/>
                    <a:pt x="1046" y="123"/>
                  </a:cubicBezTo>
                  <a:cubicBezTo>
                    <a:pt x="1047" y="123"/>
                    <a:pt x="1049" y="124"/>
                    <a:pt x="1049" y="122"/>
                  </a:cubicBezTo>
                  <a:cubicBezTo>
                    <a:pt x="1047" y="119"/>
                    <a:pt x="1049" y="118"/>
                    <a:pt x="1046" y="117"/>
                  </a:cubicBezTo>
                  <a:cubicBezTo>
                    <a:pt x="1044" y="117"/>
                    <a:pt x="1043" y="115"/>
                    <a:pt x="1042" y="115"/>
                  </a:cubicBezTo>
                  <a:cubicBezTo>
                    <a:pt x="1041" y="116"/>
                    <a:pt x="1039" y="113"/>
                    <a:pt x="1038" y="113"/>
                  </a:cubicBezTo>
                  <a:cubicBezTo>
                    <a:pt x="1037" y="113"/>
                    <a:pt x="1036" y="111"/>
                    <a:pt x="1035" y="110"/>
                  </a:cubicBezTo>
                  <a:cubicBezTo>
                    <a:pt x="1034" y="110"/>
                    <a:pt x="1033" y="108"/>
                    <a:pt x="1032" y="110"/>
                  </a:cubicBezTo>
                  <a:cubicBezTo>
                    <a:pt x="1030" y="112"/>
                    <a:pt x="1033" y="112"/>
                    <a:pt x="1031" y="113"/>
                  </a:cubicBezTo>
                  <a:cubicBezTo>
                    <a:pt x="1027" y="115"/>
                    <a:pt x="1024" y="113"/>
                    <a:pt x="1022" y="113"/>
                  </a:cubicBezTo>
                  <a:cubicBezTo>
                    <a:pt x="1018" y="113"/>
                    <a:pt x="1017" y="111"/>
                    <a:pt x="1018" y="109"/>
                  </a:cubicBezTo>
                  <a:cubicBezTo>
                    <a:pt x="1020" y="108"/>
                    <a:pt x="1011" y="114"/>
                    <a:pt x="1020" y="108"/>
                  </a:cubicBezTo>
                  <a:cubicBezTo>
                    <a:pt x="1029" y="102"/>
                    <a:pt x="1029" y="102"/>
                    <a:pt x="1030" y="102"/>
                  </a:cubicBezTo>
                  <a:cubicBezTo>
                    <a:pt x="1032" y="103"/>
                    <a:pt x="1033" y="104"/>
                    <a:pt x="1033" y="102"/>
                  </a:cubicBezTo>
                  <a:cubicBezTo>
                    <a:pt x="1033" y="101"/>
                    <a:pt x="1034" y="98"/>
                    <a:pt x="1032" y="98"/>
                  </a:cubicBezTo>
                  <a:cubicBezTo>
                    <a:pt x="1031" y="97"/>
                    <a:pt x="1031" y="95"/>
                    <a:pt x="1029" y="94"/>
                  </a:cubicBezTo>
                  <a:cubicBezTo>
                    <a:pt x="1026" y="94"/>
                    <a:pt x="1029" y="95"/>
                    <a:pt x="1026" y="94"/>
                  </a:cubicBezTo>
                  <a:cubicBezTo>
                    <a:pt x="1023" y="92"/>
                    <a:pt x="1022" y="91"/>
                    <a:pt x="1021" y="89"/>
                  </a:cubicBezTo>
                  <a:cubicBezTo>
                    <a:pt x="1019" y="87"/>
                    <a:pt x="1017" y="85"/>
                    <a:pt x="1017" y="84"/>
                  </a:cubicBezTo>
                  <a:cubicBezTo>
                    <a:pt x="1017" y="83"/>
                    <a:pt x="1015" y="84"/>
                    <a:pt x="1014" y="83"/>
                  </a:cubicBezTo>
                  <a:cubicBezTo>
                    <a:pt x="1013" y="80"/>
                    <a:pt x="1014" y="78"/>
                    <a:pt x="1014" y="77"/>
                  </a:cubicBezTo>
                  <a:cubicBezTo>
                    <a:pt x="1014" y="75"/>
                    <a:pt x="1015" y="76"/>
                    <a:pt x="1013" y="73"/>
                  </a:cubicBezTo>
                  <a:cubicBezTo>
                    <a:pt x="1012" y="71"/>
                    <a:pt x="1009" y="68"/>
                    <a:pt x="1008" y="68"/>
                  </a:cubicBezTo>
                  <a:cubicBezTo>
                    <a:pt x="1008" y="68"/>
                    <a:pt x="1004" y="62"/>
                    <a:pt x="1003" y="62"/>
                  </a:cubicBezTo>
                  <a:cubicBezTo>
                    <a:pt x="1002" y="62"/>
                    <a:pt x="1001" y="61"/>
                    <a:pt x="1000" y="61"/>
                  </a:cubicBezTo>
                  <a:cubicBezTo>
                    <a:pt x="998" y="61"/>
                    <a:pt x="995" y="60"/>
                    <a:pt x="994" y="60"/>
                  </a:cubicBezTo>
                  <a:cubicBezTo>
                    <a:pt x="993" y="60"/>
                    <a:pt x="992" y="59"/>
                    <a:pt x="991" y="59"/>
                  </a:cubicBezTo>
                  <a:cubicBezTo>
                    <a:pt x="991" y="59"/>
                    <a:pt x="990" y="57"/>
                    <a:pt x="990" y="57"/>
                  </a:cubicBezTo>
                  <a:cubicBezTo>
                    <a:pt x="990" y="57"/>
                    <a:pt x="994" y="56"/>
                    <a:pt x="995" y="56"/>
                  </a:cubicBezTo>
                  <a:cubicBezTo>
                    <a:pt x="999" y="56"/>
                    <a:pt x="1002" y="53"/>
                    <a:pt x="1002" y="53"/>
                  </a:cubicBezTo>
                  <a:cubicBezTo>
                    <a:pt x="1003" y="49"/>
                    <a:pt x="1003" y="49"/>
                    <a:pt x="1003" y="49"/>
                  </a:cubicBezTo>
                  <a:cubicBezTo>
                    <a:pt x="1008" y="45"/>
                    <a:pt x="1008" y="45"/>
                    <a:pt x="1008" y="45"/>
                  </a:cubicBezTo>
                  <a:cubicBezTo>
                    <a:pt x="1006" y="43"/>
                    <a:pt x="1006" y="43"/>
                    <a:pt x="1006" y="43"/>
                  </a:cubicBezTo>
                  <a:cubicBezTo>
                    <a:pt x="1006" y="43"/>
                    <a:pt x="1006" y="42"/>
                    <a:pt x="1005" y="41"/>
                  </a:cubicBezTo>
                  <a:cubicBezTo>
                    <a:pt x="1004" y="39"/>
                    <a:pt x="1006" y="41"/>
                    <a:pt x="1004" y="39"/>
                  </a:cubicBezTo>
                  <a:cubicBezTo>
                    <a:pt x="1004" y="39"/>
                    <a:pt x="1007" y="38"/>
                    <a:pt x="1009" y="38"/>
                  </a:cubicBezTo>
                  <a:cubicBezTo>
                    <a:pt x="1010" y="38"/>
                    <a:pt x="1016" y="36"/>
                    <a:pt x="1016" y="36"/>
                  </a:cubicBezTo>
                  <a:cubicBezTo>
                    <a:pt x="1016" y="36"/>
                    <a:pt x="1020" y="36"/>
                    <a:pt x="1021" y="37"/>
                  </a:cubicBezTo>
                  <a:cubicBezTo>
                    <a:pt x="1024" y="39"/>
                    <a:pt x="1032" y="35"/>
                    <a:pt x="1031" y="35"/>
                  </a:cubicBezTo>
                  <a:cubicBezTo>
                    <a:pt x="1031" y="35"/>
                    <a:pt x="1033" y="34"/>
                    <a:pt x="1034" y="30"/>
                  </a:cubicBezTo>
                  <a:cubicBezTo>
                    <a:pt x="1034" y="25"/>
                    <a:pt x="1034" y="24"/>
                    <a:pt x="1035" y="24"/>
                  </a:cubicBezTo>
                  <a:cubicBezTo>
                    <a:pt x="1036" y="24"/>
                    <a:pt x="1038" y="23"/>
                    <a:pt x="1038" y="23"/>
                  </a:cubicBezTo>
                  <a:cubicBezTo>
                    <a:pt x="1038" y="23"/>
                    <a:pt x="1039" y="21"/>
                    <a:pt x="1040" y="20"/>
                  </a:cubicBezTo>
                  <a:cubicBezTo>
                    <a:pt x="1042" y="20"/>
                    <a:pt x="1043" y="18"/>
                    <a:pt x="1044" y="17"/>
                  </a:cubicBezTo>
                  <a:cubicBezTo>
                    <a:pt x="1044" y="16"/>
                    <a:pt x="1047" y="10"/>
                    <a:pt x="1048" y="10"/>
                  </a:cubicBezTo>
                  <a:cubicBezTo>
                    <a:pt x="1048" y="9"/>
                    <a:pt x="1047" y="6"/>
                    <a:pt x="1047" y="6"/>
                  </a:cubicBezTo>
                  <a:cubicBezTo>
                    <a:pt x="1047" y="6"/>
                    <a:pt x="1044" y="5"/>
                    <a:pt x="1043" y="5"/>
                  </a:cubicBezTo>
                  <a:cubicBezTo>
                    <a:pt x="1042" y="5"/>
                    <a:pt x="1039" y="3"/>
                    <a:pt x="1038" y="3"/>
                  </a:cubicBezTo>
                  <a:cubicBezTo>
                    <a:pt x="1036" y="3"/>
                    <a:pt x="1032" y="4"/>
                    <a:pt x="1030" y="3"/>
                  </a:cubicBezTo>
                  <a:cubicBezTo>
                    <a:pt x="1026" y="3"/>
                    <a:pt x="1023" y="4"/>
                    <a:pt x="1023" y="4"/>
                  </a:cubicBezTo>
                  <a:cubicBezTo>
                    <a:pt x="1023" y="4"/>
                    <a:pt x="1022" y="2"/>
                    <a:pt x="1019" y="2"/>
                  </a:cubicBezTo>
                  <a:cubicBezTo>
                    <a:pt x="1016" y="2"/>
                    <a:pt x="1017" y="0"/>
                    <a:pt x="1015" y="0"/>
                  </a:cubicBezTo>
                  <a:cubicBezTo>
                    <a:pt x="1012" y="0"/>
                    <a:pt x="1010" y="0"/>
                    <a:pt x="1008" y="1"/>
                  </a:cubicBezTo>
                  <a:cubicBezTo>
                    <a:pt x="1005" y="1"/>
                    <a:pt x="1002" y="0"/>
                    <a:pt x="1000" y="1"/>
                  </a:cubicBezTo>
                  <a:cubicBezTo>
                    <a:pt x="998" y="1"/>
                    <a:pt x="995" y="0"/>
                    <a:pt x="993" y="0"/>
                  </a:cubicBezTo>
                  <a:cubicBezTo>
                    <a:pt x="991" y="1"/>
                    <a:pt x="990" y="0"/>
                    <a:pt x="987" y="1"/>
                  </a:cubicBezTo>
                  <a:cubicBezTo>
                    <a:pt x="984" y="3"/>
                    <a:pt x="984" y="2"/>
                    <a:pt x="983" y="4"/>
                  </a:cubicBezTo>
                  <a:cubicBezTo>
                    <a:pt x="981" y="6"/>
                    <a:pt x="980" y="3"/>
                    <a:pt x="981" y="6"/>
                  </a:cubicBezTo>
                  <a:cubicBezTo>
                    <a:pt x="983" y="9"/>
                    <a:pt x="983" y="12"/>
                    <a:pt x="983" y="12"/>
                  </a:cubicBezTo>
                  <a:cubicBezTo>
                    <a:pt x="983" y="12"/>
                    <a:pt x="982" y="9"/>
                    <a:pt x="980" y="10"/>
                  </a:cubicBezTo>
                  <a:cubicBezTo>
                    <a:pt x="978" y="10"/>
                    <a:pt x="977" y="9"/>
                    <a:pt x="977" y="10"/>
                  </a:cubicBezTo>
                  <a:cubicBezTo>
                    <a:pt x="976" y="12"/>
                    <a:pt x="977" y="12"/>
                    <a:pt x="976" y="15"/>
                  </a:cubicBezTo>
                  <a:cubicBezTo>
                    <a:pt x="976" y="18"/>
                    <a:pt x="976" y="16"/>
                    <a:pt x="976" y="18"/>
                  </a:cubicBezTo>
                  <a:cubicBezTo>
                    <a:pt x="976" y="20"/>
                    <a:pt x="977" y="22"/>
                    <a:pt x="976" y="25"/>
                  </a:cubicBezTo>
                  <a:cubicBezTo>
                    <a:pt x="974" y="28"/>
                    <a:pt x="974" y="29"/>
                    <a:pt x="974" y="30"/>
                  </a:cubicBezTo>
                  <a:cubicBezTo>
                    <a:pt x="974" y="32"/>
                    <a:pt x="974" y="34"/>
                    <a:pt x="974" y="34"/>
                  </a:cubicBezTo>
                  <a:cubicBezTo>
                    <a:pt x="975" y="35"/>
                    <a:pt x="974" y="35"/>
                    <a:pt x="977" y="37"/>
                  </a:cubicBezTo>
                  <a:cubicBezTo>
                    <a:pt x="979" y="39"/>
                    <a:pt x="979" y="41"/>
                    <a:pt x="980" y="42"/>
                  </a:cubicBezTo>
                  <a:cubicBezTo>
                    <a:pt x="981" y="44"/>
                    <a:pt x="981" y="45"/>
                    <a:pt x="981" y="47"/>
                  </a:cubicBezTo>
                  <a:cubicBezTo>
                    <a:pt x="981" y="48"/>
                    <a:pt x="980" y="50"/>
                    <a:pt x="980" y="53"/>
                  </a:cubicBezTo>
                  <a:cubicBezTo>
                    <a:pt x="980" y="55"/>
                    <a:pt x="981" y="56"/>
                    <a:pt x="981" y="56"/>
                  </a:cubicBezTo>
                  <a:cubicBezTo>
                    <a:pt x="981" y="60"/>
                    <a:pt x="982" y="58"/>
                    <a:pt x="981" y="60"/>
                  </a:cubicBezTo>
                  <a:cubicBezTo>
                    <a:pt x="979" y="62"/>
                    <a:pt x="977" y="61"/>
                    <a:pt x="976" y="63"/>
                  </a:cubicBezTo>
                  <a:cubicBezTo>
                    <a:pt x="974" y="66"/>
                    <a:pt x="974" y="65"/>
                    <a:pt x="976" y="66"/>
                  </a:cubicBezTo>
                  <a:cubicBezTo>
                    <a:pt x="977" y="67"/>
                    <a:pt x="979" y="70"/>
                    <a:pt x="978" y="70"/>
                  </a:cubicBezTo>
                  <a:cubicBezTo>
                    <a:pt x="974" y="71"/>
                    <a:pt x="971" y="69"/>
                    <a:pt x="971" y="69"/>
                  </a:cubicBezTo>
                  <a:cubicBezTo>
                    <a:pt x="971" y="69"/>
                    <a:pt x="970" y="70"/>
                    <a:pt x="968" y="71"/>
                  </a:cubicBezTo>
                  <a:cubicBezTo>
                    <a:pt x="967" y="73"/>
                    <a:pt x="966" y="74"/>
                    <a:pt x="964" y="76"/>
                  </a:cubicBezTo>
                  <a:cubicBezTo>
                    <a:pt x="963" y="79"/>
                    <a:pt x="963" y="78"/>
                    <a:pt x="963" y="80"/>
                  </a:cubicBezTo>
                  <a:cubicBezTo>
                    <a:pt x="963" y="82"/>
                    <a:pt x="962" y="85"/>
                    <a:pt x="963" y="87"/>
                  </a:cubicBezTo>
                  <a:cubicBezTo>
                    <a:pt x="964" y="89"/>
                    <a:pt x="964" y="88"/>
                    <a:pt x="966" y="89"/>
                  </a:cubicBezTo>
                  <a:cubicBezTo>
                    <a:pt x="968" y="90"/>
                    <a:pt x="969" y="91"/>
                    <a:pt x="970" y="91"/>
                  </a:cubicBezTo>
                  <a:cubicBezTo>
                    <a:pt x="972" y="91"/>
                    <a:pt x="967" y="94"/>
                    <a:pt x="967" y="96"/>
                  </a:cubicBezTo>
                  <a:cubicBezTo>
                    <a:pt x="966" y="97"/>
                    <a:pt x="965" y="99"/>
                    <a:pt x="965" y="101"/>
                  </a:cubicBezTo>
                  <a:cubicBezTo>
                    <a:pt x="966" y="105"/>
                    <a:pt x="968" y="107"/>
                    <a:pt x="969" y="108"/>
                  </a:cubicBezTo>
                  <a:cubicBezTo>
                    <a:pt x="969" y="109"/>
                    <a:pt x="971" y="109"/>
                    <a:pt x="972" y="110"/>
                  </a:cubicBezTo>
                  <a:cubicBezTo>
                    <a:pt x="973" y="111"/>
                    <a:pt x="975" y="111"/>
                    <a:pt x="975" y="111"/>
                  </a:cubicBezTo>
                  <a:cubicBezTo>
                    <a:pt x="979" y="112"/>
                    <a:pt x="979" y="112"/>
                    <a:pt x="979" y="112"/>
                  </a:cubicBezTo>
                  <a:cubicBezTo>
                    <a:pt x="983" y="113"/>
                    <a:pt x="983" y="113"/>
                    <a:pt x="983" y="113"/>
                  </a:cubicBezTo>
                  <a:cubicBezTo>
                    <a:pt x="986" y="116"/>
                    <a:pt x="991" y="117"/>
                    <a:pt x="991" y="117"/>
                  </a:cubicBezTo>
                  <a:cubicBezTo>
                    <a:pt x="995" y="117"/>
                    <a:pt x="995" y="117"/>
                    <a:pt x="995" y="117"/>
                  </a:cubicBezTo>
                  <a:cubicBezTo>
                    <a:pt x="995" y="117"/>
                    <a:pt x="996" y="119"/>
                    <a:pt x="997" y="119"/>
                  </a:cubicBezTo>
                  <a:cubicBezTo>
                    <a:pt x="997" y="119"/>
                    <a:pt x="996" y="119"/>
                    <a:pt x="996" y="120"/>
                  </a:cubicBezTo>
                  <a:cubicBezTo>
                    <a:pt x="994" y="124"/>
                    <a:pt x="994" y="121"/>
                    <a:pt x="994" y="124"/>
                  </a:cubicBezTo>
                  <a:cubicBezTo>
                    <a:pt x="995" y="126"/>
                    <a:pt x="997" y="126"/>
                    <a:pt x="997" y="127"/>
                  </a:cubicBezTo>
                  <a:cubicBezTo>
                    <a:pt x="997" y="128"/>
                    <a:pt x="994" y="131"/>
                    <a:pt x="994" y="131"/>
                  </a:cubicBezTo>
                  <a:cubicBezTo>
                    <a:pt x="994" y="131"/>
                    <a:pt x="990" y="134"/>
                    <a:pt x="991" y="134"/>
                  </a:cubicBezTo>
                  <a:cubicBezTo>
                    <a:pt x="995" y="134"/>
                    <a:pt x="998" y="134"/>
                    <a:pt x="998" y="133"/>
                  </a:cubicBezTo>
                  <a:cubicBezTo>
                    <a:pt x="999" y="133"/>
                    <a:pt x="999" y="132"/>
                    <a:pt x="1000" y="131"/>
                  </a:cubicBezTo>
                  <a:cubicBezTo>
                    <a:pt x="1001" y="130"/>
                    <a:pt x="1002" y="127"/>
                    <a:pt x="1002" y="127"/>
                  </a:cubicBezTo>
                  <a:cubicBezTo>
                    <a:pt x="1002" y="127"/>
                    <a:pt x="1004" y="130"/>
                    <a:pt x="1004" y="131"/>
                  </a:cubicBezTo>
                  <a:cubicBezTo>
                    <a:pt x="1003" y="132"/>
                    <a:pt x="1003" y="134"/>
                    <a:pt x="1003" y="135"/>
                  </a:cubicBezTo>
                  <a:cubicBezTo>
                    <a:pt x="1002" y="138"/>
                    <a:pt x="1005" y="137"/>
                    <a:pt x="1002" y="140"/>
                  </a:cubicBezTo>
                  <a:cubicBezTo>
                    <a:pt x="1000" y="142"/>
                    <a:pt x="996" y="146"/>
                    <a:pt x="996" y="146"/>
                  </a:cubicBezTo>
                  <a:cubicBezTo>
                    <a:pt x="996" y="146"/>
                    <a:pt x="994" y="144"/>
                    <a:pt x="993" y="147"/>
                  </a:cubicBezTo>
                  <a:cubicBezTo>
                    <a:pt x="992" y="149"/>
                    <a:pt x="991" y="148"/>
                    <a:pt x="988" y="149"/>
                  </a:cubicBezTo>
                  <a:cubicBezTo>
                    <a:pt x="986" y="150"/>
                    <a:pt x="988" y="148"/>
                    <a:pt x="985" y="150"/>
                  </a:cubicBezTo>
                  <a:cubicBezTo>
                    <a:pt x="982" y="151"/>
                    <a:pt x="984" y="149"/>
                    <a:pt x="981" y="151"/>
                  </a:cubicBezTo>
                  <a:cubicBezTo>
                    <a:pt x="977" y="153"/>
                    <a:pt x="978" y="148"/>
                    <a:pt x="977" y="153"/>
                  </a:cubicBezTo>
                  <a:cubicBezTo>
                    <a:pt x="977" y="158"/>
                    <a:pt x="974" y="157"/>
                    <a:pt x="975" y="159"/>
                  </a:cubicBezTo>
                  <a:cubicBezTo>
                    <a:pt x="977" y="161"/>
                    <a:pt x="978" y="159"/>
                    <a:pt x="979" y="162"/>
                  </a:cubicBezTo>
                  <a:cubicBezTo>
                    <a:pt x="979" y="166"/>
                    <a:pt x="980" y="165"/>
                    <a:pt x="981" y="168"/>
                  </a:cubicBezTo>
                  <a:cubicBezTo>
                    <a:pt x="981" y="170"/>
                    <a:pt x="981" y="170"/>
                    <a:pt x="981" y="172"/>
                  </a:cubicBezTo>
                  <a:cubicBezTo>
                    <a:pt x="980" y="174"/>
                    <a:pt x="979" y="175"/>
                    <a:pt x="979" y="176"/>
                  </a:cubicBezTo>
                  <a:cubicBezTo>
                    <a:pt x="979" y="176"/>
                    <a:pt x="979" y="175"/>
                    <a:pt x="978" y="174"/>
                  </a:cubicBezTo>
                  <a:cubicBezTo>
                    <a:pt x="977" y="169"/>
                    <a:pt x="977" y="167"/>
                    <a:pt x="976" y="167"/>
                  </a:cubicBezTo>
                  <a:cubicBezTo>
                    <a:pt x="975" y="168"/>
                    <a:pt x="974" y="167"/>
                    <a:pt x="973" y="167"/>
                  </a:cubicBezTo>
                  <a:cubicBezTo>
                    <a:pt x="970" y="166"/>
                    <a:pt x="968" y="165"/>
                    <a:pt x="967" y="164"/>
                  </a:cubicBezTo>
                  <a:cubicBezTo>
                    <a:pt x="967" y="162"/>
                    <a:pt x="965" y="161"/>
                    <a:pt x="967" y="160"/>
                  </a:cubicBezTo>
                  <a:cubicBezTo>
                    <a:pt x="970" y="159"/>
                    <a:pt x="972" y="158"/>
                    <a:pt x="972" y="157"/>
                  </a:cubicBezTo>
                  <a:cubicBezTo>
                    <a:pt x="972" y="156"/>
                    <a:pt x="972" y="154"/>
                    <a:pt x="972" y="153"/>
                  </a:cubicBezTo>
                  <a:cubicBezTo>
                    <a:pt x="972" y="152"/>
                    <a:pt x="972" y="150"/>
                    <a:pt x="972" y="150"/>
                  </a:cubicBezTo>
                  <a:cubicBezTo>
                    <a:pt x="970" y="148"/>
                    <a:pt x="971" y="146"/>
                    <a:pt x="970" y="146"/>
                  </a:cubicBezTo>
                  <a:cubicBezTo>
                    <a:pt x="966" y="148"/>
                    <a:pt x="967" y="146"/>
                    <a:pt x="966" y="148"/>
                  </a:cubicBezTo>
                  <a:cubicBezTo>
                    <a:pt x="964" y="145"/>
                    <a:pt x="964" y="145"/>
                    <a:pt x="964" y="145"/>
                  </a:cubicBezTo>
                  <a:cubicBezTo>
                    <a:pt x="961" y="147"/>
                    <a:pt x="964" y="146"/>
                    <a:pt x="961" y="147"/>
                  </a:cubicBezTo>
                  <a:cubicBezTo>
                    <a:pt x="957" y="146"/>
                    <a:pt x="957" y="145"/>
                    <a:pt x="957" y="144"/>
                  </a:cubicBezTo>
                  <a:cubicBezTo>
                    <a:pt x="956" y="142"/>
                    <a:pt x="957" y="141"/>
                    <a:pt x="955" y="141"/>
                  </a:cubicBezTo>
                  <a:cubicBezTo>
                    <a:pt x="952" y="140"/>
                    <a:pt x="956" y="140"/>
                    <a:pt x="952" y="140"/>
                  </a:cubicBezTo>
                  <a:cubicBezTo>
                    <a:pt x="948" y="140"/>
                    <a:pt x="947" y="138"/>
                    <a:pt x="946" y="140"/>
                  </a:cubicBezTo>
                  <a:cubicBezTo>
                    <a:pt x="946" y="143"/>
                    <a:pt x="948" y="142"/>
                    <a:pt x="946" y="143"/>
                  </a:cubicBezTo>
                  <a:cubicBezTo>
                    <a:pt x="943" y="144"/>
                    <a:pt x="942" y="145"/>
                    <a:pt x="941" y="144"/>
                  </a:cubicBezTo>
                  <a:cubicBezTo>
                    <a:pt x="940" y="144"/>
                    <a:pt x="939" y="143"/>
                    <a:pt x="938" y="143"/>
                  </a:cubicBezTo>
                  <a:cubicBezTo>
                    <a:pt x="935" y="145"/>
                    <a:pt x="933" y="143"/>
                    <a:pt x="935" y="145"/>
                  </a:cubicBezTo>
                  <a:cubicBezTo>
                    <a:pt x="936" y="147"/>
                    <a:pt x="937" y="145"/>
                    <a:pt x="938" y="147"/>
                  </a:cubicBezTo>
                  <a:cubicBezTo>
                    <a:pt x="938" y="149"/>
                    <a:pt x="937" y="150"/>
                    <a:pt x="938" y="151"/>
                  </a:cubicBezTo>
                  <a:cubicBezTo>
                    <a:pt x="937" y="151"/>
                    <a:pt x="936" y="151"/>
                    <a:pt x="935" y="151"/>
                  </a:cubicBezTo>
                  <a:cubicBezTo>
                    <a:pt x="935" y="151"/>
                    <a:pt x="934" y="153"/>
                    <a:pt x="935" y="156"/>
                  </a:cubicBezTo>
                  <a:cubicBezTo>
                    <a:pt x="936" y="159"/>
                    <a:pt x="933" y="159"/>
                    <a:pt x="932" y="159"/>
                  </a:cubicBezTo>
                  <a:cubicBezTo>
                    <a:pt x="931" y="159"/>
                    <a:pt x="929" y="157"/>
                    <a:pt x="929" y="157"/>
                  </a:cubicBezTo>
                  <a:cubicBezTo>
                    <a:pt x="929" y="157"/>
                    <a:pt x="932" y="153"/>
                    <a:pt x="927" y="155"/>
                  </a:cubicBezTo>
                  <a:cubicBezTo>
                    <a:pt x="922" y="157"/>
                    <a:pt x="923" y="156"/>
                    <a:pt x="923" y="156"/>
                  </a:cubicBezTo>
                  <a:cubicBezTo>
                    <a:pt x="923" y="156"/>
                    <a:pt x="920" y="156"/>
                    <a:pt x="918" y="156"/>
                  </a:cubicBezTo>
                  <a:cubicBezTo>
                    <a:pt x="916" y="156"/>
                    <a:pt x="913" y="156"/>
                    <a:pt x="912" y="156"/>
                  </a:cubicBezTo>
                  <a:cubicBezTo>
                    <a:pt x="908" y="157"/>
                    <a:pt x="905" y="158"/>
                    <a:pt x="905" y="158"/>
                  </a:cubicBezTo>
                  <a:cubicBezTo>
                    <a:pt x="905" y="158"/>
                    <a:pt x="903" y="158"/>
                    <a:pt x="902" y="158"/>
                  </a:cubicBezTo>
                  <a:cubicBezTo>
                    <a:pt x="898" y="159"/>
                    <a:pt x="896" y="159"/>
                    <a:pt x="895" y="159"/>
                  </a:cubicBezTo>
                  <a:cubicBezTo>
                    <a:pt x="894" y="160"/>
                    <a:pt x="892" y="161"/>
                    <a:pt x="892" y="160"/>
                  </a:cubicBezTo>
                  <a:cubicBezTo>
                    <a:pt x="892" y="159"/>
                    <a:pt x="892" y="157"/>
                    <a:pt x="891" y="157"/>
                  </a:cubicBezTo>
                  <a:cubicBezTo>
                    <a:pt x="888" y="157"/>
                    <a:pt x="886" y="157"/>
                    <a:pt x="885" y="157"/>
                  </a:cubicBezTo>
                  <a:cubicBezTo>
                    <a:pt x="884" y="157"/>
                    <a:pt x="888" y="158"/>
                    <a:pt x="884" y="157"/>
                  </a:cubicBezTo>
                  <a:cubicBezTo>
                    <a:pt x="880" y="156"/>
                    <a:pt x="879" y="156"/>
                    <a:pt x="878" y="154"/>
                  </a:cubicBezTo>
                  <a:cubicBezTo>
                    <a:pt x="876" y="151"/>
                    <a:pt x="877" y="150"/>
                    <a:pt x="874" y="150"/>
                  </a:cubicBezTo>
                  <a:cubicBezTo>
                    <a:pt x="872" y="151"/>
                    <a:pt x="872" y="149"/>
                    <a:pt x="870" y="150"/>
                  </a:cubicBezTo>
                  <a:cubicBezTo>
                    <a:pt x="868" y="152"/>
                    <a:pt x="867" y="150"/>
                    <a:pt x="865" y="150"/>
                  </a:cubicBezTo>
                  <a:cubicBezTo>
                    <a:pt x="863" y="151"/>
                    <a:pt x="863" y="153"/>
                    <a:pt x="861" y="151"/>
                  </a:cubicBezTo>
                  <a:cubicBezTo>
                    <a:pt x="858" y="149"/>
                    <a:pt x="858" y="149"/>
                    <a:pt x="858" y="149"/>
                  </a:cubicBezTo>
                  <a:cubicBezTo>
                    <a:pt x="855" y="147"/>
                    <a:pt x="855" y="147"/>
                    <a:pt x="854" y="146"/>
                  </a:cubicBezTo>
                  <a:cubicBezTo>
                    <a:pt x="854" y="146"/>
                    <a:pt x="855" y="145"/>
                    <a:pt x="852" y="144"/>
                  </a:cubicBezTo>
                  <a:cubicBezTo>
                    <a:pt x="848" y="144"/>
                    <a:pt x="847" y="145"/>
                    <a:pt x="846" y="142"/>
                  </a:cubicBezTo>
                  <a:cubicBezTo>
                    <a:pt x="845" y="140"/>
                    <a:pt x="845" y="141"/>
                    <a:pt x="845" y="140"/>
                  </a:cubicBezTo>
                  <a:cubicBezTo>
                    <a:pt x="844" y="138"/>
                    <a:pt x="846" y="140"/>
                    <a:pt x="844" y="138"/>
                  </a:cubicBezTo>
                  <a:cubicBezTo>
                    <a:pt x="843" y="136"/>
                    <a:pt x="844" y="135"/>
                    <a:pt x="842" y="133"/>
                  </a:cubicBezTo>
                  <a:cubicBezTo>
                    <a:pt x="840" y="131"/>
                    <a:pt x="842" y="130"/>
                    <a:pt x="840" y="130"/>
                  </a:cubicBezTo>
                  <a:cubicBezTo>
                    <a:pt x="838" y="130"/>
                    <a:pt x="837" y="129"/>
                    <a:pt x="836" y="130"/>
                  </a:cubicBezTo>
                  <a:cubicBezTo>
                    <a:pt x="834" y="130"/>
                    <a:pt x="837" y="129"/>
                    <a:pt x="834" y="130"/>
                  </a:cubicBezTo>
                  <a:cubicBezTo>
                    <a:pt x="830" y="131"/>
                    <a:pt x="831" y="131"/>
                    <a:pt x="828" y="132"/>
                  </a:cubicBezTo>
                  <a:cubicBezTo>
                    <a:pt x="825" y="133"/>
                    <a:pt x="829" y="132"/>
                    <a:pt x="825" y="133"/>
                  </a:cubicBezTo>
                  <a:cubicBezTo>
                    <a:pt x="822" y="135"/>
                    <a:pt x="819" y="135"/>
                    <a:pt x="818" y="136"/>
                  </a:cubicBezTo>
                  <a:cubicBezTo>
                    <a:pt x="817" y="137"/>
                    <a:pt x="813" y="137"/>
                    <a:pt x="811" y="137"/>
                  </a:cubicBezTo>
                  <a:cubicBezTo>
                    <a:pt x="809" y="137"/>
                    <a:pt x="807" y="138"/>
                    <a:pt x="806" y="138"/>
                  </a:cubicBezTo>
                  <a:cubicBezTo>
                    <a:pt x="805" y="138"/>
                    <a:pt x="805" y="137"/>
                    <a:pt x="803" y="139"/>
                  </a:cubicBezTo>
                  <a:cubicBezTo>
                    <a:pt x="800" y="141"/>
                    <a:pt x="799" y="142"/>
                    <a:pt x="799" y="143"/>
                  </a:cubicBezTo>
                  <a:cubicBezTo>
                    <a:pt x="799" y="144"/>
                    <a:pt x="798" y="145"/>
                    <a:pt x="798" y="146"/>
                  </a:cubicBezTo>
                  <a:cubicBezTo>
                    <a:pt x="798" y="146"/>
                    <a:pt x="800" y="149"/>
                    <a:pt x="802" y="150"/>
                  </a:cubicBezTo>
                  <a:cubicBezTo>
                    <a:pt x="803" y="150"/>
                    <a:pt x="803" y="150"/>
                    <a:pt x="805" y="149"/>
                  </a:cubicBezTo>
                  <a:cubicBezTo>
                    <a:pt x="808" y="149"/>
                    <a:pt x="810" y="150"/>
                    <a:pt x="810" y="150"/>
                  </a:cubicBezTo>
                  <a:cubicBezTo>
                    <a:pt x="810" y="150"/>
                    <a:pt x="812" y="147"/>
                    <a:pt x="813" y="147"/>
                  </a:cubicBezTo>
                  <a:cubicBezTo>
                    <a:pt x="814" y="147"/>
                    <a:pt x="814" y="147"/>
                    <a:pt x="814" y="147"/>
                  </a:cubicBezTo>
                  <a:cubicBezTo>
                    <a:pt x="814" y="147"/>
                    <a:pt x="813" y="145"/>
                    <a:pt x="815" y="146"/>
                  </a:cubicBezTo>
                  <a:cubicBezTo>
                    <a:pt x="817" y="146"/>
                    <a:pt x="820" y="145"/>
                    <a:pt x="820" y="145"/>
                  </a:cubicBezTo>
                  <a:cubicBezTo>
                    <a:pt x="820" y="145"/>
                    <a:pt x="821" y="146"/>
                    <a:pt x="823" y="145"/>
                  </a:cubicBezTo>
                  <a:cubicBezTo>
                    <a:pt x="824" y="145"/>
                    <a:pt x="825" y="144"/>
                    <a:pt x="826" y="144"/>
                  </a:cubicBezTo>
                  <a:cubicBezTo>
                    <a:pt x="826" y="144"/>
                    <a:pt x="830" y="142"/>
                    <a:pt x="831" y="142"/>
                  </a:cubicBezTo>
                  <a:cubicBezTo>
                    <a:pt x="832" y="142"/>
                    <a:pt x="834" y="141"/>
                    <a:pt x="835" y="141"/>
                  </a:cubicBezTo>
                  <a:cubicBezTo>
                    <a:pt x="835" y="141"/>
                    <a:pt x="837" y="139"/>
                    <a:pt x="838" y="139"/>
                  </a:cubicBezTo>
                  <a:cubicBezTo>
                    <a:pt x="838" y="139"/>
                    <a:pt x="840" y="139"/>
                    <a:pt x="839" y="141"/>
                  </a:cubicBezTo>
                  <a:cubicBezTo>
                    <a:pt x="838" y="144"/>
                    <a:pt x="836" y="144"/>
                    <a:pt x="835" y="144"/>
                  </a:cubicBezTo>
                  <a:cubicBezTo>
                    <a:pt x="834" y="144"/>
                    <a:pt x="831" y="145"/>
                    <a:pt x="831" y="145"/>
                  </a:cubicBezTo>
                  <a:cubicBezTo>
                    <a:pt x="828" y="148"/>
                    <a:pt x="825" y="149"/>
                    <a:pt x="825" y="149"/>
                  </a:cubicBezTo>
                  <a:cubicBezTo>
                    <a:pt x="825" y="149"/>
                    <a:pt x="823" y="148"/>
                    <a:pt x="822" y="149"/>
                  </a:cubicBezTo>
                  <a:cubicBezTo>
                    <a:pt x="821" y="150"/>
                    <a:pt x="821" y="148"/>
                    <a:pt x="820" y="150"/>
                  </a:cubicBezTo>
                  <a:cubicBezTo>
                    <a:pt x="815" y="153"/>
                    <a:pt x="815" y="152"/>
                    <a:pt x="813" y="153"/>
                  </a:cubicBezTo>
                  <a:cubicBezTo>
                    <a:pt x="813" y="153"/>
                    <a:pt x="811" y="153"/>
                    <a:pt x="810" y="156"/>
                  </a:cubicBezTo>
                  <a:cubicBezTo>
                    <a:pt x="809" y="159"/>
                    <a:pt x="807" y="157"/>
                    <a:pt x="809" y="159"/>
                  </a:cubicBezTo>
                  <a:cubicBezTo>
                    <a:pt x="812" y="161"/>
                    <a:pt x="812" y="161"/>
                    <a:pt x="813" y="163"/>
                  </a:cubicBezTo>
                  <a:cubicBezTo>
                    <a:pt x="814" y="164"/>
                    <a:pt x="815" y="167"/>
                    <a:pt x="815" y="167"/>
                  </a:cubicBezTo>
                  <a:cubicBezTo>
                    <a:pt x="817" y="169"/>
                    <a:pt x="818" y="169"/>
                    <a:pt x="819" y="171"/>
                  </a:cubicBezTo>
                  <a:cubicBezTo>
                    <a:pt x="820" y="172"/>
                    <a:pt x="819" y="171"/>
                    <a:pt x="820" y="174"/>
                  </a:cubicBezTo>
                  <a:cubicBezTo>
                    <a:pt x="820" y="176"/>
                    <a:pt x="821" y="178"/>
                    <a:pt x="821" y="178"/>
                  </a:cubicBezTo>
                  <a:cubicBezTo>
                    <a:pt x="821" y="178"/>
                    <a:pt x="819" y="175"/>
                    <a:pt x="817" y="175"/>
                  </a:cubicBezTo>
                  <a:cubicBezTo>
                    <a:pt x="815" y="177"/>
                    <a:pt x="812" y="174"/>
                    <a:pt x="813" y="176"/>
                  </a:cubicBezTo>
                  <a:cubicBezTo>
                    <a:pt x="815" y="179"/>
                    <a:pt x="816" y="182"/>
                    <a:pt x="816" y="183"/>
                  </a:cubicBezTo>
                  <a:cubicBezTo>
                    <a:pt x="816" y="184"/>
                    <a:pt x="817" y="183"/>
                    <a:pt x="817" y="185"/>
                  </a:cubicBezTo>
                  <a:cubicBezTo>
                    <a:pt x="817" y="185"/>
                    <a:pt x="813" y="180"/>
                    <a:pt x="811" y="180"/>
                  </a:cubicBezTo>
                  <a:cubicBezTo>
                    <a:pt x="810" y="180"/>
                    <a:pt x="808" y="180"/>
                    <a:pt x="807" y="179"/>
                  </a:cubicBezTo>
                  <a:cubicBezTo>
                    <a:pt x="806" y="178"/>
                    <a:pt x="804" y="177"/>
                    <a:pt x="806" y="176"/>
                  </a:cubicBezTo>
                  <a:cubicBezTo>
                    <a:pt x="810" y="174"/>
                    <a:pt x="811" y="172"/>
                    <a:pt x="811" y="172"/>
                  </a:cubicBezTo>
                  <a:cubicBezTo>
                    <a:pt x="811" y="172"/>
                    <a:pt x="812" y="168"/>
                    <a:pt x="811" y="168"/>
                  </a:cubicBezTo>
                  <a:cubicBezTo>
                    <a:pt x="810" y="169"/>
                    <a:pt x="810" y="166"/>
                    <a:pt x="809" y="166"/>
                  </a:cubicBezTo>
                  <a:cubicBezTo>
                    <a:pt x="808" y="165"/>
                    <a:pt x="806" y="164"/>
                    <a:pt x="805" y="165"/>
                  </a:cubicBezTo>
                  <a:cubicBezTo>
                    <a:pt x="801" y="166"/>
                    <a:pt x="800" y="167"/>
                    <a:pt x="799" y="166"/>
                  </a:cubicBezTo>
                  <a:cubicBezTo>
                    <a:pt x="797" y="163"/>
                    <a:pt x="796" y="161"/>
                    <a:pt x="796" y="161"/>
                  </a:cubicBezTo>
                  <a:cubicBezTo>
                    <a:pt x="796" y="158"/>
                    <a:pt x="796" y="158"/>
                    <a:pt x="796" y="158"/>
                  </a:cubicBezTo>
                  <a:cubicBezTo>
                    <a:pt x="793" y="157"/>
                    <a:pt x="789" y="156"/>
                    <a:pt x="788" y="156"/>
                  </a:cubicBezTo>
                  <a:cubicBezTo>
                    <a:pt x="784" y="154"/>
                    <a:pt x="784" y="152"/>
                    <a:pt x="784" y="152"/>
                  </a:cubicBezTo>
                  <a:cubicBezTo>
                    <a:pt x="782" y="151"/>
                    <a:pt x="779" y="151"/>
                    <a:pt x="777" y="153"/>
                  </a:cubicBezTo>
                  <a:cubicBezTo>
                    <a:pt x="775" y="154"/>
                    <a:pt x="774" y="154"/>
                    <a:pt x="772" y="154"/>
                  </a:cubicBezTo>
                  <a:cubicBezTo>
                    <a:pt x="771" y="153"/>
                    <a:pt x="770" y="151"/>
                    <a:pt x="769" y="154"/>
                  </a:cubicBezTo>
                  <a:cubicBezTo>
                    <a:pt x="768" y="156"/>
                    <a:pt x="767" y="158"/>
                    <a:pt x="767" y="158"/>
                  </a:cubicBezTo>
                  <a:cubicBezTo>
                    <a:pt x="767" y="158"/>
                    <a:pt x="763" y="158"/>
                    <a:pt x="762" y="158"/>
                  </a:cubicBezTo>
                  <a:cubicBezTo>
                    <a:pt x="761" y="159"/>
                    <a:pt x="760" y="158"/>
                    <a:pt x="758" y="158"/>
                  </a:cubicBezTo>
                  <a:cubicBezTo>
                    <a:pt x="756" y="159"/>
                    <a:pt x="754" y="158"/>
                    <a:pt x="753" y="159"/>
                  </a:cubicBezTo>
                  <a:cubicBezTo>
                    <a:pt x="752" y="160"/>
                    <a:pt x="751" y="158"/>
                    <a:pt x="750" y="159"/>
                  </a:cubicBezTo>
                  <a:cubicBezTo>
                    <a:pt x="748" y="159"/>
                    <a:pt x="748" y="157"/>
                    <a:pt x="746" y="159"/>
                  </a:cubicBezTo>
                  <a:cubicBezTo>
                    <a:pt x="744" y="160"/>
                    <a:pt x="742" y="161"/>
                    <a:pt x="742" y="161"/>
                  </a:cubicBezTo>
                  <a:cubicBezTo>
                    <a:pt x="742" y="161"/>
                    <a:pt x="741" y="160"/>
                    <a:pt x="739" y="160"/>
                  </a:cubicBezTo>
                  <a:cubicBezTo>
                    <a:pt x="737" y="161"/>
                    <a:pt x="736" y="158"/>
                    <a:pt x="734" y="159"/>
                  </a:cubicBezTo>
                  <a:cubicBezTo>
                    <a:pt x="733" y="159"/>
                    <a:pt x="733" y="158"/>
                    <a:pt x="731" y="159"/>
                  </a:cubicBezTo>
                  <a:cubicBezTo>
                    <a:pt x="730" y="159"/>
                    <a:pt x="729" y="160"/>
                    <a:pt x="728" y="159"/>
                  </a:cubicBezTo>
                  <a:cubicBezTo>
                    <a:pt x="725" y="156"/>
                    <a:pt x="727" y="157"/>
                    <a:pt x="725" y="156"/>
                  </a:cubicBezTo>
                  <a:cubicBezTo>
                    <a:pt x="724" y="156"/>
                    <a:pt x="724" y="154"/>
                    <a:pt x="722" y="155"/>
                  </a:cubicBezTo>
                  <a:cubicBezTo>
                    <a:pt x="719" y="156"/>
                    <a:pt x="719" y="155"/>
                    <a:pt x="718" y="155"/>
                  </a:cubicBezTo>
                  <a:cubicBezTo>
                    <a:pt x="716" y="156"/>
                    <a:pt x="717" y="154"/>
                    <a:pt x="715" y="154"/>
                  </a:cubicBezTo>
                  <a:cubicBezTo>
                    <a:pt x="714" y="155"/>
                    <a:pt x="713" y="153"/>
                    <a:pt x="713" y="153"/>
                  </a:cubicBezTo>
                  <a:cubicBezTo>
                    <a:pt x="713" y="153"/>
                    <a:pt x="713" y="152"/>
                    <a:pt x="716" y="150"/>
                  </a:cubicBezTo>
                  <a:cubicBezTo>
                    <a:pt x="719" y="149"/>
                    <a:pt x="716" y="149"/>
                    <a:pt x="720" y="148"/>
                  </a:cubicBezTo>
                  <a:cubicBezTo>
                    <a:pt x="724" y="147"/>
                    <a:pt x="724" y="145"/>
                    <a:pt x="725" y="146"/>
                  </a:cubicBezTo>
                  <a:cubicBezTo>
                    <a:pt x="728" y="147"/>
                    <a:pt x="729" y="145"/>
                    <a:pt x="729" y="145"/>
                  </a:cubicBezTo>
                  <a:cubicBezTo>
                    <a:pt x="729" y="145"/>
                    <a:pt x="731" y="143"/>
                    <a:pt x="729" y="142"/>
                  </a:cubicBezTo>
                  <a:cubicBezTo>
                    <a:pt x="728" y="142"/>
                    <a:pt x="722" y="137"/>
                    <a:pt x="722" y="136"/>
                  </a:cubicBezTo>
                  <a:cubicBezTo>
                    <a:pt x="721" y="135"/>
                    <a:pt x="714" y="133"/>
                    <a:pt x="714" y="132"/>
                  </a:cubicBezTo>
                  <a:cubicBezTo>
                    <a:pt x="714" y="131"/>
                    <a:pt x="711" y="130"/>
                    <a:pt x="709" y="130"/>
                  </a:cubicBezTo>
                  <a:cubicBezTo>
                    <a:pt x="707" y="129"/>
                    <a:pt x="704" y="129"/>
                    <a:pt x="702" y="129"/>
                  </a:cubicBezTo>
                  <a:cubicBezTo>
                    <a:pt x="700" y="129"/>
                    <a:pt x="699" y="130"/>
                    <a:pt x="696" y="131"/>
                  </a:cubicBezTo>
                  <a:cubicBezTo>
                    <a:pt x="693" y="133"/>
                    <a:pt x="695" y="132"/>
                    <a:pt x="690" y="132"/>
                  </a:cubicBezTo>
                  <a:cubicBezTo>
                    <a:pt x="686" y="132"/>
                    <a:pt x="684" y="132"/>
                    <a:pt x="683" y="131"/>
                  </a:cubicBezTo>
                  <a:cubicBezTo>
                    <a:pt x="677" y="128"/>
                    <a:pt x="680" y="129"/>
                    <a:pt x="677" y="128"/>
                  </a:cubicBezTo>
                  <a:cubicBezTo>
                    <a:pt x="673" y="127"/>
                    <a:pt x="672" y="128"/>
                    <a:pt x="670" y="127"/>
                  </a:cubicBezTo>
                  <a:cubicBezTo>
                    <a:pt x="669" y="126"/>
                    <a:pt x="670" y="125"/>
                    <a:pt x="667" y="124"/>
                  </a:cubicBezTo>
                  <a:cubicBezTo>
                    <a:pt x="664" y="123"/>
                    <a:pt x="665" y="122"/>
                    <a:pt x="662" y="122"/>
                  </a:cubicBezTo>
                  <a:cubicBezTo>
                    <a:pt x="659" y="122"/>
                    <a:pt x="657" y="121"/>
                    <a:pt x="654" y="121"/>
                  </a:cubicBezTo>
                  <a:cubicBezTo>
                    <a:pt x="652" y="121"/>
                    <a:pt x="653" y="122"/>
                    <a:pt x="650" y="121"/>
                  </a:cubicBezTo>
                  <a:cubicBezTo>
                    <a:pt x="647" y="121"/>
                    <a:pt x="648" y="120"/>
                    <a:pt x="646" y="118"/>
                  </a:cubicBezTo>
                  <a:cubicBezTo>
                    <a:pt x="644" y="117"/>
                    <a:pt x="644" y="114"/>
                    <a:pt x="641" y="115"/>
                  </a:cubicBezTo>
                  <a:cubicBezTo>
                    <a:pt x="638" y="115"/>
                    <a:pt x="630" y="112"/>
                    <a:pt x="630" y="112"/>
                  </a:cubicBezTo>
                  <a:cubicBezTo>
                    <a:pt x="630" y="112"/>
                    <a:pt x="628" y="111"/>
                    <a:pt x="626" y="111"/>
                  </a:cubicBezTo>
                  <a:cubicBezTo>
                    <a:pt x="624" y="111"/>
                    <a:pt x="621" y="109"/>
                    <a:pt x="619" y="109"/>
                  </a:cubicBezTo>
                  <a:cubicBezTo>
                    <a:pt x="617" y="110"/>
                    <a:pt x="613" y="109"/>
                    <a:pt x="611" y="109"/>
                  </a:cubicBezTo>
                  <a:cubicBezTo>
                    <a:pt x="608" y="109"/>
                    <a:pt x="606" y="109"/>
                    <a:pt x="604" y="110"/>
                  </a:cubicBezTo>
                  <a:cubicBezTo>
                    <a:pt x="602" y="112"/>
                    <a:pt x="604" y="109"/>
                    <a:pt x="602" y="113"/>
                  </a:cubicBezTo>
                  <a:cubicBezTo>
                    <a:pt x="601" y="117"/>
                    <a:pt x="600" y="117"/>
                    <a:pt x="599" y="118"/>
                  </a:cubicBezTo>
                  <a:cubicBezTo>
                    <a:pt x="597" y="118"/>
                    <a:pt x="595" y="119"/>
                    <a:pt x="594" y="119"/>
                  </a:cubicBezTo>
                  <a:cubicBezTo>
                    <a:pt x="593" y="119"/>
                    <a:pt x="590" y="120"/>
                    <a:pt x="590" y="118"/>
                  </a:cubicBezTo>
                  <a:cubicBezTo>
                    <a:pt x="590" y="116"/>
                    <a:pt x="589" y="118"/>
                    <a:pt x="590" y="116"/>
                  </a:cubicBezTo>
                  <a:cubicBezTo>
                    <a:pt x="591" y="113"/>
                    <a:pt x="591" y="113"/>
                    <a:pt x="591" y="113"/>
                  </a:cubicBezTo>
                  <a:cubicBezTo>
                    <a:pt x="591" y="113"/>
                    <a:pt x="589" y="113"/>
                    <a:pt x="588" y="113"/>
                  </a:cubicBezTo>
                  <a:cubicBezTo>
                    <a:pt x="587" y="112"/>
                    <a:pt x="587" y="110"/>
                    <a:pt x="588" y="109"/>
                  </a:cubicBezTo>
                  <a:cubicBezTo>
                    <a:pt x="588" y="107"/>
                    <a:pt x="588" y="106"/>
                    <a:pt x="588" y="104"/>
                  </a:cubicBezTo>
                  <a:cubicBezTo>
                    <a:pt x="588" y="102"/>
                    <a:pt x="590" y="100"/>
                    <a:pt x="587" y="101"/>
                  </a:cubicBezTo>
                  <a:cubicBezTo>
                    <a:pt x="585" y="101"/>
                    <a:pt x="583" y="101"/>
                    <a:pt x="581" y="102"/>
                  </a:cubicBezTo>
                  <a:cubicBezTo>
                    <a:pt x="577" y="105"/>
                    <a:pt x="576" y="104"/>
                    <a:pt x="577" y="105"/>
                  </a:cubicBezTo>
                  <a:cubicBezTo>
                    <a:pt x="578" y="106"/>
                    <a:pt x="578" y="104"/>
                    <a:pt x="579" y="106"/>
                  </a:cubicBezTo>
                  <a:cubicBezTo>
                    <a:pt x="580" y="108"/>
                    <a:pt x="580" y="111"/>
                    <a:pt x="578" y="112"/>
                  </a:cubicBezTo>
                  <a:cubicBezTo>
                    <a:pt x="577" y="113"/>
                    <a:pt x="577" y="109"/>
                    <a:pt x="576" y="112"/>
                  </a:cubicBezTo>
                  <a:cubicBezTo>
                    <a:pt x="574" y="114"/>
                    <a:pt x="574" y="115"/>
                    <a:pt x="574" y="117"/>
                  </a:cubicBezTo>
                  <a:cubicBezTo>
                    <a:pt x="573" y="119"/>
                    <a:pt x="571" y="120"/>
                    <a:pt x="571" y="120"/>
                  </a:cubicBezTo>
                  <a:cubicBezTo>
                    <a:pt x="571" y="120"/>
                    <a:pt x="568" y="116"/>
                    <a:pt x="567" y="116"/>
                  </a:cubicBezTo>
                  <a:cubicBezTo>
                    <a:pt x="566" y="116"/>
                    <a:pt x="563" y="115"/>
                    <a:pt x="562" y="114"/>
                  </a:cubicBezTo>
                  <a:cubicBezTo>
                    <a:pt x="561" y="113"/>
                    <a:pt x="560" y="113"/>
                    <a:pt x="559" y="111"/>
                  </a:cubicBezTo>
                  <a:cubicBezTo>
                    <a:pt x="557" y="109"/>
                    <a:pt x="557" y="106"/>
                    <a:pt x="555" y="105"/>
                  </a:cubicBezTo>
                  <a:cubicBezTo>
                    <a:pt x="552" y="104"/>
                    <a:pt x="554" y="101"/>
                    <a:pt x="552" y="100"/>
                  </a:cubicBezTo>
                  <a:cubicBezTo>
                    <a:pt x="551" y="99"/>
                    <a:pt x="550" y="98"/>
                    <a:pt x="548" y="96"/>
                  </a:cubicBezTo>
                  <a:cubicBezTo>
                    <a:pt x="546" y="93"/>
                    <a:pt x="547" y="92"/>
                    <a:pt x="544" y="91"/>
                  </a:cubicBezTo>
                  <a:cubicBezTo>
                    <a:pt x="542" y="90"/>
                    <a:pt x="541" y="90"/>
                    <a:pt x="539" y="89"/>
                  </a:cubicBezTo>
                  <a:cubicBezTo>
                    <a:pt x="537" y="89"/>
                    <a:pt x="540" y="88"/>
                    <a:pt x="537" y="89"/>
                  </a:cubicBezTo>
                  <a:cubicBezTo>
                    <a:pt x="537" y="89"/>
                    <a:pt x="536" y="89"/>
                    <a:pt x="536" y="89"/>
                  </a:cubicBezTo>
                  <a:cubicBezTo>
                    <a:pt x="537" y="94"/>
                    <a:pt x="537" y="94"/>
                    <a:pt x="538" y="96"/>
                  </a:cubicBezTo>
                  <a:cubicBezTo>
                    <a:pt x="539" y="98"/>
                    <a:pt x="541" y="99"/>
                    <a:pt x="540" y="100"/>
                  </a:cubicBezTo>
                  <a:cubicBezTo>
                    <a:pt x="539" y="102"/>
                    <a:pt x="537" y="100"/>
                    <a:pt x="536" y="102"/>
                  </a:cubicBezTo>
                  <a:cubicBezTo>
                    <a:pt x="533" y="106"/>
                    <a:pt x="535" y="103"/>
                    <a:pt x="533" y="106"/>
                  </a:cubicBezTo>
                  <a:cubicBezTo>
                    <a:pt x="531" y="109"/>
                    <a:pt x="529" y="109"/>
                    <a:pt x="528" y="109"/>
                  </a:cubicBezTo>
                  <a:cubicBezTo>
                    <a:pt x="525" y="111"/>
                    <a:pt x="524" y="109"/>
                    <a:pt x="524" y="109"/>
                  </a:cubicBezTo>
                  <a:cubicBezTo>
                    <a:pt x="521" y="109"/>
                    <a:pt x="517" y="108"/>
                    <a:pt x="516" y="109"/>
                  </a:cubicBezTo>
                  <a:cubicBezTo>
                    <a:pt x="515" y="110"/>
                    <a:pt x="517" y="109"/>
                    <a:pt x="513" y="111"/>
                  </a:cubicBezTo>
                  <a:cubicBezTo>
                    <a:pt x="509" y="113"/>
                    <a:pt x="509" y="113"/>
                    <a:pt x="507" y="114"/>
                  </a:cubicBezTo>
                  <a:cubicBezTo>
                    <a:pt x="505" y="116"/>
                    <a:pt x="511" y="111"/>
                    <a:pt x="505" y="116"/>
                  </a:cubicBezTo>
                  <a:cubicBezTo>
                    <a:pt x="500" y="121"/>
                    <a:pt x="498" y="121"/>
                    <a:pt x="498" y="121"/>
                  </a:cubicBezTo>
                  <a:cubicBezTo>
                    <a:pt x="498" y="121"/>
                    <a:pt x="498" y="119"/>
                    <a:pt x="495" y="119"/>
                  </a:cubicBezTo>
                  <a:cubicBezTo>
                    <a:pt x="492" y="119"/>
                    <a:pt x="491" y="117"/>
                    <a:pt x="490" y="118"/>
                  </a:cubicBezTo>
                  <a:cubicBezTo>
                    <a:pt x="488" y="119"/>
                    <a:pt x="488" y="119"/>
                    <a:pt x="487" y="120"/>
                  </a:cubicBezTo>
                  <a:cubicBezTo>
                    <a:pt x="485" y="122"/>
                    <a:pt x="484" y="123"/>
                    <a:pt x="483" y="123"/>
                  </a:cubicBezTo>
                  <a:cubicBezTo>
                    <a:pt x="482" y="124"/>
                    <a:pt x="481" y="122"/>
                    <a:pt x="480" y="123"/>
                  </a:cubicBezTo>
                  <a:cubicBezTo>
                    <a:pt x="478" y="124"/>
                    <a:pt x="477" y="125"/>
                    <a:pt x="476" y="126"/>
                  </a:cubicBezTo>
                  <a:cubicBezTo>
                    <a:pt x="476" y="126"/>
                    <a:pt x="475" y="128"/>
                    <a:pt x="476" y="129"/>
                  </a:cubicBezTo>
                  <a:cubicBezTo>
                    <a:pt x="477" y="131"/>
                    <a:pt x="476" y="132"/>
                    <a:pt x="476" y="132"/>
                  </a:cubicBezTo>
                  <a:cubicBezTo>
                    <a:pt x="473" y="133"/>
                    <a:pt x="473" y="133"/>
                    <a:pt x="473" y="133"/>
                  </a:cubicBezTo>
                  <a:cubicBezTo>
                    <a:pt x="471" y="136"/>
                    <a:pt x="476" y="138"/>
                    <a:pt x="471" y="136"/>
                  </a:cubicBezTo>
                  <a:cubicBezTo>
                    <a:pt x="465" y="133"/>
                    <a:pt x="463" y="132"/>
                    <a:pt x="465" y="131"/>
                  </a:cubicBezTo>
                  <a:cubicBezTo>
                    <a:pt x="467" y="130"/>
                    <a:pt x="464" y="130"/>
                    <a:pt x="467" y="130"/>
                  </a:cubicBezTo>
                  <a:cubicBezTo>
                    <a:pt x="467" y="130"/>
                    <a:pt x="468" y="130"/>
                    <a:pt x="468" y="130"/>
                  </a:cubicBezTo>
                  <a:cubicBezTo>
                    <a:pt x="468" y="130"/>
                    <a:pt x="468" y="130"/>
                    <a:pt x="468" y="130"/>
                  </a:cubicBezTo>
                  <a:cubicBezTo>
                    <a:pt x="471" y="128"/>
                    <a:pt x="471" y="127"/>
                    <a:pt x="473" y="126"/>
                  </a:cubicBezTo>
                  <a:cubicBezTo>
                    <a:pt x="474" y="126"/>
                    <a:pt x="476" y="124"/>
                    <a:pt x="476" y="124"/>
                  </a:cubicBezTo>
                  <a:cubicBezTo>
                    <a:pt x="476" y="124"/>
                    <a:pt x="476" y="123"/>
                    <a:pt x="479" y="122"/>
                  </a:cubicBezTo>
                  <a:cubicBezTo>
                    <a:pt x="481" y="120"/>
                    <a:pt x="481" y="120"/>
                    <a:pt x="483" y="119"/>
                  </a:cubicBezTo>
                  <a:cubicBezTo>
                    <a:pt x="485" y="119"/>
                    <a:pt x="482" y="121"/>
                    <a:pt x="485" y="119"/>
                  </a:cubicBezTo>
                  <a:cubicBezTo>
                    <a:pt x="488" y="117"/>
                    <a:pt x="484" y="117"/>
                    <a:pt x="490" y="116"/>
                  </a:cubicBezTo>
                  <a:cubicBezTo>
                    <a:pt x="495" y="115"/>
                    <a:pt x="491" y="115"/>
                    <a:pt x="496" y="115"/>
                  </a:cubicBezTo>
                  <a:cubicBezTo>
                    <a:pt x="501" y="114"/>
                    <a:pt x="503" y="113"/>
                    <a:pt x="504" y="113"/>
                  </a:cubicBezTo>
                  <a:cubicBezTo>
                    <a:pt x="504" y="113"/>
                    <a:pt x="507" y="111"/>
                    <a:pt x="507" y="111"/>
                  </a:cubicBezTo>
                  <a:cubicBezTo>
                    <a:pt x="507" y="111"/>
                    <a:pt x="510" y="110"/>
                    <a:pt x="511" y="109"/>
                  </a:cubicBezTo>
                  <a:cubicBezTo>
                    <a:pt x="519" y="104"/>
                    <a:pt x="519" y="104"/>
                    <a:pt x="519" y="104"/>
                  </a:cubicBezTo>
                  <a:cubicBezTo>
                    <a:pt x="519" y="104"/>
                    <a:pt x="521" y="100"/>
                    <a:pt x="519" y="100"/>
                  </a:cubicBezTo>
                  <a:cubicBezTo>
                    <a:pt x="518" y="100"/>
                    <a:pt x="518" y="99"/>
                    <a:pt x="515" y="100"/>
                  </a:cubicBezTo>
                  <a:cubicBezTo>
                    <a:pt x="513" y="101"/>
                    <a:pt x="512" y="100"/>
                    <a:pt x="510" y="102"/>
                  </a:cubicBezTo>
                  <a:cubicBezTo>
                    <a:pt x="508" y="103"/>
                    <a:pt x="507" y="102"/>
                    <a:pt x="506" y="102"/>
                  </a:cubicBezTo>
                  <a:cubicBezTo>
                    <a:pt x="505" y="103"/>
                    <a:pt x="506" y="100"/>
                    <a:pt x="503" y="102"/>
                  </a:cubicBezTo>
                  <a:cubicBezTo>
                    <a:pt x="500" y="104"/>
                    <a:pt x="499" y="103"/>
                    <a:pt x="497" y="105"/>
                  </a:cubicBezTo>
                  <a:cubicBezTo>
                    <a:pt x="494" y="107"/>
                    <a:pt x="497" y="106"/>
                    <a:pt x="494" y="107"/>
                  </a:cubicBezTo>
                  <a:cubicBezTo>
                    <a:pt x="492" y="109"/>
                    <a:pt x="490" y="107"/>
                    <a:pt x="489" y="108"/>
                  </a:cubicBezTo>
                  <a:cubicBezTo>
                    <a:pt x="487" y="108"/>
                    <a:pt x="486" y="109"/>
                    <a:pt x="485" y="110"/>
                  </a:cubicBezTo>
                  <a:cubicBezTo>
                    <a:pt x="484" y="112"/>
                    <a:pt x="484" y="110"/>
                    <a:pt x="482" y="111"/>
                  </a:cubicBezTo>
                  <a:cubicBezTo>
                    <a:pt x="480" y="112"/>
                    <a:pt x="478" y="110"/>
                    <a:pt x="476" y="112"/>
                  </a:cubicBezTo>
                  <a:cubicBezTo>
                    <a:pt x="473" y="114"/>
                    <a:pt x="472" y="113"/>
                    <a:pt x="471" y="115"/>
                  </a:cubicBezTo>
                  <a:cubicBezTo>
                    <a:pt x="470" y="117"/>
                    <a:pt x="471" y="116"/>
                    <a:pt x="469" y="118"/>
                  </a:cubicBezTo>
                  <a:cubicBezTo>
                    <a:pt x="468" y="120"/>
                    <a:pt x="467" y="119"/>
                    <a:pt x="466" y="119"/>
                  </a:cubicBezTo>
                  <a:cubicBezTo>
                    <a:pt x="464" y="120"/>
                    <a:pt x="464" y="117"/>
                    <a:pt x="462" y="119"/>
                  </a:cubicBezTo>
                  <a:cubicBezTo>
                    <a:pt x="460" y="121"/>
                    <a:pt x="458" y="121"/>
                    <a:pt x="459" y="121"/>
                  </a:cubicBezTo>
                  <a:cubicBezTo>
                    <a:pt x="461" y="117"/>
                    <a:pt x="462" y="117"/>
                    <a:pt x="461" y="117"/>
                  </a:cubicBezTo>
                  <a:cubicBezTo>
                    <a:pt x="460" y="116"/>
                    <a:pt x="459" y="115"/>
                    <a:pt x="457" y="115"/>
                  </a:cubicBezTo>
                  <a:cubicBezTo>
                    <a:pt x="456" y="115"/>
                    <a:pt x="456" y="113"/>
                    <a:pt x="454" y="113"/>
                  </a:cubicBezTo>
                  <a:cubicBezTo>
                    <a:pt x="452" y="113"/>
                    <a:pt x="452" y="112"/>
                    <a:pt x="451" y="115"/>
                  </a:cubicBezTo>
                  <a:cubicBezTo>
                    <a:pt x="450" y="117"/>
                    <a:pt x="453" y="115"/>
                    <a:pt x="450" y="117"/>
                  </a:cubicBezTo>
                  <a:cubicBezTo>
                    <a:pt x="447" y="119"/>
                    <a:pt x="450" y="119"/>
                    <a:pt x="447" y="119"/>
                  </a:cubicBezTo>
                  <a:cubicBezTo>
                    <a:pt x="444" y="119"/>
                    <a:pt x="439" y="119"/>
                    <a:pt x="437" y="120"/>
                  </a:cubicBezTo>
                  <a:cubicBezTo>
                    <a:pt x="436" y="121"/>
                    <a:pt x="436" y="119"/>
                    <a:pt x="434" y="122"/>
                  </a:cubicBezTo>
                  <a:cubicBezTo>
                    <a:pt x="431" y="125"/>
                    <a:pt x="431" y="122"/>
                    <a:pt x="431" y="125"/>
                  </a:cubicBezTo>
                  <a:cubicBezTo>
                    <a:pt x="431" y="128"/>
                    <a:pt x="431" y="127"/>
                    <a:pt x="432" y="129"/>
                  </a:cubicBezTo>
                  <a:cubicBezTo>
                    <a:pt x="434" y="130"/>
                    <a:pt x="436" y="130"/>
                    <a:pt x="437" y="131"/>
                  </a:cubicBezTo>
                  <a:cubicBezTo>
                    <a:pt x="439" y="132"/>
                    <a:pt x="438" y="132"/>
                    <a:pt x="439" y="134"/>
                  </a:cubicBezTo>
                  <a:cubicBezTo>
                    <a:pt x="433" y="131"/>
                    <a:pt x="433" y="131"/>
                    <a:pt x="433" y="131"/>
                  </a:cubicBezTo>
                  <a:cubicBezTo>
                    <a:pt x="433" y="131"/>
                    <a:pt x="428" y="129"/>
                    <a:pt x="426" y="129"/>
                  </a:cubicBezTo>
                  <a:cubicBezTo>
                    <a:pt x="426" y="129"/>
                    <a:pt x="426" y="129"/>
                    <a:pt x="426" y="129"/>
                  </a:cubicBezTo>
                  <a:cubicBezTo>
                    <a:pt x="425" y="130"/>
                    <a:pt x="421" y="129"/>
                    <a:pt x="420" y="130"/>
                  </a:cubicBezTo>
                  <a:cubicBezTo>
                    <a:pt x="419" y="130"/>
                    <a:pt x="414" y="130"/>
                    <a:pt x="413" y="130"/>
                  </a:cubicBezTo>
                  <a:cubicBezTo>
                    <a:pt x="412" y="130"/>
                    <a:pt x="407" y="129"/>
                    <a:pt x="405" y="128"/>
                  </a:cubicBezTo>
                  <a:cubicBezTo>
                    <a:pt x="404" y="127"/>
                    <a:pt x="405" y="126"/>
                    <a:pt x="401" y="125"/>
                  </a:cubicBezTo>
                  <a:cubicBezTo>
                    <a:pt x="398" y="123"/>
                    <a:pt x="398" y="123"/>
                    <a:pt x="395" y="121"/>
                  </a:cubicBezTo>
                  <a:cubicBezTo>
                    <a:pt x="392" y="119"/>
                    <a:pt x="393" y="119"/>
                    <a:pt x="391" y="118"/>
                  </a:cubicBezTo>
                  <a:cubicBezTo>
                    <a:pt x="391" y="118"/>
                    <a:pt x="391" y="118"/>
                    <a:pt x="391" y="118"/>
                  </a:cubicBezTo>
                  <a:cubicBezTo>
                    <a:pt x="390" y="118"/>
                    <a:pt x="390" y="118"/>
                    <a:pt x="390" y="118"/>
                  </a:cubicBezTo>
                  <a:cubicBezTo>
                    <a:pt x="391" y="114"/>
                    <a:pt x="391" y="114"/>
                    <a:pt x="391" y="114"/>
                  </a:cubicBezTo>
                  <a:cubicBezTo>
                    <a:pt x="391" y="114"/>
                    <a:pt x="388" y="113"/>
                    <a:pt x="387" y="114"/>
                  </a:cubicBezTo>
                  <a:cubicBezTo>
                    <a:pt x="385" y="114"/>
                    <a:pt x="385" y="115"/>
                    <a:pt x="382" y="115"/>
                  </a:cubicBezTo>
                  <a:cubicBezTo>
                    <a:pt x="380" y="116"/>
                    <a:pt x="377" y="114"/>
                    <a:pt x="375" y="114"/>
                  </a:cubicBezTo>
                  <a:cubicBezTo>
                    <a:pt x="373" y="115"/>
                    <a:pt x="371" y="114"/>
                    <a:pt x="368" y="115"/>
                  </a:cubicBezTo>
                  <a:cubicBezTo>
                    <a:pt x="366" y="115"/>
                    <a:pt x="365" y="115"/>
                    <a:pt x="364" y="115"/>
                  </a:cubicBezTo>
                  <a:cubicBezTo>
                    <a:pt x="363" y="115"/>
                    <a:pt x="363" y="115"/>
                    <a:pt x="363" y="115"/>
                  </a:cubicBezTo>
                  <a:cubicBezTo>
                    <a:pt x="362" y="115"/>
                    <a:pt x="362" y="115"/>
                    <a:pt x="360" y="114"/>
                  </a:cubicBezTo>
                  <a:cubicBezTo>
                    <a:pt x="359" y="113"/>
                    <a:pt x="359" y="113"/>
                    <a:pt x="357" y="111"/>
                  </a:cubicBezTo>
                  <a:cubicBezTo>
                    <a:pt x="355" y="110"/>
                    <a:pt x="355" y="110"/>
                    <a:pt x="353" y="109"/>
                  </a:cubicBezTo>
                  <a:cubicBezTo>
                    <a:pt x="351" y="108"/>
                    <a:pt x="351" y="107"/>
                    <a:pt x="350" y="107"/>
                  </a:cubicBezTo>
                  <a:cubicBezTo>
                    <a:pt x="350" y="107"/>
                    <a:pt x="349" y="106"/>
                    <a:pt x="345" y="105"/>
                  </a:cubicBezTo>
                  <a:cubicBezTo>
                    <a:pt x="335" y="102"/>
                    <a:pt x="336" y="103"/>
                    <a:pt x="336" y="103"/>
                  </a:cubicBezTo>
                  <a:cubicBezTo>
                    <a:pt x="336" y="103"/>
                    <a:pt x="333" y="101"/>
                    <a:pt x="330" y="101"/>
                  </a:cubicBezTo>
                  <a:cubicBezTo>
                    <a:pt x="327" y="102"/>
                    <a:pt x="321" y="103"/>
                    <a:pt x="321" y="103"/>
                  </a:cubicBezTo>
                  <a:cubicBezTo>
                    <a:pt x="321" y="103"/>
                    <a:pt x="320" y="104"/>
                    <a:pt x="318" y="105"/>
                  </a:cubicBezTo>
                  <a:cubicBezTo>
                    <a:pt x="316" y="105"/>
                    <a:pt x="314" y="104"/>
                    <a:pt x="312" y="105"/>
                  </a:cubicBezTo>
                  <a:cubicBezTo>
                    <a:pt x="309" y="105"/>
                    <a:pt x="306" y="105"/>
                    <a:pt x="305" y="104"/>
                  </a:cubicBezTo>
                  <a:cubicBezTo>
                    <a:pt x="304" y="103"/>
                    <a:pt x="304" y="103"/>
                    <a:pt x="302" y="102"/>
                  </a:cubicBezTo>
                  <a:cubicBezTo>
                    <a:pt x="301" y="101"/>
                    <a:pt x="300" y="101"/>
                    <a:pt x="299" y="100"/>
                  </a:cubicBezTo>
                  <a:cubicBezTo>
                    <a:pt x="297" y="99"/>
                    <a:pt x="299" y="97"/>
                    <a:pt x="294" y="98"/>
                  </a:cubicBezTo>
                  <a:cubicBezTo>
                    <a:pt x="289" y="99"/>
                    <a:pt x="287" y="100"/>
                    <a:pt x="285" y="99"/>
                  </a:cubicBezTo>
                  <a:cubicBezTo>
                    <a:pt x="283" y="99"/>
                    <a:pt x="283" y="99"/>
                    <a:pt x="280" y="100"/>
                  </a:cubicBezTo>
                  <a:cubicBezTo>
                    <a:pt x="278" y="101"/>
                    <a:pt x="276" y="102"/>
                    <a:pt x="275" y="101"/>
                  </a:cubicBezTo>
                  <a:cubicBezTo>
                    <a:pt x="270" y="98"/>
                    <a:pt x="269" y="97"/>
                    <a:pt x="269" y="97"/>
                  </a:cubicBezTo>
                  <a:cubicBezTo>
                    <a:pt x="269" y="97"/>
                    <a:pt x="265" y="96"/>
                    <a:pt x="264" y="96"/>
                  </a:cubicBezTo>
                  <a:cubicBezTo>
                    <a:pt x="263" y="95"/>
                    <a:pt x="260" y="94"/>
                    <a:pt x="259" y="94"/>
                  </a:cubicBezTo>
                  <a:cubicBezTo>
                    <a:pt x="258" y="95"/>
                    <a:pt x="258" y="94"/>
                    <a:pt x="256" y="94"/>
                  </a:cubicBezTo>
                  <a:cubicBezTo>
                    <a:pt x="251" y="93"/>
                    <a:pt x="251" y="93"/>
                    <a:pt x="248" y="93"/>
                  </a:cubicBezTo>
                  <a:cubicBezTo>
                    <a:pt x="246" y="93"/>
                    <a:pt x="243" y="93"/>
                    <a:pt x="243" y="93"/>
                  </a:cubicBezTo>
                  <a:cubicBezTo>
                    <a:pt x="239" y="94"/>
                    <a:pt x="237" y="94"/>
                    <a:pt x="236" y="94"/>
                  </a:cubicBezTo>
                  <a:cubicBezTo>
                    <a:pt x="235" y="95"/>
                    <a:pt x="233" y="94"/>
                    <a:pt x="233" y="94"/>
                  </a:cubicBezTo>
                  <a:cubicBezTo>
                    <a:pt x="233" y="94"/>
                    <a:pt x="233" y="91"/>
                    <a:pt x="229" y="93"/>
                  </a:cubicBezTo>
                  <a:cubicBezTo>
                    <a:pt x="225" y="95"/>
                    <a:pt x="225" y="95"/>
                    <a:pt x="223" y="95"/>
                  </a:cubicBezTo>
                  <a:cubicBezTo>
                    <a:pt x="221" y="96"/>
                    <a:pt x="223" y="98"/>
                    <a:pt x="221" y="96"/>
                  </a:cubicBezTo>
                  <a:cubicBezTo>
                    <a:pt x="220" y="94"/>
                    <a:pt x="221" y="96"/>
                    <a:pt x="220" y="94"/>
                  </a:cubicBezTo>
                  <a:cubicBezTo>
                    <a:pt x="218" y="92"/>
                    <a:pt x="217" y="91"/>
                    <a:pt x="217" y="91"/>
                  </a:cubicBezTo>
                  <a:cubicBezTo>
                    <a:pt x="214" y="91"/>
                    <a:pt x="211" y="92"/>
                    <a:pt x="210" y="91"/>
                  </a:cubicBezTo>
                  <a:cubicBezTo>
                    <a:pt x="207" y="88"/>
                    <a:pt x="211" y="86"/>
                    <a:pt x="210" y="86"/>
                  </a:cubicBezTo>
                  <a:cubicBezTo>
                    <a:pt x="207" y="84"/>
                    <a:pt x="206" y="83"/>
                    <a:pt x="204" y="83"/>
                  </a:cubicBezTo>
                  <a:cubicBezTo>
                    <a:pt x="202" y="83"/>
                    <a:pt x="202" y="80"/>
                    <a:pt x="198" y="81"/>
                  </a:cubicBezTo>
                  <a:cubicBezTo>
                    <a:pt x="195" y="82"/>
                    <a:pt x="194" y="84"/>
                    <a:pt x="191" y="84"/>
                  </a:cubicBezTo>
                  <a:cubicBezTo>
                    <a:pt x="187" y="84"/>
                    <a:pt x="188" y="82"/>
                    <a:pt x="185" y="83"/>
                  </a:cubicBezTo>
                  <a:cubicBezTo>
                    <a:pt x="182" y="85"/>
                    <a:pt x="185" y="85"/>
                    <a:pt x="182" y="85"/>
                  </a:cubicBezTo>
                  <a:cubicBezTo>
                    <a:pt x="179" y="84"/>
                    <a:pt x="180" y="82"/>
                    <a:pt x="179" y="81"/>
                  </a:cubicBezTo>
                  <a:cubicBezTo>
                    <a:pt x="176" y="79"/>
                    <a:pt x="178" y="79"/>
                    <a:pt x="175" y="79"/>
                  </a:cubicBezTo>
                  <a:cubicBezTo>
                    <a:pt x="172" y="79"/>
                    <a:pt x="171" y="77"/>
                    <a:pt x="170" y="79"/>
                  </a:cubicBezTo>
                  <a:cubicBezTo>
                    <a:pt x="167" y="84"/>
                    <a:pt x="170" y="83"/>
                    <a:pt x="167" y="84"/>
                  </a:cubicBezTo>
                  <a:cubicBezTo>
                    <a:pt x="164" y="85"/>
                    <a:pt x="162" y="84"/>
                    <a:pt x="162" y="83"/>
                  </a:cubicBezTo>
                  <a:cubicBezTo>
                    <a:pt x="163" y="80"/>
                    <a:pt x="163" y="79"/>
                    <a:pt x="165" y="79"/>
                  </a:cubicBezTo>
                  <a:cubicBezTo>
                    <a:pt x="165" y="79"/>
                    <a:pt x="168" y="77"/>
                    <a:pt x="167" y="76"/>
                  </a:cubicBezTo>
                  <a:cubicBezTo>
                    <a:pt x="165" y="75"/>
                    <a:pt x="162" y="75"/>
                    <a:pt x="160" y="75"/>
                  </a:cubicBezTo>
                  <a:cubicBezTo>
                    <a:pt x="159" y="75"/>
                    <a:pt x="155" y="75"/>
                    <a:pt x="154" y="74"/>
                  </a:cubicBezTo>
                  <a:cubicBezTo>
                    <a:pt x="153" y="71"/>
                    <a:pt x="152" y="70"/>
                    <a:pt x="150" y="72"/>
                  </a:cubicBezTo>
                  <a:cubicBezTo>
                    <a:pt x="148" y="74"/>
                    <a:pt x="144" y="75"/>
                    <a:pt x="143" y="78"/>
                  </a:cubicBezTo>
                  <a:cubicBezTo>
                    <a:pt x="141" y="80"/>
                    <a:pt x="144" y="80"/>
                    <a:pt x="139" y="82"/>
                  </a:cubicBezTo>
                  <a:cubicBezTo>
                    <a:pt x="135" y="83"/>
                    <a:pt x="133" y="84"/>
                    <a:pt x="131" y="84"/>
                  </a:cubicBezTo>
                  <a:cubicBezTo>
                    <a:pt x="128" y="85"/>
                    <a:pt x="127" y="84"/>
                    <a:pt x="123" y="84"/>
                  </a:cubicBezTo>
                  <a:cubicBezTo>
                    <a:pt x="119" y="85"/>
                    <a:pt x="119" y="83"/>
                    <a:pt x="118" y="84"/>
                  </a:cubicBezTo>
                  <a:cubicBezTo>
                    <a:pt x="112" y="85"/>
                    <a:pt x="112" y="85"/>
                    <a:pt x="109" y="87"/>
                  </a:cubicBezTo>
                  <a:cubicBezTo>
                    <a:pt x="106" y="89"/>
                    <a:pt x="107" y="89"/>
                    <a:pt x="104" y="90"/>
                  </a:cubicBezTo>
                  <a:cubicBezTo>
                    <a:pt x="102" y="92"/>
                    <a:pt x="102" y="92"/>
                    <a:pt x="101" y="94"/>
                  </a:cubicBezTo>
                  <a:cubicBezTo>
                    <a:pt x="100" y="96"/>
                    <a:pt x="101" y="94"/>
                    <a:pt x="98" y="96"/>
                  </a:cubicBezTo>
                  <a:cubicBezTo>
                    <a:pt x="95" y="97"/>
                    <a:pt x="96" y="96"/>
                    <a:pt x="94" y="97"/>
                  </a:cubicBezTo>
                  <a:cubicBezTo>
                    <a:pt x="92" y="98"/>
                    <a:pt x="91" y="98"/>
                    <a:pt x="91" y="98"/>
                  </a:cubicBezTo>
                  <a:cubicBezTo>
                    <a:pt x="91" y="98"/>
                    <a:pt x="83" y="94"/>
                    <a:pt x="81" y="96"/>
                  </a:cubicBezTo>
                  <a:cubicBezTo>
                    <a:pt x="79" y="99"/>
                    <a:pt x="73" y="100"/>
                    <a:pt x="71" y="105"/>
                  </a:cubicBezTo>
                  <a:cubicBezTo>
                    <a:pt x="69" y="110"/>
                    <a:pt x="63" y="111"/>
                    <a:pt x="63" y="115"/>
                  </a:cubicBezTo>
                  <a:cubicBezTo>
                    <a:pt x="63" y="118"/>
                    <a:pt x="66" y="117"/>
                    <a:pt x="62" y="121"/>
                  </a:cubicBezTo>
                  <a:cubicBezTo>
                    <a:pt x="58" y="125"/>
                    <a:pt x="54" y="126"/>
                    <a:pt x="51" y="129"/>
                  </a:cubicBezTo>
                  <a:cubicBezTo>
                    <a:pt x="49" y="131"/>
                    <a:pt x="41" y="132"/>
                    <a:pt x="41" y="132"/>
                  </a:cubicBezTo>
                  <a:cubicBezTo>
                    <a:pt x="37" y="131"/>
                    <a:pt x="37" y="131"/>
                    <a:pt x="37" y="131"/>
                  </a:cubicBezTo>
                  <a:cubicBezTo>
                    <a:pt x="33" y="132"/>
                    <a:pt x="33" y="132"/>
                    <a:pt x="33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2" y="136"/>
                    <a:pt x="21" y="133"/>
                    <a:pt x="22" y="136"/>
                  </a:cubicBezTo>
                  <a:cubicBezTo>
                    <a:pt x="22" y="139"/>
                    <a:pt x="18" y="142"/>
                    <a:pt x="17" y="143"/>
                  </a:cubicBezTo>
                  <a:cubicBezTo>
                    <a:pt x="17" y="144"/>
                    <a:pt x="22" y="145"/>
                    <a:pt x="23" y="146"/>
                  </a:cubicBezTo>
                  <a:cubicBezTo>
                    <a:pt x="24" y="147"/>
                    <a:pt x="22" y="148"/>
                    <a:pt x="25" y="149"/>
                  </a:cubicBezTo>
                  <a:cubicBezTo>
                    <a:pt x="28" y="151"/>
                    <a:pt x="34" y="155"/>
                    <a:pt x="36" y="154"/>
                  </a:cubicBezTo>
                  <a:cubicBezTo>
                    <a:pt x="38" y="154"/>
                    <a:pt x="38" y="154"/>
                    <a:pt x="41" y="155"/>
                  </a:cubicBezTo>
                  <a:cubicBezTo>
                    <a:pt x="43" y="156"/>
                    <a:pt x="47" y="156"/>
                    <a:pt x="47" y="158"/>
                  </a:cubicBezTo>
                  <a:cubicBezTo>
                    <a:pt x="48" y="160"/>
                    <a:pt x="51" y="162"/>
                    <a:pt x="51" y="163"/>
                  </a:cubicBezTo>
                  <a:cubicBezTo>
                    <a:pt x="52" y="165"/>
                    <a:pt x="50" y="167"/>
                    <a:pt x="53" y="168"/>
                  </a:cubicBezTo>
                  <a:cubicBezTo>
                    <a:pt x="53" y="168"/>
                    <a:pt x="56" y="173"/>
                    <a:pt x="58" y="173"/>
                  </a:cubicBezTo>
                  <a:cubicBezTo>
                    <a:pt x="58" y="173"/>
                    <a:pt x="61" y="174"/>
                    <a:pt x="62" y="175"/>
                  </a:cubicBezTo>
                  <a:cubicBezTo>
                    <a:pt x="62" y="177"/>
                    <a:pt x="64" y="177"/>
                    <a:pt x="65" y="176"/>
                  </a:cubicBezTo>
                  <a:cubicBezTo>
                    <a:pt x="65" y="176"/>
                    <a:pt x="66" y="176"/>
                    <a:pt x="67" y="176"/>
                  </a:cubicBezTo>
                  <a:cubicBezTo>
                    <a:pt x="69" y="175"/>
                    <a:pt x="69" y="175"/>
                    <a:pt x="70" y="175"/>
                  </a:cubicBezTo>
                  <a:cubicBezTo>
                    <a:pt x="71" y="175"/>
                    <a:pt x="72" y="176"/>
                    <a:pt x="72" y="176"/>
                  </a:cubicBezTo>
                  <a:cubicBezTo>
                    <a:pt x="74" y="174"/>
                    <a:pt x="74" y="174"/>
                    <a:pt x="74" y="173"/>
                  </a:cubicBezTo>
                  <a:cubicBezTo>
                    <a:pt x="74" y="173"/>
                    <a:pt x="76" y="174"/>
                    <a:pt x="77" y="174"/>
                  </a:cubicBezTo>
                  <a:cubicBezTo>
                    <a:pt x="77" y="175"/>
                    <a:pt x="79" y="175"/>
                    <a:pt x="79" y="175"/>
                  </a:cubicBezTo>
                  <a:cubicBezTo>
                    <a:pt x="81" y="175"/>
                    <a:pt x="83" y="176"/>
                    <a:pt x="83" y="176"/>
                  </a:cubicBezTo>
                  <a:cubicBezTo>
                    <a:pt x="83" y="176"/>
                    <a:pt x="84" y="176"/>
                    <a:pt x="84" y="177"/>
                  </a:cubicBezTo>
                  <a:cubicBezTo>
                    <a:pt x="84" y="178"/>
                    <a:pt x="83" y="178"/>
                    <a:pt x="83" y="178"/>
                  </a:cubicBezTo>
                  <a:cubicBezTo>
                    <a:pt x="81" y="179"/>
                    <a:pt x="81" y="180"/>
                    <a:pt x="82" y="180"/>
                  </a:cubicBezTo>
                  <a:cubicBezTo>
                    <a:pt x="82" y="181"/>
                    <a:pt x="83" y="181"/>
                    <a:pt x="83" y="182"/>
                  </a:cubicBezTo>
                  <a:cubicBezTo>
                    <a:pt x="83" y="182"/>
                    <a:pt x="82" y="183"/>
                    <a:pt x="84" y="184"/>
                  </a:cubicBezTo>
                  <a:cubicBezTo>
                    <a:pt x="86" y="184"/>
                    <a:pt x="87" y="186"/>
                    <a:pt x="87" y="186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90" y="185"/>
                    <a:pt x="91" y="184"/>
                    <a:pt x="93" y="184"/>
                  </a:cubicBezTo>
                  <a:cubicBezTo>
                    <a:pt x="94" y="184"/>
                    <a:pt x="94" y="184"/>
                    <a:pt x="95" y="184"/>
                  </a:cubicBezTo>
                  <a:cubicBezTo>
                    <a:pt x="96" y="184"/>
                    <a:pt x="101" y="184"/>
                    <a:pt x="101" y="184"/>
                  </a:cubicBezTo>
                  <a:cubicBezTo>
                    <a:pt x="103" y="185"/>
                    <a:pt x="103" y="185"/>
                    <a:pt x="103" y="185"/>
                  </a:cubicBezTo>
                  <a:cubicBezTo>
                    <a:pt x="103" y="188"/>
                    <a:pt x="103" y="188"/>
                    <a:pt x="103" y="188"/>
                  </a:cubicBezTo>
                  <a:cubicBezTo>
                    <a:pt x="103" y="188"/>
                    <a:pt x="102" y="188"/>
                    <a:pt x="101" y="188"/>
                  </a:cubicBezTo>
                  <a:cubicBezTo>
                    <a:pt x="100" y="188"/>
                    <a:pt x="99" y="187"/>
                    <a:pt x="98" y="187"/>
                  </a:cubicBezTo>
                  <a:cubicBezTo>
                    <a:pt x="96" y="188"/>
                    <a:pt x="96" y="189"/>
                    <a:pt x="95" y="189"/>
                  </a:cubicBezTo>
                  <a:cubicBezTo>
                    <a:pt x="94" y="189"/>
                    <a:pt x="93" y="189"/>
                    <a:pt x="93" y="190"/>
                  </a:cubicBezTo>
                  <a:cubicBezTo>
                    <a:pt x="92" y="190"/>
                    <a:pt x="92" y="190"/>
                    <a:pt x="92" y="191"/>
                  </a:cubicBezTo>
                  <a:cubicBezTo>
                    <a:pt x="92" y="192"/>
                    <a:pt x="92" y="193"/>
                    <a:pt x="91" y="193"/>
                  </a:cubicBezTo>
                  <a:cubicBezTo>
                    <a:pt x="91" y="193"/>
                    <a:pt x="90" y="192"/>
                    <a:pt x="89" y="192"/>
                  </a:cubicBezTo>
                  <a:cubicBezTo>
                    <a:pt x="88" y="192"/>
                    <a:pt x="86" y="193"/>
                    <a:pt x="86" y="193"/>
                  </a:cubicBezTo>
                  <a:cubicBezTo>
                    <a:pt x="85" y="193"/>
                    <a:pt x="85" y="194"/>
                    <a:pt x="85" y="195"/>
                  </a:cubicBezTo>
                  <a:cubicBezTo>
                    <a:pt x="83" y="196"/>
                    <a:pt x="83" y="196"/>
                    <a:pt x="81" y="196"/>
                  </a:cubicBezTo>
                  <a:cubicBezTo>
                    <a:pt x="80" y="197"/>
                    <a:pt x="69" y="196"/>
                    <a:pt x="68" y="196"/>
                  </a:cubicBezTo>
                  <a:cubicBezTo>
                    <a:pt x="68" y="196"/>
                    <a:pt x="67" y="195"/>
                    <a:pt x="65" y="195"/>
                  </a:cubicBezTo>
                  <a:cubicBezTo>
                    <a:pt x="64" y="195"/>
                    <a:pt x="64" y="195"/>
                    <a:pt x="62" y="195"/>
                  </a:cubicBezTo>
                  <a:cubicBezTo>
                    <a:pt x="61" y="196"/>
                    <a:pt x="61" y="195"/>
                    <a:pt x="59" y="196"/>
                  </a:cubicBezTo>
                  <a:cubicBezTo>
                    <a:pt x="58" y="196"/>
                    <a:pt x="56" y="196"/>
                    <a:pt x="56" y="196"/>
                  </a:cubicBezTo>
                  <a:cubicBezTo>
                    <a:pt x="56" y="196"/>
                    <a:pt x="55" y="195"/>
                    <a:pt x="55" y="195"/>
                  </a:cubicBezTo>
                  <a:cubicBezTo>
                    <a:pt x="54" y="194"/>
                    <a:pt x="55" y="195"/>
                    <a:pt x="54" y="194"/>
                  </a:cubicBezTo>
                  <a:cubicBezTo>
                    <a:pt x="53" y="192"/>
                    <a:pt x="53" y="192"/>
                    <a:pt x="54" y="191"/>
                  </a:cubicBezTo>
                  <a:cubicBezTo>
                    <a:pt x="56" y="189"/>
                    <a:pt x="56" y="188"/>
                    <a:pt x="56" y="188"/>
                  </a:cubicBezTo>
                  <a:cubicBezTo>
                    <a:pt x="56" y="188"/>
                    <a:pt x="57" y="187"/>
                    <a:pt x="56" y="187"/>
                  </a:cubicBezTo>
                  <a:cubicBezTo>
                    <a:pt x="55" y="186"/>
                    <a:pt x="55" y="185"/>
                    <a:pt x="54" y="185"/>
                  </a:cubicBezTo>
                  <a:cubicBezTo>
                    <a:pt x="53" y="185"/>
                    <a:pt x="52" y="184"/>
                    <a:pt x="51" y="184"/>
                  </a:cubicBezTo>
                  <a:cubicBezTo>
                    <a:pt x="50" y="185"/>
                    <a:pt x="54" y="183"/>
                    <a:pt x="50" y="184"/>
                  </a:cubicBezTo>
                  <a:cubicBezTo>
                    <a:pt x="46" y="186"/>
                    <a:pt x="43" y="187"/>
                    <a:pt x="42" y="187"/>
                  </a:cubicBezTo>
                  <a:cubicBezTo>
                    <a:pt x="41" y="186"/>
                    <a:pt x="39" y="185"/>
                    <a:pt x="38" y="187"/>
                  </a:cubicBezTo>
                  <a:cubicBezTo>
                    <a:pt x="37" y="188"/>
                    <a:pt x="37" y="188"/>
                    <a:pt x="36" y="189"/>
                  </a:cubicBezTo>
                  <a:cubicBezTo>
                    <a:pt x="34" y="189"/>
                    <a:pt x="33" y="188"/>
                    <a:pt x="32" y="189"/>
                  </a:cubicBezTo>
                  <a:cubicBezTo>
                    <a:pt x="31" y="190"/>
                    <a:pt x="31" y="188"/>
                    <a:pt x="30" y="190"/>
                  </a:cubicBezTo>
                  <a:cubicBezTo>
                    <a:pt x="29" y="192"/>
                    <a:pt x="29" y="191"/>
                    <a:pt x="30" y="192"/>
                  </a:cubicBezTo>
                  <a:cubicBezTo>
                    <a:pt x="30" y="194"/>
                    <a:pt x="32" y="195"/>
                    <a:pt x="31" y="195"/>
                  </a:cubicBezTo>
                  <a:cubicBezTo>
                    <a:pt x="30" y="196"/>
                    <a:pt x="28" y="195"/>
                    <a:pt x="27" y="195"/>
                  </a:cubicBezTo>
                  <a:cubicBezTo>
                    <a:pt x="25" y="195"/>
                    <a:pt x="24" y="195"/>
                    <a:pt x="23" y="195"/>
                  </a:cubicBezTo>
                  <a:cubicBezTo>
                    <a:pt x="21" y="196"/>
                    <a:pt x="21" y="195"/>
                    <a:pt x="20" y="196"/>
                  </a:cubicBezTo>
                  <a:cubicBezTo>
                    <a:pt x="19" y="196"/>
                    <a:pt x="19" y="196"/>
                    <a:pt x="17" y="197"/>
                  </a:cubicBezTo>
                  <a:cubicBezTo>
                    <a:pt x="15" y="199"/>
                    <a:pt x="15" y="199"/>
                    <a:pt x="14" y="200"/>
                  </a:cubicBezTo>
                  <a:cubicBezTo>
                    <a:pt x="13" y="200"/>
                    <a:pt x="13" y="200"/>
                    <a:pt x="12" y="200"/>
                  </a:cubicBezTo>
                  <a:cubicBezTo>
                    <a:pt x="11" y="201"/>
                    <a:pt x="11" y="201"/>
                    <a:pt x="9" y="200"/>
                  </a:cubicBezTo>
                  <a:cubicBezTo>
                    <a:pt x="8" y="200"/>
                    <a:pt x="5" y="202"/>
                    <a:pt x="5" y="202"/>
                  </a:cubicBezTo>
                  <a:cubicBezTo>
                    <a:pt x="3" y="203"/>
                    <a:pt x="0" y="204"/>
                    <a:pt x="0" y="205"/>
                  </a:cubicBezTo>
                  <a:cubicBezTo>
                    <a:pt x="0" y="207"/>
                    <a:pt x="1" y="210"/>
                    <a:pt x="2" y="210"/>
                  </a:cubicBezTo>
                  <a:cubicBezTo>
                    <a:pt x="3" y="210"/>
                    <a:pt x="4" y="210"/>
                    <a:pt x="4" y="210"/>
                  </a:cubicBezTo>
                  <a:cubicBezTo>
                    <a:pt x="5" y="211"/>
                    <a:pt x="8" y="210"/>
                    <a:pt x="8" y="211"/>
                  </a:cubicBezTo>
                  <a:cubicBezTo>
                    <a:pt x="8" y="212"/>
                    <a:pt x="10" y="212"/>
                    <a:pt x="11" y="212"/>
                  </a:cubicBezTo>
                  <a:cubicBezTo>
                    <a:pt x="11" y="213"/>
                    <a:pt x="15" y="212"/>
                    <a:pt x="16" y="212"/>
                  </a:cubicBezTo>
                  <a:cubicBezTo>
                    <a:pt x="16" y="212"/>
                    <a:pt x="18" y="212"/>
                    <a:pt x="19" y="212"/>
                  </a:cubicBezTo>
                  <a:cubicBezTo>
                    <a:pt x="20" y="213"/>
                    <a:pt x="21" y="212"/>
                    <a:pt x="22" y="213"/>
                  </a:cubicBezTo>
                  <a:cubicBezTo>
                    <a:pt x="23" y="214"/>
                    <a:pt x="25" y="214"/>
                    <a:pt x="23" y="215"/>
                  </a:cubicBezTo>
                  <a:cubicBezTo>
                    <a:pt x="21" y="216"/>
                    <a:pt x="18" y="216"/>
                    <a:pt x="17" y="217"/>
                  </a:cubicBezTo>
                  <a:cubicBezTo>
                    <a:pt x="16" y="217"/>
                    <a:pt x="15" y="215"/>
                    <a:pt x="14" y="216"/>
                  </a:cubicBezTo>
                  <a:cubicBezTo>
                    <a:pt x="13" y="218"/>
                    <a:pt x="14" y="219"/>
                    <a:pt x="15" y="219"/>
                  </a:cubicBezTo>
                  <a:cubicBezTo>
                    <a:pt x="16" y="219"/>
                    <a:pt x="17" y="221"/>
                    <a:pt x="18" y="222"/>
                  </a:cubicBezTo>
                  <a:cubicBezTo>
                    <a:pt x="18" y="224"/>
                    <a:pt x="19" y="224"/>
                    <a:pt x="19" y="225"/>
                  </a:cubicBezTo>
                  <a:cubicBezTo>
                    <a:pt x="19" y="226"/>
                    <a:pt x="19" y="228"/>
                    <a:pt x="20" y="228"/>
                  </a:cubicBezTo>
                  <a:cubicBezTo>
                    <a:pt x="20" y="229"/>
                    <a:pt x="23" y="229"/>
                    <a:pt x="23" y="229"/>
                  </a:cubicBezTo>
                  <a:cubicBezTo>
                    <a:pt x="23" y="229"/>
                    <a:pt x="25" y="229"/>
                    <a:pt x="26" y="230"/>
                  </a:cubicBezTo>
                  <a:cubicBezTo>
                    <a:pt x="26" y="230"/>
                    <a:pt x="28" y="231"/>
                    <a:pt x="29" y="231"/>
                  </a:cubicBezTo>
                  <a:cubicBezTo>
                    <a:pt x="30" y="231"/>
                    <a:pt x="33" y="231"/>
                    <a:pt x="33" y="231"/>
                  </a:cubicBezTo>
                  <a:cubicBezTo>
                    <a:pt x="33" y="231"/>
                    <a:pt x="35" y="231"/>
                    <a:pt x="36" y="231"/>
                  </a:cubicBezTo>
                  <a:cubicBezTo>
                    <a:pt x="36" y="232"/>
                    <a:pt x="35" y="231"/>
                    <a:pt x="37" y="231"/>
                  </a:cubicBezTo>
                  <a:cubicBezTo>
                    <a:pt x="39" y="232"/>
                    <a:pt x="42" y="231"/>
                    <a:pt x="42" y="231"/>
                  </a:cubicBezTo>
                  <a:cubicBezTo>
                    <a:pt x="49" y="230"/>
                    <a:pt x="49" y="230"/>
                    <a:pt x="49" y="230"/>
                  </a:cubicBezTo>
                  <a:cubicBezTo>
                    <a:pt x="49" y="230"/>
                    <a:pt x="49" y="230"/>
                    <a:pt x="50" y="229"/>
                  </a:cubicBezTo>
                  <a:cubicBezTo>
                    <a:pt x="51" y="229"/>
                    <a:pt x="52" y="228"/>
                    <a:pt x="53" y="228"/>
                  </a:cubicBezTo>
                  <a:cubicBezTo>
                    <a:pt x="54" y="229"/>
                    <a:pt x="55" y="230"/>
                    <a:pt x="57" y="230"/>
                  </a:cubicBezTo>
                  <a:cubicBezTo>
                    <a:pt x="58" y="230"/>
                    <a:pt x="59" y="230"/>
                    <a:pt x="61" y="230"/>
                  </a:cubicBezTo>
                  <a:cubicBezTo>
                    <a:pt x="62" y="229"/>
                    <a:pt x="62" y="229"/>
                    <a:pt x="63" y="230"/>
                  </a:cubicBezTo>
                  <a:cubicBezTo>
                    <a:pt x="64" y="231"/>
                    <a:pt x="64" y="231"/>
                    <a:pt x="64" y="232"/>
                  </a:cubicBezTo>
                  <a:cubicBezTo>
                    <a:pt x="65" y="233"/>
                    <a:pt x="66" y="233"/>
                    <a:pt x="67" y="232"/>
                  </a:cubicBezTo>
                  <a:cubicBezTo>
                    <a:pt x="69" y="232"/>
                    <a:pt x="69" y="232"/>
                    <a:pt x="70" y="232"/>
                  </a:cubicBezTo>
                  <a:cubicBezTo>
                    <a:pt x="71" y="233"/>
                    <a:pt x="71" y="234"/>
                    <a:pt x="72" y="233"/>
                  </a:cubicBezTo>
                  <a:cubicBezTo>
                    <a:pt x="73" y="231"/>
                    <a:pt x="75" y="230"/>
                    <a:pt x="76" y="230"/>
                  </a:cubicBezTo>
                  <a:cubicBezTo>
                    <a:pt x="76" y="229"/>
                    <a:pt x="76" y="229"/>
                    <a:pt x="78" y="228"/>
                  </a:cubicBezTo>
                  <a:cubicBezTo>
                    <a:pt x="79" y="227"/>
                    <a:pt x="80" y="226"/>
                    <a:pt x="80" y="226"/>
                  </a:cubicBezTo>
                  <a:cubicBezTo>
                    <a:pt x="80" y="226"/>
                    <a:pt x="82" y="226"/>
                    <a:pt x="83" y="226"/>
                  </a:cubicBezTo>
                  <a:cubicBezTo>
                    <a:pt x="83" y="225"/>
                    <a:pt x="83" y="225"/>
                    <a:pt x="85" y="225"/>
                  </a:cubicBezTo>
                  <a:cubicBezTo>
                    <a:pt x="86" y="225"/>
                    <a:pt x="88" y="224"/>
                    <a:pt x="88" y="224"/>
                  </a:cubicBezTo>
                  <a:cubicBezTo>
                    <a:pt x="89" y="224"/>
                    <a:pt x="91" y="223"/>
                    <a:pt x="91" y="223"/>
                  </a:cubicBezTo>
                  <a:cubicBezTo>
                    <a:pt x="93" y="223"/>
                    <a:pt x="94" y="223"/>
                    <a:pt x="95" y="224"/>
                  </a:cubicBezTo>
                  <a:cubicBezTo>
                    <a:pt x="95" y="225"/>
                    <a:pt x="95" y="226"/>
                    <a:pt x="95" y="226"/>
                  </a:cubicBezTo>
                  <a:cubicBezTo>
                    <a:pt x="95" y="227"/>
                    <a:pt x="95" y="228"/>
                    <a:pt x="94" y="228"/>
                  </a:cubicBezTo>
                  <a:cubicBezTo>
                    <a:pt x="93" y="229"/>
                    <a:pt x="94" y="228"/>
                    <a:pt x="93" y="229"/>
                  </a:cubicBezTo>
                  <a:cubicBezTo>
                    <a:pt x="92" y="230"/>
                    <a:pt x="92" y="230"/>
                    <a:pt x="91" y="231"/>
                  </a:cubicBezTo>
                  <a:cubicBezTo>
                    <a:pt x="91" y="231"/>
                    <a:pt x="90" y="233"/>
                    <a:pt x="90" y="233"/>
                  </a:cubicBezTo>
                  <a:cubicBezTo>
                    <a:pt x="90" y="234"/>
                    <a:pt x="94" y="238"/>
                    <a:pt x="94" y="238"/>
                  </a:cubicBezTo>
                  <a:cubicBezTo>
                    <a:pt x="94" y="238"/>
                    <a:pt x="97" y="241"/>
                    <a:pt x="96" y="242"/>
                  </a:cubicBezTo>
                  <a:cubicBezTo>
                    <a:pt x="96" y="242"/>
                    <a:pt x="96" y="244"/>
                    <a:pt x="96" y="245"/>
                  </a:cubicBezTo>
                  <a:cubicBezTo>
                    <a:pt x="96" y="245"/>
                    <a:pt x="97" y="246"/>
                    <a:pt x="95" y="247"/>
                  </a:cubicBezTo>
                  <a:cubicBezTo>
                    <a:pt x="94" y="247"/>
                    <a:pt x="95" y="248"/>
                    <a:pt x="94" y="248"/>
                  </a:cubicBezTo>
                  <a:cubicBezTo>
                    <a:pt x="93" y="249"/>
                    <a:pt x="95" y="249"/>
                    <a:pt x="93" y="251"/>
                  </a:cubicBezTo>
                  <a:cubicBezTo>
                    <a:pt x="91" y="252"/>
                    <a:pt x="90" y="253"/>
                    <a:pt x="89" y="253"/>
                  </a:cubicBezTo>
                  <a:cubicBezTo>
                    <a:pt x="88" y="254"/>
                    <a:pt x="84" y="254"/>
                    <a:pt x="83" y="254"/>
                  </a:cubicBezTo>
                  <a:cubicBezTo>
                    <a:pt x="82" y="253"/>
                    <a:pt x="80" y="253"/>
                    <a:pt x="80" y="253"/>
                  </a:cubicBezTo>
                  <a:cubicBezTo>
                    <a:pt x="80" y="253"/>
                    <a:pt x="79" y="253"/>
                    <a:pt x="78" y="253"/>
                  </a:cubicBezTo>
                  <a:cubicBezTo>
                    <a:pt x="77" y="253"/>
                    <a:pt x="77" y="253"/>
                    <a:pt x="76" y="254"/>
                  </a:cubicBezTo>
                  <a:cubicBezTo>
                    <a:pt x="74" y="255"/>
                    <a:pt x="73" y="255"/>
                    <a:pt x="72" y="256"/>
                  </a:cubicBezTo>
                  <a:cubicBezTo>
                    <a:pt x="71" y="257"/>
                    <a:pt x="71" y="257"/>
                    <a:pt x="71" y="258"/>
                  </a:cubicBezTo>
                  <a:cubicBezTo>
                    <a:pt x="70" y="258"/>
                    <a:pt x="69" y="260"/>
                    <a:pt x="69" y="260"/>
                  </a:cubicBezTo>
                  <a:cubicBezTo>
                    <a:pt x="67" y="261"/>
                    <a:pt x="67" y="261"/>
                    <a:pt x="67" y="261"/>
                  </a:cubicBezTo>
                  <a:cubicBezTo>
                    <a:pt x="66" y="261"/>
                    <a:pt x="65" y="261"/>
                    <a:pt x="64" y="261"/>
                  </a:cubicBezTo>
                  <a:cubicBezTo>
                    <a:pt x="63" y="262"/>
                    <a:pt x="64" y="260"/>
                    <a:pt x="62" y="261"/>
                  </a:cubicBezTo>
                  <a:cubicBezTo>
                    <a:pt x="61" y="262"/>
                    <a:pt x="60" y="262"/>
                    <a:pt x="60" y="262"/>
                  </a:cubicBezTo>
                  <a:cubicBezTo>
                    <a:pt x="58" y="261"/>
                    <a:pt x="58" y="261"/>
                    <a:pt x="57" y="260"/>
                  </a:cubicBezTo>
                  <a:cubicBezTo>
                    <a:pt x="57" y="259"/>
                    <a:pt x="59" y="259"/>
                    <a:pt x="57" y="259"/>
                  </a:cubicBezTo>
                  <a:cubicBezTo>
                    <a:pt x="56" y="258"/>
                    <a:pt x="54" y="258"/>
                    <a:pt x="53" y="258"/>
                  </a:cubicBezTo>
                  <a:cubicBezTo>
                    <a:pt x="52" y="258"/>
                    <a:pt x="52" y="258"/>
                    <a:pt x="51" y="258"/>
                  </a:cubicBezTo>
                  <a:cubicBezTo>
                    <a:pt x="50" y="258"/>
                    <a:pt x="48" y="259"/>
                    <a:pt x="47" y="260"/>
                  </a:cubicBezTo>
                  <a:cubicBezTo>
                    <a:pt x="47" y="260"/>
                    <a:pt x="47" y="260"/>
                    <a:pt x="46" y="261"/>
                  </a:cubicBezTo>
                  <a:cubicBezTo>
                    <a:pt x="45" y="262"/>
                    <a:pt x="45" y="264"/>
                    <a:pt x="44" y="264"/>
                  </a:cubicBezTo>
                  <a:cubicBezTo>
                    <a:pt x="42" y="265"/>
                    <a:pt x="42" y="264"/>
                    <a:pt x="42" y="266"/>
                  </a:cubicBezTo>
                  <a:cubicBezTo>
                    <a:pt x="42" y="268"/>
                    <a:pt x="42" y="269"/>
                    <a:pt x="43" y="270"/>
                  </a:cubicBezTo>
                  <a:cubicBezTo>
                    <a:pt x="43" y="270"/>
                    <a:pt x="44" y="271"/>
                    <a:pt x="44" y="271"/>
                  </a:cubicBezTo>
                  <a:cubicBezTo>
                    <a:pt x="44" y="271"/>
                    <a:pt x="44" y="272"/>
                    <a:pt x="44" y="273"/>
                  </a:cubicBezTo>
                  <a:cubicBezTo>
                    <a:pt x="43" y="275"/>
                    <a:pt x="41" y="273"/>
                    <a:pt x="40" y="273"/>
                  </a:cubicBezTo>
                  <a:cubicBezTo>
                    <a:pt x="39" y="273"/>
                    <a:pt x="38" y="273"/>
                    <a:pt x="37" y="274"/>
                  </a:cubicBezTo>
                  <a:cubicBezTo>
                    <a:pt x="37" y="275"/>
                    <a:pt x="36" y="276"/>
                    <a:pt x="35" y="276"/>
                  </a:cubicBezTo>
                  <a:cubicBezTo>
                    <a:pt x="34" y="277"/>
                    <a:pt x="34" y="275"/>
                    <a:pt x="33" y="277"/>
                  </a:cubicBezTo>
                  <a:cubicBezTo>
                    <a:pt x="32" y="280"/>
                    <a:pt x="32" y="279"/>
                    <a:pt x="31" y="281"/>
                  </a:cubicBezTo>
                  <a:cubicBezTo>
                    <a:pt x="30" y="282"/>
                    <a:pt x="32" y="279"/>
                    <a:pt x="30" y="282"/>
                  </a:cubicBezTo>
                  <a:cubicBezTo>
                    <a:pt x="28" y="285"/>
                    <a:pt x="29" y="285"/>
                    <a:pt x="29" y="287"/>
                  </a:cubicBezTo>
                  <a:cubicBezTo>
                    <a:pt x="30" y="288"/>
                    <a:pt x="28" y="288"/>
                    <a:pt x="27" y="290"/>
                  </a:cubicBezTo>
                  <a:cubicBezTo>
                    <a:pt x="26" y="291"/>
                    <a:pt x="25" y="290"/>
                    <a:pt x="25" y="292"/>
                  </a:cubicBezTo>
                  <a:cubicBezTo>
                    <a:pt x="25" y="293"/>
                    <a:pt x="25" y="294"/>
                    <a:pt x="25" y="295"/>
                  </a:cubicBezTo>
                  <a:cubicBezTo>
                    <a:pt x="26" y="296"/>
                    <a:pt x="28" y="297"/>
                    <a:pt x="28" y="298"/>
                  </a:cubicBezTo>
                  <a:cubicBezTo>
                    <a:pt x="28" y="299"/>
                    <a:pt x="28" y="298"/>
                    <a:pt x="28" y="299"/>
                  </a:cubicBezTo>
                  <a:cubicBezTo>
                    <a:pt x="29" y="300"/>
                    <a:pt x="30" y="301"/>
                    <a:pt x="31" y="301"/>
                  </a:cubicBezTo>
                  <a:cubicBezTo>
                    <a:pt x="31" y="302"/>
                    <a:pt x="32" y="302"/>
                    <a:pt x="32" y="302"/>
                  </a:cubicBezTo>
                  <a:cubicBezTo>
                    <a:pt x="33" y="302"/>
                    <a:pt x="34" y="302"/>
                    <a:pt x="35" y="301"/>
                  </a:cubicBezTo>
                  <a:cubicBezTo>
                    <a:pt x="35" y="301"/>
                    <a:pt x="36" y="300"/>
                    <a:pt x="37" y="299"/>
                  </a:cubicBezTo>
                  <a:cubicBezTo>
                    <a:pt x="37" y="298"/>
                    <a:pt x="38" y="296"/>
                    <a:pt x="38" y="296"/>
                  </a:cubicBezTo>
                  <a:cubicBezTo>
                    <a:pt x="38" y="296"/>
                    <a:pt x="39" y="295"/>
                    <a:pt x="40" y="295"/>
                  </a:cubicBezTo>
                  <a:cubicBezTo>
                    <a:pt x="40" y="294"/>
                    <a:pt x="42" y="293"/>
                    <a:pt x="42" y="293"/>
                  </a:cubicBezTo>
                  <a:cubicBezTo>
                    <a:pt x="41" y="296"/>
                    <a:pt x="41" y="296"/>
                    <a:pt x="41" y="296"/>
                  </a:cubicBezTo>
                  <a:cubicBezTo>
                    <a:pt x="39" y="297"/>
                    <a:pt x="38" y="297"/>
                    <a:pt x="38" y="298"/>
                  </a:cubicBezTo>
                  <a:cubicBezTo>
                    <a:pt x="37" y="299"/>
                    <a:pt x="37" y="299"/>
                    <a:pt x="37" y="301"/>
                  </a:cubicBezTo>
                  <a:cubicBezTo>
                    <a:pt x="37" y="302"/>
                    <a:pt x="37" y="302"/>
                    <a:pt x="37" y="303"/>
                  </a:cubicBezTo>
                  <a:cubicBezTo>
                    <a:pt x="37" y="303"/>
                    <a:pt x="38" y="303"/>
                    <a:pt x="39" y="304"/>
                  </a:cubicBezTo>
                  <a:cubicBezTo>
                    <a:pt x="40" y="305"/>
                    <a:pt x="42" y="304"/>
                    <a:pt x="42" y="305"/>
                  </a:cubicBezTo>
                  <a:cubicBezTo>
                    <a:pt x="42" y="306"/>
                    <a:pt x="41" y="307"/>
                    <a:pt x="42" y="307"/>
                  </a:cubicBezTo>
                  <a:cubicBezTo>
                    <a:pt x="43" y="307"/>
                    <a:pt x="44" y="307"/>
                    <a:pt x="45" y="307"/>
                  </a:cubicBezTo>
                  <a:cubicBezTo>
                    <a:pt x="46" y="307"/>
                    <a:pt x="48" y="306"/>
                    <a:pt x="47" y="307"/>
                  </a:cubicBezTo>
                  <a:cubicBezTo>
                    <a:pt x="47" y="308"/>
                    <a:pt x="47" y="309"/>
                    <a:pt x="48" y="309"/>
                  </a:cubicBezTo>
                  <a:cubicBezTo>
                    <a:pt x="50" y="308"/>
                    <a:pt x="52" y="308"/>
                    <a:pt x="52" y="308"/>
                  </a:cubicBezTo>
                  <a:cubicBezTo>
                    <a:pt x="52" y="308"/>
                    <a:pt x="52" y="307"/>
                    <a:pt x="53" y="307"/>
                  </a:cubicBezTo>
                  <a:cubicBezTo>
                    <a:pt x="54" y="307"/>
                    <a:pt x="52" y="307"/>
                    <a:pt x="54" y="307"/>
                  </a:cubicBezTo>
                  <a:cubicBezTo>
                    <a:pt x="56" y="307"/>
                    <a:pt x="55" y="307"/>
                    <a:pt x="56" y="307"/>
                  </a:cubicBezTo>
                  <a:cubicBezTo>
                    <a:pt x="58" y="307"/>
                    <a:pt x="57" y="305"/>
                    <a:pt x="58" y="308"/>
                  </a:cubicBezTo>
                  <a:cubicBezTo>
                    <a:pt x="59" y="310"/>
                    <a:pt x="60" y="310"/>
                    <a:pt x="59" y="311"/>
                  </a:cubicBezTo>
                  <a:cubicBezTo>
                    <a:pt x="59" y="312"/>
                    <a:pt x="57" y="313"/>
                    <a:pt x="57" y="313"/>
                  </a:cubicBezTo>
                  <a:cubicBezTo>
                    <a:pt x="56" y="313"/>
                    <a:pt x="55" y="312"/>
                    <a:pt x="55" y="312"/>
                  </a:cubicBezTo>
                  <a:cubicBezTo>
                    <a:pt x="55" y="312"/>
                    <a:pt x="52" y="309"/>
                    <a:pt x="52" y="310"/>
                  </a:cubicBezTo>
                  <a:cubicBezTo>
                    <a:pt x="52" y="311"/>
                    <a:pt x="51" y="312"/>
                    <a:pt x="50" y="312"/>
                  </a:cubicBezTo>
                  <a:cubicBezTo>
                    <a:pt x="48" y="313"/>
                    <a:pt x="47" y="313"/>
                    <a:pt x="47" y="312"/>
                  </a:cubicBezTo>
                  <a:cubicBezTo>
                    <a:pt x="47" y="311"/>
                    <a:pt x="47" y="310"/>
                    <a:pt x="46" y="310"/>
                  </a:cubicBezTo>
                  <a:cubicBezTo>
                    <a:pt x="45" y="310"/>
                    <a:pt x="46" y="308"/>
                    <a:pt x="45" y="308"/>
                  </a:cubicBezTo>
                  <a:cubicBezTo>
                    <a:pt x="44" y="308"/>
                    <a:pt x="43" y="309"/>
                    <a:pt x="42" y="309"/>
                  </a:cubicBezTo>
                  <a:cubicBezTo>
                    <a:pt x="42" y="309"/>
                    <a:pt x="42" y="308"/>
                    <a:pt x="40" y="309"/>
                  </a:cubicBezTo>
                  <a:cubicBezTo>
                    <a:pt x="39" y="310"/>
                    <a:pt x="40" y="309"/>
                    <a:pt x="38" y="311"/>
                  </a:cubicBezTo>
                  <a:cubicBezTo>
                    <a:pt x="37" y="313"/>
                    <a:pt x="37" y="313"/>
                    <a:pt x="36" y="313"/>
                  </a:cubicBezTo>
                  <a:cubicBezTo>
                    <a:pt x="35" y="314"/>
                    <a:pt x="34" y="315"/>
                    <a:pt x="34" y="315"/>
                  </a:cubicBezTo>
                  <a:cubicBezTo>
                    <a:pt x="35" y="315"/>
                    <a:pt x="39" y="315"/>
                    <a:pt x="39" y="315"/>
                  </a:cubicBezTo>
                  <a:cubicBezTo>
                    <a:pt x="40" y="318"/>
                    <a:pt x="40" y="317"/>
                    <a:pt x="41" y="318"/>
                  </a:cubicBezTo>
                  <a:cubicBezTo>
                    <a:pt x="42" y="319"/>
                    <a:pt x="41" y="316"/>
                    <a:pt x="44" y="320"/>
                  </a:cubicBezTo>
                  <a:cubicBezTo>
                    <a:pt x="46" y="323"/>
                    <a:pt x="49" y="324"/>
                    <a:pt x="49" y="325"/>
                  </a:cubicBezTo>
                  <a:cubicBezTo>
                    <a:pt x="49" y="325"/>
                    <a:pt x="49" y="327"/>
                    <a:pt x="50" y="328"/>
                  </a:cubicBezTo>
                  <a:cubicBezTo>
                    <a:pt x="50" y="329"/>
                    <a:pt x="50" y="329"/>
                    <a:pt x="51" y="329"/>
                  </a:cubicBezTo>
                  <a:cubicBezTo>
                    <a:pt x="52" y="329"/>
                    <a:pt x="53" y="329"/>
                    <a:pt x="54" y="329"/>
                  </a:cubicBezTo>
                  <a:cubicBezTo>
                    <a:pt x="54" y="330"/>
                    <a:pt x="54" y="330"/>
                    <a:pt x="56" y="330"/>
                  </a:cubicBezTo>
                  <a:cubicBezTo>
                    <a:pt x="59" y="330"/>
                    <a:pt x="63" y="329"/>
                    <a:pt x="63" y="329"/>
                  </a:cubicBezTo>
                  <a:cubicBezTo>
                    <a:pt x="63" y="329"/>
                    <a:pt x="63" y="330"/>
                    <a:pt x="64" y="330"/>
                  </a:cubicBezTo>
                  <a:cubicBezTo>
                    <a:pt x="65" y="329"/>
                    <a:pt x="67" y="328"/>
                    <a:pt x="67" y="328"/>
                  </a:cubicBezTo>
                  <a:cubicBezTo>
                    <a:pt x="68" y="327"/>
                    <a:pt x="71" y="325"/>
                    <a:pt x="71" y="325"/>
                  </a:cubicBezTo>
                  <a:cubicBezTo>
                    <a:pt x="71" y="325"/>
                    <a:pt x="71" y="325"/>
                    <a:pt x="72" y="325"/>
                  </a:cubicBezTo>
                  <a:cubicBezTo>
                    <a:pt x="73" y="324"/>
                    <a:pt x="74" y="322"/>
                    <a:pt x="74" y="322"/>
                  </a:cubicBezTo>
                  <a:cubicBezTo>
                    <a:pt x="74" y="322"/>
                    <a:pt x="74" y="320"/>
                    <a:pt x="74" y="319"/>
                  </a:cubicBezTo>
                  <a:cubicBezTo>
                    <a:pt x="74" y="317"/>
                    <a:pt x="71" y="319"/>
                    <a:pt x="75" y="316"/>
                  </a:cubicBezTo>
                  <a:cubicBezTo>
                    <a:pt x="78" y="313"/>
                    <a:pt x="79" y="311"/>
                    <a:pt x="79" y="312"/>
                  </a:cubicBezTo>
                  <a:cubicBezTo>
                    <a:pt x="80" y="313"/>
                    <a:pt x="79" y="314"/>
                    <a:pt x="79" y="315"/>
                  </a:cubicBezTo>
                  <a:cubicBezTo>
                    <a:pt x="78" y="316"/>
                    <a:pt x="77" y="317"/>
                    <a:pt x="76" y="318"/>
                  </a:cubicBezTo>
                  <a:cubicBezTo>
                    <a:pt x="76" y="319"/>
                    <a:pt x="76" y="319"/>
                    <a:pt x="76" y="320"/>
                  </a:cubicBezTo>
                  <a:cubicBezTo>
                    <a:pt x="77" y="321"/>
                    <a:pt x="77" y="323"/>
                    <a:pt x="78" y="324"/>
                  </a:cubicBezTo>
                  <a:cubicBezTo>
                    <a:pt x="78" y="325"/>
                    <a:pt x="79" y="325"/>
                    <a:pt x="79" y="327"/>
                  </a:cubicBezTo>
                  <a:cubicBezTo>
                    <a:pt x="79" y="328"/>
                    <a:pt x="80" y="329"/>
                    <a:pt x="80" y="330"/>
                  </a:cubicBezTo>
                  <a:cubicBezTo>
                    <a:pt x="80" y="331"/>
                    <a:pt x="79" y="331"/>
                    <a:pt x="80" y="331"/>
                  </a:cubicBezTo>
                  <a:cubicBezTo>
                    <a:pt x="81" y="332"/>
                    <a:pt x="83" y="332"/>
                    <a:pt x="83" y="333"/>
                  </a:cubicBezTo>
                  <a:cubicBezTo>
                    <a:pt x="83" y="334"/>
                    <a:pt x="83" y="336"/>
                    <a:pt x="83" y="336"/>
                  </a:cubicBezTo>
                  <a:cubicBezTo>
                    <a:pt x="82" y="337"/>
                    <a:pt x="82" y="336"/>
                    <a:pt x="81" y="337"/>
                  </a:cubicBezTo>
                  <a:cubicBezTo>
                    <a:pt x="80" y="338"/>
                    <a:pt x="79" y="340"/>
                    <a:pt x="79" y="340"/>
                  </a:cubicBezTo>
                  <a:cubicBezTo>
                    <a:pt x="79" y="341"/>
                    <a:pt x="79" y="342"/>
                    <a:pt x="80" y="342"/>
                  </a:cubicBezTo>
                  <a:cubicBezTo>
                    <a:pt x="81" y="343"/>
                    <a:pt x="82" y="343"/>
                    <a:pt x="83" y="344"/>
                  </a:cubicBezTo>
                  <a:cubicBezTo>
                    <a:pt x="83" y="345"/>
                    <a:pt x="84" y="345"/>
                    <a:pt x="83" y="346"/>
                  </a:cubicBezTo>
                  <a:cubicBezTo>
                    <a:pt x="83" y="347"/>
                    <a:pt x="83" y="347"/>
                    <a:pt x="83" y="349"/>
                  </a:cubicBezTo>
                  <a:cubicBezTo>
                    <a:pt x="83" y="350"/>
                    <a:pt x="82" y="352"/>
                    <a:pt x="82" y="352"/>
                  </a:cubicBezTo>
                  <a:cubicBezTo>
                    <a:pt x="82" y="352"/>
                    <a:pt x="79" y="352"/>
                    <a:pt x="82" y="352"/>
                  </a:cubicBezTo>
                  <a:cubicBezTo>
                    <a:pt x="85" y="352"/>
                    <a:pt x="86" y="352"/>
                    <a:pt x="87" y="352"/>
                  </a:cubicBezTo>
                  <a:cubicBezTo>
                    <a:pt x="88" y="351"/>
                    <a:pt x="85" y="352"/>
                    <a:pt x="90" y="350"/>
                  </a:cubicBezTo>
                  <a:cubicBezTo>
                    <a:pt x="94" y="349"/>
                    <a:pt x="98" y="347"/>
                    <a:pt x="98" y="347"/>
                  </a:cubicBezTo>
                  <a:cubicBezTo>
                    <a:pt x="98" y="347"/>
                    <a:pt x="102" y="343"/>
                    <a:pt x="103" y="345"/>
                  </a:cubicBezTo>
                  <a:cubicBezTo>
                    <a:pt x="104" y="346"/>
                    <a:pt x="103" y="344"/>
                    <a:pt x="104" y="346"/>
                  </a:cubicBezTo>
                  <a:cubicBezTo>
                    <a:pt x="104" y="348"/>
                    <a:pt x="105" y="347"/>
                    <a:pt x="106" y="347"/>
                  </a:cubicBezTo>
                  <a:cubicBezTo>
                    <a:pt x="107" y="347"/>
                    <a:pt x="108" y="347"/>
                    <a:pt x="108" y="348"/>
                  </a:cubicBezTo>
                  <a:cubicBezTo>
                    <a:pt x="108" y="349"/>
                    <a:pt x="110" y="348"/>
                    <a:pt x="110" y="348"/>
                  </a:cubicBezTo>
                  <a:cubicBezTo>
                    <a:pt x="112" y="347"/>
                    <a:pt x="112" y="347"/>
                    <a:pt x="112" y="347"/>
                  </a:cubicBezTo>
                  <a:cubicBezTo>
                    <a:pt x="112" y="347"/>
                    <a:pt x="113" y="348"/>
                    <a:pt x="113" y="349"/>
                  </a:cubicBezTo>
                  <a:cubicBezTo>
                    <a:pt x="115" y="352"/>
                    <a:pt x="116" y="352"/>
                    <a:pt x="117" y="352"/>
                  </a:cubicBezTo>
                  <a:cubicBezTo>
                    <a:pt x="118" y="355"/>
                    <a:pt x="119" y="356"/>
                    <a:pt x="119" y="356"/>
                  </a:cubicBezTo>
                  <a:cubicBezTo>
                    <a:pt x="121" y="356"/>
                    <a:pt x="121" y="357"/>
                    <a:pt x="121" y="357"/>
                  </a:cubicBezTo>
                  <a:cubicBezTo>
                    <a:pt x="123" y="355"/>
                    <a:pt x="123" y="355"/>
                    <a:pt x="123" y="355"/>
                  </a:cubicBezTo>
                  <a:cubicBezTo>
                    <a:pt x="124" y="349"/>
                    <a:pt x="124" y="349"/>
                    <a:pt x="124" y="349"/>
                  </a:cubicBezTo>
                  <a:cubicBezTo>
                    <a:pt x="126" y="347"/>
                    <a:pt x="126" y="347"/>
                    <a:pt x="126" y="347"/>
                  </a:cubicBezTo>
                  <a:cubicBezTo>
                    <a:pt x="126" y="347"/>
                    <a:pt x="127" y="347"/>
                    <a:pt x="127" y="346"/>
                  </a:cubicBezTo>
                  <a:cubicBezTo>
                    <a:pt x="127" y="345"/>
                    <a:pt x="126" y="343"/>
                    <a:pt x="126" y="343"/>
                  </a:cubicBezTo>
                  <a:cubicBezTo>
                    <a:pt x="127" y="342"/>
                    <a:pt x="128" y="341"/>
                    <a:pt x="128" y="341"/>
                  </a:cubicBezTo>
                  <a:cubicBezTo>
                    <a:pt x="128" y="341"/>
                    <a:pt x="130" y="343"/>
                    <a:pt x="130" y="343"/>
                  </a:cubicBezTo>
                  <a:cubicBezTo>
                    <a:pt x="131" y="343"/>
                    <a:pt x="133" y="346"/>
                    <a:pt x="132" y="346"/>
                  </a:cubicBezTo>
                  <a:cubicBezTo>
                    <a:pt x="132" y="347"/>
                    <a:pt x="130" y="346"/>
                    <a:pt x="129" y="347"/>
                  </a:cubicBezTo>
                  <a:cubicBezTo>
                    <a:pt x="128" y="348"/>
                    <a:pt x="128" y="348"/>
                    <a:pt x="128" y="349"/>
                  </a:cubicBezTo>
                  <a:cubicBezTo>
                    <a:pt x="127" y="350"/>
                    <a:pt x="127" y="351"/>
                    <a:pt x="128" y="351"/>
                  </a:cubicBezTo>
                  <a:cubicBezTo>
                    <a:pt x="129" y="352"/>
                    <a:pt x="131" y="352"/>
                    <a:pt x="131" y="352"/>
                  </a:cubicBezTo>
                  <a:cubicBezTo>
                    <a:pt x="131" y="353"/>
                    <a:pt x="133" y="354"/>
                    <a:pt x="133" y="354"/>
                  </a:cubicBezTo>
                  <a:cubicBezTo>
                    <a:pt x="138" y="351"/>
                    <a:pt x="138" y="351"/>
                    <a:pt x="138" y="351"/>
                  </a:cubicBezTo>
                  <a:cubicBezTo>
                    <a:pt x="140" y="350"/>
                    <a:pt x="140" y="350"/>
                    <a:pt x="140" y="350"/>
                  </a:cubicBezTo>
                  <a:cubicBezTo>
                    <a:pt x="143" y="349"/>
                    <a:pt x="143" y="349"/>
                    <a:pt x="143" y="349"/>
                  </a:cubicBezTo>
                  <a:cubicBezTo>
                    <a:pt x="143" y="349"/>
                    <a:pt x="147" y="346"/>
                    <a:pt x="148" y="345"/>
                  </a:cubicBezTo>
                  <a:cubicBezTo>
                    <a:pt x="148" y="344"/>
                    <a:pt x="148" y="344"/>
                    <a:pt x="149" y="343"/>
                  </a:cubicBezTo>
                  <a:cubicBezTo>
                    <a:pt x="150" y="342"/>
                    <a:pt x="151" y="340"/>
                    <a:pt x="152" y="341"/>
                  </a:cubicBezTo>
                  <a:cubicBezTo>
                    <a:pt x="152" y="342"/>
                    <a:pt x="152" y="346"/>
                    <a:pt x="151" y="346"/>
                  </a:cubicBezTo>
                  <a:cubicBezTo>
                    <a:pt x="150" y="347"/>
                    <a:pt x="149" y="349"/>
                    <a:pt x="148" y="349"/>
                  </a:cubicBezTo>
                  <a:cubicBezTo>
                    <a:pt x="148" y="350"/>
                    <a:pt x="149" y="351"/>
                    <a:pt x="148" y="351"/>
                  </a:cubicBezTo>
                  <a:cubicBezTo>
                    <a:pt x="147" y="352"/>
                    <a:pt x="143" y="353"/>
                    <a:pt x="142" y="354"/>
                  </a:cubicBezTo>
                  <a:cubicBezTo>
                    <a:pt x="141" y="356"/>
                    <a:pt x="140" y="355"/>
                    <a:pt x="141" y="357"/>
                  </a:cubicBezTo>
                  <a:cubicBezTo>
                    <a:pt x="141" y="359"/>
                    <a:pt x="143" y="359"/>
                    <a:pt x="143" y="360"/>
                  </a:cubicBezTo>
                  <a:cubicBezTo>
                    <a:pt x="143" y="361"/>
                    <a:pt x="142" y="362"/>
                    <a:pt x="142" y="363"/>
                  </a:cubicBezTo>
                  <a:cubicBezTo>
                    <a:pt x="141" y="363"/>
                    <a:pt x="140" y="363"/>
                    <a:pt x="140" y="364"/>
                  </a:cubicBezTo>
                  <a:cubicBezTo>
                    <a:pt x="140" y="365"/>
                    <a:pt x="140" y="367"/>
                    <a:pt x="140" y="368"/>
                  </a:cubicBezTo>
                  <a:cubicBezTo>
                    <a:pt x="139" y="372"/>
                    <a:pt x="138" y="371"/>
                    <a:pt x="139" y="373"/>
                  </a:cubicBezTo>
                  <a:cubicBezTo>
                    <a:pt x="140" y="375"/>
                    <a:pt x="141" y="375"/>
                    <a:pt x="139" y="375"/>
                  </a:cubicBezTo>
                  <a:cubicBezTo>
                    <a:pt x="136" y="376"/>
                    <a:pt x="135" y="375"/>
                    <a:pt x="134" y="375"/>
                  </a:cubicBezTo>
                  <a:cubicBezTo>
                    <a:pt x="133" y="376"/>
                    <a:pt x="133" y="376"/>
                    <a:pt x="132" y="377"/>
                  </a:cubicBezTo>
                  <a:cubicBezTo>
                    <a:pt x="131" y="378"/>
                    <a:pt x="131" y="378"/>
                    <a:pt x="130" y="379"/>
                  </a:cubicBezTo>
                  <a:cubicBezTo>
                    <a:pt x="128" y="379"/>
                    <a:pt x="128" y="380"/>
                    <a:pt x="127" y="381"/>
                  </a:cubicBezTo>
                  <a:cubicBezTo>
                    <a:pt x="126" y="382"/>
                    <a:pt x="126" y="382"/>
                    <a:pt x="126" y="383"/>
                  </a:cubicBezTo>
                  <a:cubicBezTo>
                    <a:pt x="126" y="384"/>
                    <a:pt x="127" y="384"/>
                    <a:pt x="125" y="385"/>
                  </a:cubicBezTo>
                  <a:cubicBezTo>
                    <a:pt x="124" y="387"/>
                    <a:pt x="125" y="386"/>
                    <a:pt x="124" y="387"/>
                  </a:cubicBezTo>
                  <a:cubicBezTo>
                    <a:pt x="122" y="387"/>
                    <a:pt x="122" y="388"/>
                    <a:pt x="121" y="388"/>
                  </a:cubicBezTo>
                  <a:cubicBezTo>
                    <a:pt x="120" y="388"/>
                    <a:pt x="121" y="386"/>
                    <a:pt x="118" y="388"/>
                  </a:cubicBezTo>
                  <a:cubicBezTo>
                    <a:pt x="116" y="390"/>
                    <a:pt x="116" y="390"/>
                    <a:pt x="114" y="391"/>
                  </a:cubicBezTo>
                  <a:cubicBezTo>
                    <a:pt x="112" y="392"/>
                    <a:pt x="112" y="392"/>
                    <a:pt x="111" y="392"/>
                  </a:cubicBezTo>
                  <a:cubicBezTo>
                    <a:pt x="110" y="393"/>
                    <a:pt x="109" y="393"/>
                    <a:pt x="108" y="394"/>
                  </a:cubicBezTo>
                  <a:cubicBezTo>
                    <a:pt x="107" y="394"/>
                    <a:pt x="107" y="395"/>
                    <a:pt x="105" y="397"/>
                  </a:cubicBezTo>
                  <a:cubicBezTo>
                    <a:pt x="103" y="398"/>
                    <a:pt x="103" y="397"/>
                    <a:pt x="102" y="398"/>
                  </a:cubicBezTo>
                  <a:cubicBezTo>
                    <a:pt x="100" y="399"/>
                    <a:pt x="100" y="398"/>
                    <a:pt x="100" y="400"/>
                  </a:cubicBezTo>
                  <a:cubicBezTo>
                    <a:pt x="100" y="401"/>
                    <a:pt x="101" y="401"/>
                    <a:pt x="100" y="403"/>
                  </a:cubicBezTo>
                  <a:cubicBezTo>
                    <a:pt x="99" y="404"/>
                    <a:pt x="99" y="404"/>
                    <a:pt x="98" y="405"/>
                  </a:cubicBezTo>
                  <a:cubicBezTo>
                    <a:pt x="96" y="406"/>
                    <a:pt x="98" y="405"/>
                    <a:pt x="95" y="404"/>
                  </a:cubicBezTo>
                  <a:cubicBezTo>
                    <a:pt x="95" y="404"/>
                    <a:pt x="93" y="405"/>
                    <a:pt x="92" y="405"/>
                  </a:cubicBezTo>
                  <a:cubicBezTo>
                    <a:pt x="92" y="404"/>
                    <a:pt x="88" y="404"/>
                    <a:pt x="88" y="404"/>
                  </a:cubicBezTo>
                  <a:cubicBezTo>
                    <a:pt x="88" y="404"/>
                    <a:pt x="86" y="405"/>
                    <a:pt x="85" y="405"/>
                  </a:cubicBezTo>
                  <a:cubicBezTo>
                    <a:pt x="85" y="405"/>
                    <a:pt x="84" y="405"/>
                    <a:pt x="83" y="405"/>
                  </a:cubicBezTo>
                  <a:cubicBezTo>
                    <a:pt x="82" y="406"/>
                    <a:pt x="83" y="405"/>
                    <a:pt x="82" y="406"/>
                  </a:cubicBezTo>
                  <a:cubicBezTo>
                    <a:pt x="81" y="407"/>
                    <a:pt x="79" y="407"/>
                    <a:pt x="79" y="408"/>
                  </a:cubicBezTo>
                  <a:cubicBezTo>
                    <a:pt x="78" y="409"/>
                    <a:pt x="76" y="410"/>
                    <a:pt x="76" y="411"/>
                  </a:cubicBezTo>
                  <a:cubicBezTo>
                    <a:pt x="76" y="412"/>
                    <a:pt x="75" y="411"/>
                    <a:pt x="74" y="412"/>
                  </a:cubicBezTo>
                  <a:cubicBezTo>
                    <a:pt x="74" y="413"/>
                    <a:pt x="73" y="413"/>
                    <a:pt x="73" y="415"/>
                  </a:cubicBezTo>
                  <a:cubicBezTo>
                    <a:pt x="73" y="416"/>
                    <a:pt x="71" y="417"/>
                    <a:pt x="71" y="417"/>
                  </a:cubicBezTo>
                  <a:cubicBezTo>
                    <a:pt x="69" y="418"/>
                    <a:pt x="68" y="417"/>
                    <a:pt x="68" y="418"/>
                  </a:cubicBezTo>
                  <a:cubicBezTo>
                    <a:pt x="68" y="418"/>
                    <a:pt x="67" y="418"/>
                    <a:pt x="66" y="419"/>
                  </a:cubicBezTo>
                  <a:cubicBezTo>
                    <a:pt x="65" y="419"/>
                    <a:pt x="64" y="418"/>
                    <a:pt x="64" y="419"/>
                  </a:cubicBezTo>
                  <a:cubicBezTo>
                    <a:pt x="64" y="420"/>
                    <a:pt x="62" y="420"/>
                    <a:pt x="63" y="420"/>
                  </a:cubicBezTo>
                  <a:cubicBezTo>
                    <a:pt x="64" y="421"/>
                    <a:pt x="64" y="422"/>
                    <a:pt x="65" y="422"/>
                  </a:cubicBezTo>
                  <a:cubicBezTo>
                    <a:pt x="66" y="422"/>
                    <a:pt x="67" y="422"/>
                    <a:pt x="67" y="423"/>
                  </a:cubicBezTo>
                  <a:cubicBezTo>
                    <a:pt x="67" y="423"/>
                    <a:pt x="67" y="424"/>
                    <a:pt x="67" y="425"/>
                  </a:cubicBezTo>
                  <a:cubicBezTo>
                    <a:pt x="68" y="425"/>
                    <a:pt x="69" y="425"/>
                    <a:pt x="69" y="425"/>
                  </a:cubicBezTo>
                  <a:cubicBezTo>
                    <a:pt x="69" y="425"/>
                    <a:pt x="71" y="425"/>
                    <a:pt x="71" y="424"/>
                  </a:cubicBezTo>
                  <a:cubicBezTo>
                    <a:pt x="71" y="424"/>
                    <a:pt x="72" y="422"/>
                    <a:pt x="72" y="422"/>
                  </a:cubicBezTo>
                  <a:cubicBezTo>
                    <a:pt x="73" y="421"/>
                    <a:pt x="73" y="421"/>
                    <a:pt x="73" y="421"/>
                  </a:cubicBezTo>
                  <a:cubicBezTo>
                    <a:pt x="75" y="424"/>
                    <a:pt x="75" y="424"/>
                    <a:pt x="75" y="424"/>
                  </a:cubicBezTo>
                  <a:cubicBezTo>
                    <a:pt x="77" y="421"/>
                    <a:pt x="77" y="421"/>
                    <a:pt x="77" y="421"/>
                  </a:cubicBezTo>
                  <a:cubicBezTo>
                    <a:pt x="77" y="421"/>
                    <a:pt x="78" y="421"/>
                    <a:pt x="79" y="421"/>
                  </a:cubicBezTo>
                  <a:cubicBezTo>
                    <a:pt x="79" y="421"/>
                    <a:pt x="81" y="419"/>
                    <a:pt x="81" y="419"/>
                  </a:cubicBezTo>
                  <a:cubicBezTo>
                    <a:pt x="81" y="419"/>
                    <a:pt x="82" y="419"/>
                    <a:pt x="82" y="418"/>
                  </a:cubicBezTo>
                  <a:cubicBezTo>
                    <a:pt x="82" y="417"/>
                    <a:pt x="82" y="416"/>
                    <a:pt x="83" y="416"/>
                  </a:cubicBezTo>
                  <a:cubicBezTo>
                    <a:pt x="85" y="415"/>
                    <a:pt x="84" y="414"/>
                    <a:pt x="85" y="414"/>
                  </a:cubicBezTo>
                  <a:cubicBezTo>
                    <a:pt x="88" y="413"/>
                    <a:pt x="89" y="413"/>
                    <a:pt x="89" y="414"/>
                  </a:cubicBezTo>
                  <a:cubicBezTo>
                    <a:pt x="89" y="414"/>
                    <a:pt x="89" y="415"/>
                    <a:pt x="89" y="415"/>
                  </a:cubicBezTo>
                  <a:cubicBezTo>
                    <a:pt x="90" y="416"/>
                    <a:pt x="89" y="417"/>
                    <a:pt x="91" y="416"/>
                  </a:cubicBezTo>
                  <a:cubicBezTo>
                    <a:pt x="93" y="415"/>
                    <a:pt x="93" y="415"/>
                    <a:pt x="93" y="415"/>
                  </a:cubicBezTo>
                  <a:cubicBezTo>
                    <a:pt x="97" y="415"/>
                    <a:pt x="97" y="415"/>
                    <a:pt x="97" y="415"/>
                  </a:cubicBezTo>
                  <a:cubicBezTo>
                    <a:pt x="98" y="416"/>
                    <a:pt x="99" y="418"/>
                    <a:pt x="100" y="417"/>
                  </a:cubicBezTo>
                  <a:cubicBezTo>
                    <a:pt x="100" y="417"/>
                    <a:pt x="101" y="416"/>
                    <a:pt x="102" y="416"/>
                  </a:cubicBezTo>
                  <a:cubicBezTo>
                    <a:pt x="102" y="415"/>
                    <a:pt x="103" y="413"/>
                    <a:pt x="103" y="413"/>
                  </a:cubicBezTo>
                  <a:cubicBezTo>
                    <a:pt x="103" y="411"/>
                    <a:pt x="103" y="411"/>
                    <a:pt x="103" y="411"/>
                  </a:cubicBezTo>
                  <a:cubicBezTo>
                    <a:pt x="107" y="410"/>
                    <a:pt x="107" y="410"/>
                    <a:pt x="107" y="410"/>
                  </a:cubicBezTo>
                  <a:cubicBezTo>
                    <a:pt x="107" y="410"/>
                    <a:pt x="108" y="409"/>
                    <a:pt x="108" y="409"/>
                  </a:cubicBezTo>
                  <a:cubicBezTo>
                    <a:pt x="108" y="408"/>
                    <a:pt x="110" y="409"/>
                    <a:pt x="110" y="409"/>
                  </a:cubicBezTo>
                  <a:cubicBezTo>
                    <a:pt x="111" y="411"/>
                    <a:pt x="110" y="412"/>
                    <a:pt x="110" y="412"/>
                  </a:cubicBezTo>
                  <a:cubicBezTo>
                    <a:pt x="111" y="412"/>
                    <a:pt x="114" y="411"/>
                    <a:pt x="114" y="411"/>
                  </a:cubicBezTo>
                  <a:cubicBezTo>
                    <a:pt x="115" y="410"/>
                    <a:pt x="115" y="410"/>
                    <a:pt x="115" y="410"/>
                  </a:cubicBezTo>
                  <a:cubicBezTo>
                    <a:pt x="117" y="408"/>
                    <a:pt x="117" y="408"/>
                    <a:pt x="117" y="408"/>
                  </a:cubicBezTo>
                  <a:cubicBezTo>
                    <a:pt x="122" y="405"/>
                    <a:pt x="122" y="405"/>
                    <a:pt x="122" y="405"/>
                  </a:cubicBezTo>
                  <a:cubicBezTo>
                    <a:pt x="122" y="405"/>
                    <a:pt x="123" y="405"/>
                    <a:pt x="124" y="405"/>
                  </a:cubicBezTo>
                  <a:cubicBezTo>
                    <a:pt x="124" y="405"/>
                    <a:pt x="126" y="404"/>
                    <a:pt x="126" y="405"/>
                  </a:cubicBezTo>
                  <a:cubicBezTo>
                    <a:pt x="127" y="405"/>
                    <a:pt x="128" y="404"/>
                    <a:pt x="129" y="404"/>
                  </a:cubicBezTo>
                  <a:cubicBezTo>
                    <a:pt x="129" y="404"/>
                    <a:pt x="129" y="404"/>
                    <a:pt x="130" y="403"/>
                  </a:cubicBezTo>
                  <a:cubicBezTo>
                    <a:pt x="130" y="402"/>
                    <a:pt x="131" y="401"/>
                    <a:pt x="131" y="401"/>
                  </a:cubicBezTo>
                  <a:cubicBezTo>
                    <a:pt x="131" y="401"/>
                    <a:pt x="133" y="401"/>
                    <a:pt x="133" y="400"/>
                  </a:cubicBezTo>
                  <a:cubicBezTo>
                    <a:pt x="133" y="400"/>
                    <a:pt x="131" y="398"/>
                    <a:pt x="131" y="397"/>
                  </a:cubicBezTo>
                  <a:cubicBezTo>
                    <a:pt x="131" y="397"/>
                    <a:pt x="131" y="396"/>
                    <a:pt x="131" y="396"/>
                  </a:cubicBezTo>
                  <a:cubicBezTo>
                    <a:pt x="132" y="396"/>
                    <a:pt x="133" y="395"/>
                    <a:pt x="134" y="394"/>
                  </a:cubicBezTo>
                  <a:cubicBezTo>
                    <a:pt x="135" y="394"/>
                    <a:pt x="139" y="391"/>
                    <a:pt x="139" y="391"/>
                  </a:cubicBezTo>
                  <a:cubicBezTo>
                    <a:pt x="141" y="390"/>
                    <a:pt x="141" y="390"/>
                    <a:pt x="141" y="390"/>
                  </a:cubicBezTo>
                  <a:cubicBezTo>
                    <a:pt x="141" y="390"/>
                    <a:pt x="143" y="389"/>
                    <a:pt x="143" y="390"/>
                  </a:cubicBezTo>
                  <a:cubicBezTo>
                    <a:pt x="144" y="391"/>
                    <a:pt x="145" y="388"/>
                    <a:pt x="146" y="388"/>
                  </a:cubicBezTo>
                  <a:cubicBezTo>
                    <a:pt x="146" y="389"/>
                    <a:pt x="149" y="387"/>
                    <a:pt x="149" y="387"/>
                  </a:cubicBezTo>
                  <a:cubicBezTo>
                    <a:pt x="151" y="387"/>
                    <a:pt x="152" y="386"/>
                    <a:pt x="152" y="386"/>
                  </a:cubicBezTo>
                  <a:cubicBezTo>
                    <a:pt x="155" y="383"/>
                    <a:pt x="157" y="380"/>
                    <a:pt x="157" y="380"/>
                  </a:cubicBezTo>
                  <a:cubicBezTo>
                    <a:pt x="157" y="380"/>
                    <a:pt x="157" y="378"/>
                    <a:pt x="156" y="378"/>
                  </a:cubicBezTo>
                  <a:cubicBezTo>
                    <a:pt x="156" y="377"/>
                    <a:pt x="156" y="376"/>
                    <a:pt x="157" y="376"/>
                  </a:cubicBezTo>
                  <a:cubicBezTo>
                    <a:pt x="158" y="377"/>
                    <a:pt x="159" y="376"/>
                    <a:pt x="160" y="376"/>
                  </a:cubicBezTo>
                  <a:cubicBezTo>
                    <a:pt x="161" y="376"/>
                    <a:pt x="163" y="375"/>
                    <a:pt x="163" y="375"/>
                  </a:cubicBezTo>
                  <a:cubicBezTo>
                    <a:pt x="163" y="375"/>
                    <a:pt x="164" y="373"/>
                    <a:pt x="164" y="373"/>
                  </a:cubicBezTo>
                  <a:cubicBezTo>
                    <a:pt x="165" y="372"/>
                    <a:pt x="168" y="371"/>
                    <a:pt x="168" y="371"/>
                  </a:cubicBezTo>
                  <a:cubicBezTo>
                    <a:pt x="172" y="369"/>
                    <a:pt x="172" y="369"/>
                    <a:pt x="172" y="369"/>
                  </a:cubicBezTo>
                  <a:cubicBezTo>
                    <a:pt x="173" y="368"/>
                    <a:pt x="173" y="368"/>
                    <a:pt x="173" y="368"/>
                  </a:cubicBezTo>
                  <a:cubicBezTo>
                    <a:pt x="178" y="366"/>
                    <a:pt x="178" y="366"/>
                    <a:pt x="178" y="366"/>
                  </a:cubicBezTo>
                  <a:cubicBezTo>
                    <a:pt x="179" y="365"/>
                    <a:pt x="179" y="365"/>
                    <a:pt x="179" y="365"/>
                  </a:cubicBezTo>
                  <a:cubicBezTo>
                    <a:pt x="179" y="365"/>
                    <a:pt x="180" y="364"/>
                    <a:pt x="181" y="364"/>
                  </a:cubicBezTo>
                  <a:cubicBezTo>
                    <a:pt x="183" y="365"/>
                    <a:pt x="186" y="364"/>
                    <a:pt x="186" y="364"/>
                  </a:cubicBezTo>
                  <a:cubicBezTo>
                    <a:pt x="186" y="363"/>
                    <a:pt x="187" y="361"/>
                    <a:pt x="187" y="361"/>
                  </a:cubicBezTo>
                  <a:cubicBezTo>
                    <a:pt x="187" y="361"/>
                    <a:pt x="187" y="360"/>
                    <a:pt x="187" y="359"/>
                  </a:cubicBezTo>
                  <a:cubicBezTo>
                    <a:pt x="187" y="358"/>
                    <a:pt x="188" y="358"/>
                    <a:pt x="188" y="357"/>
                  </a:cubicBezTo>
                  <a:cubicBezTo>
                    <a:pt x="190" y="355"/>
                    <a:pt x="191" y="355"/>
                    <a:pt x="191" y="355"/>
                  </a:cubicBezTo>
                  <a:cubicBezTo>
                    <a:pt x="193" y="355"/>
                    <a:pt x="193" y="355"/>
                    <a:pt x="193" y="355"/>
                  </a:cubicBezTo>
                  <a:cubicBezTo>
                    <a:pt x="193" y="355"/>
                    <a:pt x="194" y="355"/>
                    <a:pt x="195" y="354"/>
                  </a:cubicBezTo>
                  <a:cubicBezTo>
                    <a:pt x="195" y="353"/>
                    <a:pt x="195" y="353"/>
                    <a:pt x="196" y="352"/>
                  </a:cubicBezTo>
                  <a:cubicBezTo>
                    <a:pt x="196" y="350"/>
                    <a:pt x="197" y="350"/>
                    <a:pt x="197" y="349"/>
                  </a:cubicBezTo>
                  <a:cubicBezTo>
                    <a:pt x="196" y="348"/>
                    <a:pt x="196" y="349"/>
                    <a:pt x="196" y="347"/>
                  </a:cubicBezTo>
                  <a:cubicBezTo>
                    <a:pt x="196" y="346"/>
                    <a:pt x="196" y="344"/>
                    <a:pt x="195" y="344"/>
                  </a:cubicBezTo>
                  <a:cubicBezTo>
                    <a:pt x="194" y="345"/>
                    <a:pt x="192" y="344"/>
                    <a:pt x="191" y="344"/>
                  </a:cubicBezTo>
                  <a:cubicBezTo>
                    <a:pt x="191" y="344"/>
                    <a:pt x="189" y="344"/>
                    <a:pt x="188" y="344"/>
                  </a:cubicBezTo>
                  <a:cubicBezTo>
                    <a:pt x="187" y="344"/>
                    <a:pt x="186" y="344"/>
                    <a:pt x="187" y="343"/>
                  </a:cubicBezTo>
                  <a:cubicBezTo>
                    <a:pt x="186" y="342"/>
                    <a:pt x="188" y="338"/>
                    <a:pt x="188" y="338"/>
                  </a:cubicBezTo>
                  <a:cubicBezTo>
                    <a:pt x="189" y="338"/>
                    <a:pt x="189" y="339"/>
                    <a:pt x="190" y="338"/>
                  </a:cubicBezTo>
                  <a:cubicBezTo>
                    <a:pt x="191" y="336"/>
                    <a:pt x="191" y="336"/>
                    <a:pt x="192" y="335"/>
                  </a:cubicBezTo>
                  <a:cubicBezTo>
                    <a:pt x="193" y="335"/>
                    <a:pt x="194" y="334"/>
                    <a:pt x="194" y="334"/>
                  </a:cubicBezTo>
                  <a:cubicBezTo>
                    <a:pt x="195" y="334"/>
                    <a:pt x="195" y="333"/>
                    <a:pt x="196" y="333"/>
                  </a:cubicBezTo>
                  <a:cubicBezTo>
                    <a:pt x="196" y="332"/>
                    <a:pt x="199" y="331"/>
                    <a:pt x="199" y="331"/>
                  </a:cubicBezTo>
                  <a:cubicBezTo>
                    <a:pt x="200" y="331"/>
                    <a:pt x="202" y="330"/>
                    <a:pt x="202" y="330"/>
                  </a:cubicBezTo>
                  <a:cubicBezTo>
                    <a:pt x="203" y="329"/>
                    <a:pt x="205" y="328"/>
                    <a:pt x="205" y="327"/>
                  </a:cubicBezTo>
                  <a:cubicBezTo>
                    <a:pt x="206" y="326"/>
                    <a:pt x="205" y="325"/>
                    <a:pt x="206" y="325"/>
                  </a:cubicBezTo>
                  <a:cubicBezTo>
                    <a:pt x="207" y="324"/>
                    <a:pt x="208" y="323"/>
                    <a:pt x="208" y="323"/>
                  </a:cubicBezTo>
                  <a:cubicBezTo>
                    <a:pt x="208" y="321"/>
                    <a:pt x="208" y="321"/>
                    <a:pt x="208" y="321"/>
                  </a:cubicBezTo>
                  <a:cubicBezTo>
                    <a:pt x="208" y="321"/>
                    <a:pt x="208" y="319"/>
                    <a:pt x="209" y="319"/>
                  </a:cubicBezTo>
                  <a:cubicBezTo>
                    <a:pt x="210" y="318"/>
                    <a:pt x="210" y="317"/>
                    <a:pt x="210" y="317"/>
                  </a:cubicBezTo>
                  <a:cubicBezTo>
                    <a:pt x="210" y="317"/>
                    <a:pt x="213" y="316"/>
                    <a:pt x="213" y="316"/>
                  </a:cubicBezTo>
                  <a:cubicBezTo>
                    <a:pt x="213" y="315"/>
                    <a:pt x="214" y="315"/>
                    <a:pt x="214" y="314"/>
                  </a:cubicBezTo>
                  <a:cubicBezTo>
                    <a:pt x="215" y="314"/>
                    <a:pt x="215" y="313"/>
                    <a:pt x="216" y="312"/>
                  </a:cubicBezTo>
                  <a:cubicBezTo>
                    <a:pt x="217" y="311"/>
                    <a:pt x="218" y="310"/>
                    <a:pt x="219" y="310"/>
                  </a:cubicBezTo>
                  <a:cubicBezTo>
                    <a:pt x="220" y="310"/>
                    <a:pt x="221" y="306"/>
                    <a:pt x="222" y="306"/>
                  </a:cubicBezTo>
                  <a:cubicBezTo>
                    <a:pt x="223" y="306"/>
                    <a:pt x="222" y="305"/>
                    <a:pt x="224" y="304"/>
                  </a:cubicBezTo>
                  <a:cubicBezTo>
                    <a:pt x="225" y="303"/>
                    <a:pt x="226" y="303"/>
                    <a:pt x="227" y="303"/>
                  </a:cubicBezTo>
                  <a:cubicBezTo>
                    <a:pt x="228" y="303"/>
                    <a:pt x="229" y="302"/>
                    <a:pt x="230" y="302"/>
                  </a:cubicBezTo>
                  <a:cubicBezTo>
                    <a:pt x="231" y="301"/>
                    <a:pt x="231" y="300"/>
                    <a:pt x="232" y="300"/>
                  </a:cubicBezTo>
                  <a:cubicBezTo>
                    <a:pt x="233" y="299"/>
                    <a:pt x="235" y="299"/>
                    <a:pt x="235" y="299"/>
                  </a:cubicBezTo>
                  <a:cubicBezTo>
                    <a:pt x="236" y="299"/>
                    <a:pt x="237" y="298"/>
                    <a:pt x="237" y="299"/>
                  </a:cubicBezTo>
                  <a:cubicBezTo>
                    <a:pt x="238" y="300"/>
                    <a:pt x="239" y="300"/>
                    <a:pt x="240" y="300"/>
                  </a:cubicBezTo>
                  <a:cubicBezTo>
                    <a:pt x="241" y="299"/>
                    <a:pt x="241" y="299"/>
                    <a:pt x="242" y="299"/>
                  </a:cubicBezTo>
                  <a:cubicBezTo>
                    <a:pt x="243" y="298"/>
                    <a:pt x="245" y="298"/>
                    <a:pt x="246" y="297"/>
                  </a:cubicBezTo>
                  <a:cubicBezTo>
                    <a:pt x="246" y="296"/>
                    <a:pt x="248" y="295"/>
                    <a:pt x="249" y="295"/>
                  </a:cubicBezTo>
                  <a:cubicBezTo>
                    <a:pt x="250" y="294"/>
                    <a:pt x="253" y="295"/>
                    <a:pt x="252" y="296"/>
                  </a:cubicBezTo>
                  <a:cubicBezTo>
                    <a:pt x="250" y="297"/>
                    <a:pt x="250" y="297"/>
                    <a:pt x="248" y="298"/>
                  </a:cubicBezTo>
                  <a:cubicBezTo>
                    <a:pt x="247" y="299"/>
                    <a:pt x="247" y="299"/>
                    <a:pt x="247" y="300"/>
                  </a:cubicBezTo>
                  <a:cubicBezTo>
                    <a:pt x="246" y="301"/>
                    <a:pt x="245" y="302"/>
                    <a:pt x="247" y="302"/>
                  </a:cubicBezTo>
                  <a:cubicBezTo>
                    <a:pt x="248" y="303"/>
                    <a:pt x="247" y="302"/>
                    <a:pt x="249" y="303"/>
                  </a:cubicBezTo>
                  <a:cubicBezTo>
                    <a:pt x="251" y="305"/>
                    <a:pt x="253" y="305"/>
                    <a:pt x="252" y="306"/>
                  </a:cubicBezTo>
                  <a:cubicBezTo>
                    <a:pt x="250" y="307"/>
                    <a:pt x="248" y="306"/>
                    <a:pt x="247" y="305"/>
                  </a:cubicBezTo>
                  <a:cubicBezTo>
                    <a:pt x="246" y="305"/>
                    <a:pt x="245" y="304"/>
                    <a:pt x="244" y="305"/>
                  </a:cubicBezTo>
                  <a:cubicBezTo>
                    <a:pt x="242" y="306"/>
                    <a:pt x="243" y="305"/>
                    <a:pt x="241" y="306"/>
                  </a:cubicBezTo>
                  <a:cubicBezTo>
                    <a:pt x="240" y="306"/>
                    <a:pt x="238" y="306"/>
                    <a:pt x="237" y="306"/>
                  </a:cubicBezTo>
                  <a:cubicBezTo>
                    <a:pt x="237" y="305"/>
                    <a:pt x="236" y="304"/>
                    <a:pt x="236" y="304"/>
                  </a:cubicBezTo>
                  <a:cubicBezTo>
                    <a:pt x="236" y="304"/>
                    <a:pt x="236" y="302"/>
                    <a:pt x="235" y="303"/>
                  </a:cubicBezTo>
                  <a:cubicBezTo>
                    <a:pt x="233" y="305"/>
                    <a:pt x="231" y="304"/>
                    <a:pt x="230" y="306"/>
                  </a:cubicBezTo>
                  <a:cubicBezTo>
                    <a:pt x="229" y="308"/>
                    <a:pt x="230" y="308"/>
                    <a:pt x="229" y="309"/>
                  </a:cubicBezTo>
                  <a:cubicBezTo>
                    <a:pt x="228" y="309"/>
                    <a:pt x="228" y="308"/>
                    <a:pt x="226" y="309"/>
                  </a:cubicBezTo>
                  <a:cubicBezTo>
                    <a:pt x="225" y="310"/>
                    <a:pt x="225" y="310"/>
                    <a:pt x="225" y="311"/>
                  </a:cubicBezTo>
                  <a:cubicBezTo>
                    <a:pt x="225" y="311"/>
                    <a:pt x="225" y="311"/>
                    <a:pt x="225" y="313"/>
                  </a:cubicBezTo>
                  <a:cubicBezTo>
                    <a:pt x="225" y="314"/>
                    <a:pt x="226" y="313"/>
                    <a:pt x="226" y="315"/>
                  </a:cubicBezTo>
                  <a:cubicBezTo>
                    <a:pt x="225" y="316"/>
                    <a:pt x="226" y="315"/>
                    <a:pt x="225" y="317"/>
                  </a:cubicBezTo>
                  <a:cubicBezTo>
                    <a:pt x="224" y="319"/>
                    <a:pt x="222" y="320"/>
                    <a:pt x="222" y="321"/>
                  </a:cubicBezTo>
                  <a:cubicBezTo>
                    <a:pt x="222" y="322"/>
                    <a:pt x="220" y="322"/>
                    <a:pt x="220" y="323"/>
                  </a:cubicBezTo>
                  <a:cubicBezTo>
                    <a:pt x="220" y="324"/>
                    <a:pt x="218" y="324"/>
                    <a:pt x="218" y="325"/>
                  </a:cubicBezTo>
                  <a:cubicBezTo>
                    <a:pt x="218" y="327"/>
                    <a:pt x="219" y="326"/>
                    <a:pt x="218" y="328"/>
                  </a:cubicBezTo>
                  <a:cubicBezTo>
                    <a:pt x="217" y="330"/>
                    <a:pt x="216" y="329"/>
                    <a:pt x="217" y="330"/>
                  </a:cubicBezTo>
                  <a:cubicBezTo>
                    <a:pt x="219" y="330"/>
                    <a:pt x="222" y="330"/>
                    <a:pt x="222" y="330"/>
                  </a:cubicBezTo>
                  <a:cubicBezTo>
                    <a:pt x="223" y="330"/>
                    <a:pt x="226" y="331"/>
                    <a:pt x="226" y="331"/>
                  </a:cubicBezTo>
                  <a:cubicBezTo>
                    <a:pt x="226" y="331"/>
                    <a:pt x="226" y="332"/>
                    <a:pt x="226" y="332"/>
                  </a:cubicBezTo>
                  <a:cubicBezTo>
                    <a:pt x="225" y="333"/>
                    <a:pt x="225" y="335"/>
                    <a:pt x="224" y="335"/>
                  </a:cubicBezTo>
                  <a:cubicBezTo>
                    <a:pt x="222" y="336"/>
                    <a:pt x="221" y="337"/>
                    <a:pt x="220" y="337"/>
                  </a:cubicBezTo>
                  <a:cubicBezTo>
                    <a:pt x="220" y="337"/>
                    <a:pt x="218" y="336"/>
                    <a:pt x="217" y="337"/>
                  </a:cubicBezTo>
                  <a:cubicBezTo>
                    <a:pt x="217" y="337"/>
                    <a:pt x="216" y="337"/>
                    <a:pt x="216" y="338"/>
                  </a:cubicBezTo>
                  <a:cubicBezTo>
                    <a:pt x="217" y="339"/>
                    <a:pt x="217" y="340"/>
                    <a:pt x="217" y="341"/>
                  </a:cubicBezTo>
                  <a:cubicBezTo>
                    <a:pt x="217" y="341"/>
                    <a:pt x="217" y="341"/>
                    <a:pt x="217" y="341"/>
                  </a:cubicBezTo>
                  <a:cubicBezTo>
                    <a:pt x="218" y="341"/>
                    <a:pt x="218" y="341"/>
                    <a:pt x="219" y="341"/>
                  </a:cubicBezTo>
                  <a:cubicBezTo>
                    <a:pt x="222" y="341"/>
                    <a:pt x="227" y="339"/>
                    <a:pt x="228" y="340"/>
                  </a:cubicBezTo>
                  <a:cubicBezTo>
                    <a:pt x="229" y="340"/>
                    <a:pt x="226" y="342"/>
                    <a:pt x="231" y="339"/>
                  </a:cubicBezTo>
                  <a:cubicBezTo>
                    <a:pt x="235" y="336"/>
                    <a:pt x="236" y="335"/>
                    <a:pt x="238" y="334"/>
                  </a:cubicBezTo>
                  <a:cubicBezTo>
                    <a:pt x="239" y="333"/>
                    <a:pt x="240" y="333"/>
                    <a:pt x="241" y="332"/>
                  </a:cubicBezTo>
                  <a:cubicBezTo>
                    <a:pt x="242" y="332"/>
                    <a:pt x="245" y="330"/>
                    <a:pt x="246" y="330"/>
                  </a:cubicBezTo>
                  <a:cubicBezTo>
                    <a:pt x="246" y="330"/>
                    <a:pt x="248" y="330"/>
                    <a:pt x="249" y="329"/>
                  </a:cubicBezTo>
                  <a:cubicBezTo>
                    <a:pt x="250" y="329"/>
                    <a:pt x="250" y="328"/>
                    <a:pt x="251" y="327"/>
                  </a:cubicBezTo>
                  <a:cubicBezTo>
                    <a:pt x="253" y="326"/>
                    <a:pt x="253" y="326"/>
                    <a:pt x="254" y="326"/>
                  </a:cubicBezTo>
                  <a:cubicBezTo>
                    <a:pt x="256" y="327"/>
                    <a:pt x="256" y="326"/>
                    <a:pt x="257" y="326"/>
                  </a:cubicBezTo>
                  <a:cubicBezTo>
                    <a:pt x="258" y="326"/>
                    <a:pt x="258" y="326"/>
                    <a:pt x="259" y="326"/>
                  </a:cubicBezTo>
                  <a:cubicBezTo>
                    <a:pt x="260" y="325"/>
                    <a:pt x="262" y="324"/>
                    <a:pt x="262" y="324"/>
                  </a:cubicBezTo>
                  <a:cubicBezTo>
                    <a:pt x="262" y="324"/>
                    <a:pt x="266" y="320"/>
                    <a:pt x="267" y="319"/>
                  </a:cubicBezTo>
                  <a:cubicBezTo>
                    <a:pt x="267" y="318"/>
                    <a:pt x="268" y="317"/>
                    <a:pt x="268" y="316"/>
                  </a:cubicBezTo>
                  <a:cubicBezTo>
                    <a:pt x="268" y="315"/>
                    <a:pt x="270" y="315"/>
                    <a:pt x="267" y="315"/>
                  </a:cubicBezTo>
                  <a:cubicBezTo>
                    <a:pt x="265" y="315"/>
                    <a:pt x="265" y="315"/>
                    <a:pt x="264" y="314"/>
                  </a:cubicBezTo>
                  <a:cubicBezTo>
                    <a:pt x="263" y="312"/>
                    <a:pt x="262" y="312"/>
                    <a:pt x="263" y="311"/>
                  </a:cubicBezTo>
                  <a:cubicBezTo>
                    <a:pt x="263" y="310"/>
                    <a:pt x="263" y="309"/>
                    <a:pt x="264" y="308"/>
                  </a:cubicBezTo>
                  <a:cubicBezTo>
                    <a:pt x="266" y="307"/>
                    <a:pt x="267" y="307"/>
                    <a:pt x="267" y="307"/>
                  </a:cubicBezTo>
                  <a:cubicBezTo>
                    <a:pt x="268" y="306"/>
                    <a:pt x="267" y="305"/>
                    <a:pt x="268" y="304"/>
                  </a:cubicBezTo>
                  <a:cubicBezTo>
                    <a:pt x="269" y="303"/>
                    <a:pt x="270" y="302"/>
                    <a:pt x="270" y="302"/>
                  </a:cubicBezTo>
                  <a:cubicBezTo>
                    <a:pt x="271" y="302"/>
                    <a:pt x="273" y="301"/>
                    <a:pt x="273" y="301"/>
                  </a:cubicBezTo>
                  <a:cubicBezTo>
                    <a:pt x="271" y="305"/>
                    <a:pt x="271" y="305"/>
                    <a:pt x="271" y="305"/>
                  </a:cubicBezTo>
                  <a:cubicBezTo>
                    <a:pt x="271" y="305"/>
                    <a:pt x="271" y="308"/>
                    <a:pt x="272" y="308"/>
                  </a:cubicBezTo>
                  <a:cubicBezTo>
                    <a:pt x="272" y="309"/>
                    <a:pt x="273" y="309"/>
                    <a:pt x="274" y="308"/>
                  </a:cubicBezTo>
                  <a:cubicBezTo>
                    <a:pt x="275" y="308"/>
                    <a:pt x="276" y="306"/>
                    <a:pt x="276" y="306"/>
                  </a:cubicBezTo>
                  <a:cubicBezTo>
                    <a:pt x="276" y="306"/>
                    <a:pt x="277" y="306"/>
                    <a:pt x="278" y="306"/>
                  </a:cubicBezTo>
                  <a:cubicBezTo>
                    <a:pt x="278" y="306"/>
                    <a:pt x="281" y="306"/>
                    <a:pt x="281" y="306"/>
                  </a:cubicBezTo>
                  <a:cubicBezTo>
                    <a:pt x="281" y="306"/>
                    <a:pt x="283" y="305"/>
                    <a:pt x="283" y="306"/>
                  </a:cubicBezTo>
                  <a:cubicBezTo>
                    <a:pt x="284" y="307"/>
                    <a:pt x="286" y="306"/>
                    <a:pt x="287" y="306"/>
                  </a:cubicBezTo>
                  <a:cubicBezTo>
                    <a:pt x="287" y="305"/>
                    <a:pt x="287" y="304"/>
                    <a:pt x="288" y="304"/>
                  </a:cubicBezTo>
                  <a:cubicBezTo>
                    <a:pt x="289" y="305"/>
                    <a:pt x="290" y="305"/>
                    <a:pt x="290" y="307"/>
                  </a:cubicBezTo>
                  <a:cubicBezTo>
                    <a:pt x="290" y="308"/>
                    <a:pt x="292" y="308"/>
                    <a:pt x="293" y="309"/>
                  </a:cubicBezTo>
                  <a:cubicBezTo>
                    <a:pt x="293" y="310"/>
                    <a:pt x="294" y="310"/>
                    <a:pt x="295" y="310"/>
                  </a:cubicBezTo>
                  <a:cubicBezTo>
                    <a:pt x="295" y="311"/>
                    <a:pt x="296" y="312"/>
                    <a:pt x="295" y="312"/>
                  </a:cubicBezTo>
                  <a:cubicBezTo>
                    <a:pt x="295" y="313"/>
                    <a:pt x="293" y="310"/>
                    <a:pt x="292" y="313"/>
                  </a:cubicBezTo>
                  <a:cubicBezTo>
                    <a:pt x="291" y="315"/>
                    <a:pt x="293" y="314"/>
                    <a:pt x="292" y="315"/>
                  </a:cubicBezTo>
                  <a:cubicBezTo>
                    <a:pt x="291" y="317"/>
                    <a:pt x="296" y="315"/>
                    <a:pt x="296" y="315"/>
                  </a:cubicBezTo>
                  <a:cubicBezTo>
                    <a:pt x="296" y="315"/>
                    <a:pt x="299" y="316"/>
                    <a:pt x="299" y="316"/>
                  </a:cubicBezTo>
                  <a:cubicBezTo>
                    <a:pt x="299" y="317"/>
                    <a:pt x="302" y="318"/>
                    <a:pt x="302" y="318"/>
                  </a:cubicBezTo>
                  <a:cubicBezTo>
                    <a:pt x="303" y="318"/>
                    <a:pt x="303" y="318"/>
                    <a:pt x="303" y="318"/>
                  </a:cubicBezTo>
                  <a:cubicBezTo>
                    <a:pt x="303" y="318"/>
                    <a:pt x="306" y="318"/>
                    <a:pt x="306" y="318"/>
                  </a:cubicBezTo>
                  <a:cubicBezTo>
                    <a:pt x="306" y="317"/>
                    <a:pt x="307" y="317"/>
                    <a:pt x="308" y="316"/>
                  </a:cubicBezTo>
                  <a:cubicBezTo>
                    <a:pt x="308" y="316"/>
                    <a:pt x="309" y="315"/>
                    <a:pt x="310" y="315"/>
                  </a:cubicBezTo>
                  <a:cubicBezTo>
                    <a:pt x="311" y="314"/>
                    <a:pt x="313" y="313"/>
                    <a:pt x="314" y="313"/>
                  </a:cubicBezTo>
                  <a:cubicBezTo>
                    <a:pt x="315" y="313"/>
                    <a:pt x="317" y="312"/>
                    <a:pt x="316" y="313"/>
                  </a:cubicBezTo>
                  <a:cubicBezTo>
                    <a:pt x="314" y="313"/>
                    <a:pt x="312" y="315"/>
                    <a:pt x="311" y="316"/>
                  </a:cubicBezTo>
                  <a:cubicBezTo>
                    <a:pt x="310" y="317"/>
                    <a:pt x="310" y="317"/>
                    <a:pt x="311" y="318"/>
                  </a:cubicBezTo>
                  <a:cubicBezTo>
                    <a:pt x="311" y="319"/>
                    <a:pt x="313" y="320"/>
                    <a:pt x="314" y="320"/>
                  </a:cubicBezTo>
                  <a:cubicBezTo>
                    <a:pt x="315" y="322"/>
                    <a:pt x="317" y="322"/>
                    <a:pt x="318" y="322"/>
                  </a:cubicBezTo>
                  <a:cubicBezTo>
                    <a:pt x="318" y="323"/>
                    <a:pt x="319" y="323"/>
                    <a:pt x="319" y="324"/>
                  </a:cubicBezTo>
                  <a:cubicBezTo>
                    <a:pt x="319" y="325"/>
                    <a:pt x="321" y="324"/>
                    <a:pt x="321" y="325"/>
                  </a:cubicBezTo>
                  <a:cubicBezTo>
                    <a:pt x="321" y="325"/>
                    <a:pt x="331" y="323"/>
                    <a:pt x="331" y="323"/>
                  </a:cubicBezTo>
                  <a:cubicBezTo>
                    <a:pt x="332" y="324"/>
                    <a:pt x="333" y="325"/>
                    <a:pt x="334" y="325"/>
                  </a:cubicBezTo>
                  <a:cubicBezTo>
                    <a:pt x="335" y="325"/>
                    <a:pt x="336" y="324"/>
                    <a:pt x="336" y="324"/>
                  </a:cubicBezTo>
                  <a:cubicBezTo>
                    <a:pt x="340" y="325"/>
                    <a:pt x="340" y="325"/>
                    <a:pt x="340" y="325"/>
                  </a:cubicBezTo>
                  <a:cubicBezTo>
                    <a:pt x="342" y="324"/>
                    <a:pt x="342" y="324"/>
                    <a:pt x="342" y="324"/>
                  </a:cubicBezTo>
                  <a:cubicBezTo>
                    <a:pt x="343" y="323"/>
                    <a:pt x="343" y="323"/>
                    <a:pt x="343" y="323"/>
                  </a:cubicBezTo>
                  <a:cubicBezTo>
                    <a:pt x="346" y="323"/>
                    <a:pt x="346" y="323"/>
                    <a:pt x="346" y="323"/>
                  </a:cubicBezTo>
                  <a:cubicBezTo>
                    <a:pt x="346" y="323"/>
                    <a:pt x="348" y="323"/>
                    <a:pt x="348" y="323"/>
                  </a:cubicBezTo>
                  <a:cubicBezTo>
                    <a:pt x="348" y="324"/>
                    <a:pt x="350" y="323"/>
                    <a:pt x="351" y="323"/>
                  </a:cubicBezTo>
                  <a:cubicBezTo>
                    <a:pt x="351" y="324"/>
                    <a:pt x="353" y="324"/>
                    <a:pt x="353" y="325"/>
                  </a:cubicBezTo>
                  <a:cubicBezTo>
                    <a:pt x="356" y="325"/>
                    <a:pt x="359" y="323"/>
                    <a:pt x="359" y="323"/>
                  </a:cubicBezTo>
                  <a:cubicBezTo>
                    <a:pt x="359" y="323"/>
                    <a:pt x="360" y="324"/>
                    <a:pt x="360" y="325"/>
                  </a:cubicBezTo>
                  <a:cubicBezTo>
                    <a:pt x="360" y="326"/>
                    <a:pt x="360" y="326"/>
                    <a:pt x="361" y="327"/>
                  </a:cubicBezTo>
                  <a:cubicBezTo>
                    <a:pt x="361" y="328"/>
                    <a:pt x="362" y="330"/>
                    <a:pt x="362" y="330"/>
                  </a:cubicBezTo>
                  <a:cubicBezTo>
                    <a:pt x="362" y="330"/>
                    <a:pt x="363" y="330"/>
                    <a:pt x="365" y="330"/>
                  </a:cubicBezTo>
                  <a:cubicBezTo>
                    <a:pt x="367" y="331"/>
                    <a:pt x="368" y="331"/>
                    <a:pt x="368" y="331"/>
                  </a:cubicBezTo>
                  <a:cubicBezTo>
                    <a:pt x="369" y="332"/>
                    <a:pt x="371" y="332"/>
                    <a:pt x="372" y="332"/>
                  </a:cubicBezTo>
                  <a:cubicBezTo>
                    <a:pt x="372" y="332"/>
                    <a:pt x="374" y="332"/>
                    <a:pt x="375" y="331"/>
                  </a:cubicBezTo>
                  <a:cubicBezTo>
                    <a:pt x="376" y="330"/>
                    <a:pt x="377" y="329"/>
                    <a:pt x="378" y="329"/>
                  </a:cubicBezTo>
                  <a:cubicBezTo>
                    <a:pt x="379" y="329"/>
                    <a:pt x="381" y="328"/>
                    <a:pt x="382" y="328"/>
                  </a:cubicBezTo>
                  <a:cubicBezTo>
                    <a:pt x="382" y="328"/>
                    <a:pt x="383" y="327"/>
                    <a:pt x="384" y="327"/>
                  </a:cubicBezTo>
                  <a:cubicBezTo>
                    <a:pt x="385" y="328"/>
                    <a:pt x="387" y="330"/>
                    <a:pt x="387" y="330"/>
                  </a:cubicBezTo>
                  <a:cubicBezTo>
                    <a:pt x="386" y="331"/>
                    <a:pt x="385" y="331"/>
                    <a:pt x="384" y="331"/>
                  </a:cubicBezTo>
                  <a:cubicBezTo>
                    <a:pt x="383" y="332"/>
                    <a:pt x="382" y="331"/>
                    <a:pt x="381" y="333"/>
                  </a:cubicBezTo>
                  <a:cubicBezTo>
                    <a:pt x="380" y="334"/>
                    <a:pt x="379" y="333"/>
                    <a:pt x="380" y="335"/>
                  </a:cubicBezTo>
                  <a:cubicBezTo>
                    <a:pt x="381" y="336"/>
                    <a:pt x="391" y="340"/>
                    <a:pt x="392" y="340"/>
                  </a:cubicBezTo>
                  <a:cubicBezTo>
                    <a:pt x="392" y="341"/>
                    <a:pt x="393" y="342"/>
                    <a:pt x="394" y="342"/>
                  </a:cubicBezTo>
                  <a:cubicBezTo>
                    <a:pt x="395" y="342"/>
                    <a:pt x="395" y="341"/>
                    <a:pt x="396" y="342"/>
                  </a:cubicBezTo>
                  <a:cubicBezTo>
                    <a:pt x="398" y="343"/>
                    <a:pt x="399" y="343"/>
                    <a:pt x="399" y="344"/>
                  </a:cubicBezTo>
                  <a:cubicBezTo>
                    <a:pt x="400" y="345"/>
                    <a:pt x="402" y="345"/>
                    <a:pt x="402" y="346"/>
                  </a:cubicBezTo>
                  <a:cubicBezTo>
                    <a:pt x="402" y="347"/>
                    <a:pt x="405" y="347"/>
                    <a:pt x="405" y="348"/>
                  </a:cubicBezTo>
                  <a:cubicBezTo>
                    <a:pt x="405" y="349"/>
                    <a:pt x="405" y="350"/>
                    <a:pt x="406" y="351"/>
                  </a:cubicBezTo>
                  <a:cubicBezTo>
                    <a:pt x="407" y="351"/>
                    <a:pt x="408" y="351"/>
                    <a:pt x="409" y="352"/>
                  </a:cubicBezTo>
                  <a:cubicBezTo>
                    <a:pt x="410" y="352"/>
                    <a:pt x="411" y="352"/>
                    <a:pt x="411" y="353"/>
                  </a:cubicBezTo>
                  <a:cubicBezTo>
                    <a:pt x="411" y="354"/>
                    <a:pt x="412" y="354"/>
                    <a:pt x="412" y="355"/>
                  </a:cubicBezTo>
                  <a:cubicBezTo>
                    <a:pt x="413" y="356"/>
                    <a:pt x="414" y="355"/>
                    <a:pt x="415" y="356"/>
                  </a:cubicBezTo>
                  <a:cubicBezTo>
                    <a:pt x="416" y="357"/>
                    <a:pt x="415" y="355"/>
                    <a:pt x="417" y="357"/>
                  </a:cubicBezTo>
                  <a:cubicBezTo>
                    <a:pt x="418" y="358"/>
                    <a:pt x="415" y="359"/>
                    <a:pt x="419" y="359"/>
                  </a:cubicBezTo>
                  <a:cubicBezTo>
                    <a:pt x="423" y="358"/>
                    <a:pt x="423" y="358"/>
                    <a:pt x="424" y="358"/>
                  </a:cubicBezTo>
                  <a:cubicBezTo>
                    <a:pt x="425" y="358"/>
                    <a:pt x="424" y="357"/>
                    <a:pt x="426" y="357"/>
                  </a:cubicBezTo>
                  <a:cubicBezTo>
                    <a:pt x="429" y="357"/>
                    <a:pt x="427" y="353"/>
                    <a:pt x="427" y="354"/>
                  </a:cubicBezTo>
                  <a:cubicBezTo>
                    <a:pt x="428" y="354"/>
                    <a:pt x="431" y="355"/>
                    <a:pt x="430" y="353"/>
                  </a:cubicBezTo>
                  <a:cubicBezTo>
                    <a:pt x="429" y="351"/>
                    <a:pt x="429" y="351"/>
                    <a:pt x="429" y="350"/>
                  </a:cubicBezTo>
                  <a:cubicBezTo>
                    <a:pt x="429" y="350"/>
                    <a:pt x="431" y="348"/>
                    <a:pt x="431" y="348"/>
                  </a:cubicBezTo>
                  <a:cubicBezTo>
                    <a:pt x="431" y="348"/>
                    <a:pt x="433" y="352"/>
                    <a:pt x="433" y="353"/>
                  </a:cubicBezTo>
                  <a:cubicBezTo>
                    <a:pt x="433" y="353"/>
                    <a:pt x="432" y="355"/>
                    <a:pt x="433" y="356"/>
                  </a:cubicBezTo>
                  <a:cubicBezTo>
                    <a:pt x="433" y="356"/>
                    <a:pt x="434" y="355"/>
                    <a:pt x="434" y="356"/>
                  </a:cubicBezTo>
                  <a:cubicBezTo>
                    <a:pt x="435" y="357"/>
                    <a:pt x="439" y="358"/>
                    <a:pt x="439" y="358"/>
                  </a:cubicBezTo>
                  <a:cubicBezTo>
                    <a:pt x="439" y="358"/>
                    <a:pt x="442" y="358"/>
                    <a:pt x="443" y="358"/>
                  </a:cubicBezTo>
                  <a:cubicBezTo>
                    <a:pt x="443" y="356"/>
                    <a:pt x="444" y="353"/>
                    <a:pt x="443" y="353"/>
                  </a:cubicBezTo>
                  <a:cubicBezTo>
                    <a:pt x="442" y="353"/>
                    <a:pt x="442" y="351"/>
                    <a:pt x="442" y="350"/>
                  </a:cubicBezTo>
                  <a:cubicBezTo>
                    <a:pt x="442" y="348"/>
                    <a:pt x="443" y="346"/>
                    <a:pt x="444" y="347"/>
                  </a:cubicBezTo>
                  <a:cubicBezTo>
                    <a:pt x="444" y="349"/>
                    <a:pt x="445" y="352"/>
                    <a:pt x="445" y="353"/>
                  </a:cubicBezTo>
                  <a:cubicBezTo>
                    <a:pt x="445" y="354"/>
                    <a:pt x="447" y="356"/>
                    <a:pt x="447" y="357"/>
                  </a:cubicBezTo>
                  <a:cubicBezTo>
                    <a:pt x="447" y="358"/>
                    <a:pt x="449" y="359"/>
                    <a:pt x="450" y="359"/>
                  </a:cubicBezTo>
                  <a:cubicBezTo>
                    <a:pt x="450" y="360"/>
                    <a:pt x="451" y="359"/>
                    <a:pt x="452" y="360"/>
                  </a:cubicBezTo>
                  <a:cubicBezTo>
                    <a:pt x="453" y="361"/>
                    <a:pt x="456" y="362"/>
                    <a:pt x="456" y="362"/>
                  </a:cubicBezTo>
                  <a:cubicBezTo>
                    <a:pt x="457" y="363"/>
                    <a:pt x="461" y="364"/>
                    <a:pt x="461" y="364"/>
                  </a:cubicBezTo>
                  <a:cubicBezTo>
                    <a:pt x="461" y="364"/>
                    <a:pt x="464" y="366"/>
                    <a:pt x="464" y="366"/>
                  </a:cubicBezTo>
                  <a:cubicBezTo>
                    <a:pt x="464" y="367"/>
                    <a:pt x="463" y="369"/>
                    <a:pt x="463" y="370"/>
                  </a:cubicBezTo>
                  <a:cubicBezTo>
                    <a:pt x="463" y="370"/>
                    <a:pt x="467" y="370"/>
                    <a:pt x="467" y="371"/>
                  </a:cubicBezTo>
                  <a:cubicBezTo>
                    <a:pt x="467" y="371"/>
                    <a:pt x="467" y="372"/>
                    <a:pt x="466" y="374"/>
                  </a:cubicBezTo>
                  <a:cubicBezTo>
                    <a:pt x="465" y="375"/>
                    <a:pt x="467" y="375"/>
                    <a:pt x="468" y="376"/>
                  </a:cubicBezTo>
                  <a:cubicBezTo>
                    <a:pt x="468" y="377"/>
                    <a:pt x="471" y="378"/>
                    <a:pt x="470" y="379"/>
                  </a:cubicBezTo>
                  <a:cubicBezTo>
                    <a:pt x="469" y="380"/>
                    <a:pt x="468" y="380"/>
                    <a:pt x="468" y="381"/>
                  </a:cubicBezTo>
                  <a:cubicBezTo>
                    <a:pt x="468" y="382"/>
                    <a:pt x="470" y="382"/>
                    <a:pt x="470" y="383"/>
                  </a:cubicBezTo>
                  <a:cubicBezTo>
                    <a:pt x="471" y="384"/>
                    <a:pt x="474" y="385"/>
                    <a:pt x="474" y="385"/>
                  </a:cubicBezTo>
                  <a:cubicBezTo>
                    <a:pt x="474" y="385"/>
                    <a:pt x="476" y="386"/>
                    <a:pt x="477" y="387"/>
                  </a:cubicBezTo>
                  <a:cubicBezTo>
                    <a:pt x="477" y="387"/>
                    <a:pt x="478" y="389"/>
                    <a:pt x="478" y="390"/>
                  </a:cubicBezTo>
                  <a:cubicBezTo>
                    <a:pt x="478" y="391"/>
                    <a:pt x="480" y="392"/>
                    <a:pt x="481" y="393"/>
                  </a:cubicBezTo>
                  <a:cubicBezTo>
                    <a:pt x="481" y="393"/>
                    <a:pt x="482" y="395"/>
                    <a:pt x="483" y="396"/>
                  </a:cubicBezTo>
                  <a:cubicBezTo>
                    <a:pt x="484" y="396"/>
                    <a:pt x="486" y="397"/>
                    <a:pt x="486" y="398"/>
                  </a:cubicBezTo>
                  <a:cubicBezTo>
                    <a:pt x="486" y="400"/>
                    <a:pt x="488" y="400"/>
                    <a:pt x="489" y="400"/>
                  </a:cubicBezTo>
                  <a:cubicBezTo>
                    <a:pt x="489" y="401"/>
                    <a:pt x="491" y="401"/>
                    <a:pt x="491" y="401"/>
                  </a:cubicBezTo>
                  <a:cubicBezTo>
                    <a:pt x="491" y="402"/>
                    <a:pt x="489" y="402"/>
                    <a:pt x="488" y="403"/>
                  </a:cubicBezTo>
                  <a:cubicBezTo>
                    <a:pt x="487" y="403"/>
                    <a:pt x="487" y="403"/>
                    <a:pt x="487" y="404"/>
                  </a:cubicBezTo>
                  <a:cubicBezTo>
                    <a:pt x="487" y="406"/>
                    <a:pt x="487" y="406"/>
                    <a:pt x="486" y="407"/>
                  </a:cubicBezTo>
                  <a:cubicBezTo>
                    <a:pt x="486" y="408"/>
                    <a:pt x="492" y="407"/>
                    <a:pt x="492" y="407"/>
                  </a:cubicBezTo>
                  <a:cubicBezTo>
                    <a:pt x="493" y="407"/>
                    <a:pt x="494" y="406"/>
                    <a:pt x="495" y="406"/>
                  </a:cubicBezTo>
                  <a:cubicBezTo>
                    <a:pt x="496" y="406"/>
                    <a:pt x="498" y="405"/>
                    <a:pt x="498" y="406"/>
                  </a:cubicBezTo>
                  <a:cubicBezTo>
                    <a:pt x="499" y="407"/>
                    <a:pt x="499" y="407"/>
                    <a:pt x="500" y="409"/>
                  </a:cubicBezTo>
                  <a:cubicBezTo>
                    <a:pt x="500" y="410"/>
                    <a:pt x="503" y="411"/>
                    <a:pt x="501" y="412"/>
                  </a:cubicBezTo>
                  <a:cubicBezTo>
                    <a:pt x="500" y="413"/>
                    <a:pt x="500" y="413"/>
                    <a:pt x="499" y="414"/>
                  </a:cubicBezTo>
                  <a:cubicBezTo>
                    <a:pt x="499" y="415"/>
                    <a:pt x="498" y="415"/>
                    <a:pt x="499" y="416"/>
                  </a:cubicBezTo>
                  <a:cubicBezTo>
                    <a:pt x="499" y="417"/>
                    <a:pt x="501" y="417"/>
                    <a:pt x="502" y="418"/>
                  </a:cubicBezTo>
                  <a:cubicBezTo>
                    <a:pt x="503" y="418"/>
                    <a:pt x="504" y="419"/>
                    <a:pt x="504" y="420"/>
                  </a:cubicBezTo>
                  <a:cubicBezTo>
                    <a:pt x="504" y="421"/>
                    <a:pt x="504" y="421"/>
                    <a:pt x="503" y="422"/>
                  </a:cubicBezTo>
                  <a:cubicBezTo>
                    <a:pt x="501" y="422"/>
                    <a:pt x="501" y="422"/>
                    <a:pt x="501" y="423"/>
                  </a:cubicBezTo>
                  <a:cubicBezTo>
                    <a:pt x="501" y="424"/>
                    <a:pt x="501" y="423"/>
                    <a:pt x="501" y="424"/>
                  </a:cubicBezTo>
                  <a:cubicBezTo>
                    <a:pt x="501" y="426"/>
                    <a:pt x="502" y="428"/>
                    <a:pt x="503" y="428"/>
                  </a:cubicBezTo>
                  <a:cubicBezTo>
                    <a:pt x="503" y="428"/>
                    <a:pt x="505" y="427"/>
                    <a:pt x="505" y="428"/>
                  </a:cubicBezTo>
                  <a:cubicBezTo>
                    <a:pt x="505" y="429"/>
                    <a:pt x="506" y="430"/>
                    <a:pt x="505" y="432"/>
                  </a:cubicBezTo>
                  <a:cubicBezTo>
                    <a:pt x="504" y="433"/>
                    <a:pt x="504" y="433"/>
                    <a:pt x="504" y="434"/>
                  </a:cubicBezTo>
                  <a:cubicBezTo>
                    <a:pt x="503" y="435"/>
                    <a:pt x="506" y="436"/>
                    <a:pt x="506" y="437"/>
                  </a:cubicBezTo>
                  <a:cubicBezTo>
                    <a:pt x="505" y="437"/>
                    <a:pt x="507" y="438"/>
                    <a:pt x="507" y="438"/>
                  </a:cubicBezTo>
                  <a:cubicBezTo>
                    <a:pt x="510" y="436"/>
                    <a:pt x="510" y="436"/>
                    <a:pt x="510" y="436"/>
                  </a:cubicBezTo>
                  <a:cubicBezTo>
                    <a:pt x="510" y="436"/>
                    <a:pt x="512" y="436"/>
                    <a:pt x="512" y="436"/>
                  </a:cubicBezTo>
                  <a:cubicBezTo>
                    <a:pt x="513" y="436"/>
                    <a:pt x="515" y="435"/>
                    <a:pt x="515" y="436"/>
                  </a:cubicBezTo>
                  <a:cubicBezTo>
                    <a:pt x="515" y="437"/>
                    <a:pt x="516" y="437"/>
                    <a:pt x="516" y="438"/>
                  </a:cubicBezTo>
                  <a:cubicBezTo>
                    <a:pt x="516" y="439"/>
                    <a:pt x="515" y="441"/>
                    <a:pt x="513" y="441"/>
                  </a:cubicBezTo>
                  <a:cubicBezTo>
                    <a:pt x="511" y="442"/>
                    <a:pt x="510" y="441"/>
                    <a:pt x="510" y="442"/>
                  </a:cubicBezTo>
                  <a:cubicBezTo>
                    <a:pt x="510" y="443"/>
                    <a:pt x="510" y="443"/>
                    <a:pt x="510" y="444"/>
                  </a:cubicBezTo>
                  <a:cubicBezTo>
                    <a:pt x="510" y="446"/>
                    <a:pt x="509" y="446"/>
                    <a:pt x="510" y="446"/>
                  </a:cubicBezTo>
                  <a:cubicBezTo>
                    <a:pt x="511" y="447"/>
                    <a:pt x="515" y="446"/>
                    <a:pt x="515" y="446"/>
                  </a:cubicBezTo>
                  <a:cubicBezTo>
                    <a:pt x="515" y="447"/>
                    <a:pt x="516" y="446"/>
                    <a:pt x="516" y="447"/>
                  </a:cubicBezTo>
                  <a:cubicBezTo>
                    <a:pt x="516" y="449"/>
                    <a:pt x="518" y="450"/>
                    <a:pt x="518" y="450"/>
                  </a:cubicBezTo>
                  <a:cubicBezTo>
                    <a:pt x="518" y="451"/>
                    <a:pt x="520" y="452"/>
                    <a:pt x="520" y="452"/>
                  </a:cubicBezTo>
                  <a:cubicBezTo>
                    <a:pt x="523" y="452"/>
                    <a:pt x="525" y="448"/>
                    <a:pt x="525" y="447"/>
                  </a:cubicBezTo>
                  <a:cubicBezTo>
                    <a:pt x="526" y="447"/>
                    <a:pt x="527" y="445"/>
                    <a:pt x="527" y="446"/>
                  </a:cubicBezTo>
                  <a:cubicBezTo>
                    <a:pt x="528" y="447"/>
                    <a:pt x="530" y="449"/>
                    <a:pt x="529" y="450"/>
                  </a:cubicBezTo>
                  <a:cubicBezTo>
                    <a:pt x="529" y="451"/>
                    <a:pt x="529" y="451"/>
                    <a:pt x="528" y="452"/>
                  </a:cubicBezTo>
                  <a:cubicBezTo>
                    <a:pt x="527" y="453"/>
                    <a:pt x="530" y="454"/>
                    <a:pt x="530" y="455"/>
                  </a:cubicBezTo>
                  <a:cubicBezTo>
                    <a:pt x="530" y="456"/>
                    <a:pt x="530" y="458"/>
                    <a:pt x="530" y="458"/>
                  </a:cubicBezTo>
                  <a:cubicBezTo>
                    <a:pt x="530" y="459"/>
                    <a:pt x="532" y="460"/>
                    <a:pt x="533" y="460"/>
                  </a:cubicBezTo>
                  <a:cubicBezTo>
                    <a:pt x="533" y="461"/>
                    <a:pt x="535" y="466"/>
                    <a:pt x="536" y="466"/>
                  </a:cubicBezTo>
                  <a:cubicBezTo>
                    <a:pt x="537" y="466"/>
                    <a:pt x="538" y="465"/>
                    <a:pt x="538" y="466"/>
                  </a:cubicBezTo>
                  <a:cubicBezTo>
                    <a:pt x="538" y="468"/>
                    <a:pt x="538" y="469"/>
                    <a:pt x="538" y="470"/>
                  </a:cubicBezTo>
                  <a:cubicBezTo>
                    <a:pt x="538" y="470"/>
                    <a:pt x="540" y="471"/>
                    <a:pt x="540" y="471"/>
                  </a:cubicBezTo>
                  <a:cubicBezTo>
                    <a:pt x="540" y="471"/>
                    <a:pt x="542" y="472"/>
                    <a:pt x="542" y="472"/>
                  </a:cubicBezTo>
                  <a:cubicBezTo>
                    <a:pt x="542" y="473"/>
                    <a:pt x="544" y="473"/>
                    <a:pt x="544" y="474"/>
                  </a:cubicBezTo>
                  <a:cubicBezTo>
                    <a:pt x="544" y="474"/>
                    <a:pt x="544" y="474"/>
                    <a:pt x="544" y="474"/>
                  </a:cubicBezTo>
                  <a:cubicBezTo>
                    <a:pt x="547" y="473"/>
                    <a:pt x="547" y="473"/>
                    <a:pt x="547" y="473"/>
                  </a:cubicBezTo>
                  <a:cubicBezTo>
                    <a:pt x="547" y="473"/>
                    <a:pt x="549" y="472"/>
                    <a:pt x="549" y="472"/>
                  </a:cubicBezTo>
                  <a:cubicBezTo>
                    <a:pt x="550" y="472"/>
                    <a:pt x="551" y="472"/>
                    <a:pt x="552" y="473"/>
                  </a:cubicBezTo>
                  <a:cubicBezTo>
                    <a:pt x="552" y="473"/>
                    <a:pt x="554" y="475"/>
                    <a:pt x="553" y="475"/>
                  </a:cubicBezTo>
                  <a:cubicBezTo>
                    <a:pt x="552" y="476"/>
                    <a:pt x="549" y="476"/>
                    <a:pt x="548" y="476"/>
                  </a:cubicBezTo>
                  <a:cubicBezTo>
                    <a:pt x="547" y="476"/>
                    <a:pt x="547" y="477"/>
                    <a:pt x="546" y="478"/>
                  </a:cubicBezTo>
                  <a:cubicBezTo>
                    <a:pt x="546" y="478"/>
                    <a:pt x="544" y="479"/>
                    <a:pt x="544" y="479"/>
                  </a:cubicBezTo>
                  <a:cubicBezTo>
                    <a:pt x="542" y="482"/>
                    <a:pt x="543" y="483"/>
                    <a:pt x="543" y="484"/>
                  </a:cubicBezTo>
                  <a:cubicBezTo>
                    <a:pt x="543" y="485"/>
                    <a:pt x="542" y="487"/>
                    <a:pt x="543" y="486"/>
                  </a:cubicBezTo>
                  <a:cubicBezTo>
                    <a:pt x="544" y="486"/>
                    <a:pt x="546" y="485"/>
                    <a:pt x="546" y="485"/>
                  </a:cubicBezTo>
                  <a:cubicBezTo>
                    <a:pt x="546" y="485"/>
                    <a:pt x="548" y="485"/>
                    <a:pt x="547" y="486"/>
                  </a:cubicBezTo>
                  <a:cubicBezTo>
                    <a:pt x="547" y="488"/>
                    <a:pt x="546" y="488"/>
                    <a:pt x="545" y="488"/>
                  </a:cubicBezTo>
                  <a:cubicBezTo>
                    <a:pt x="545" y="489"/>
                    <a:pt x="544" y="488"/>
                    <a:pt x="544" y="490"/>
                  </a:cubicBezTo>
                  <a:cubicBezTo>
                    <a:pt x="544" y="491"/>
                    <a:pt x="544" y="492"/>
                    <a:pt x="544" y="493"/>
                  </a:cubicBezTo>
                  <a:cubicBezTo>
                    <a:pt x="544" y="494"/>
                    <a:pt x="546" y="495"/>
                    <a:pt x="547" y="496"/>
                  </a:cubicBezTo>
                  <a:cubicBezTo>
                    <a:pt x="548" y="497"/>
                    <a:pt x="550" y="498"/>
                    <a:pt x="550" y="498"/>
                  </a:cubicBezTo>
                  <a:cubicBezTo>
                    <a:pt x="551" y="498"/>
                    <a:pt x="552" y="497"/>
                    <a:pt x="552" y="498"/>
                  </a:cubicBezTo>
                  <a:cubicBezTo>
                    <a:pt x="552" y="498"/>
                    <a:pt x="555" y="499"/>
                    <a:pt x="555" y="499"/>
                  </a:cubicBezTo>
                  <a:cubicBezTo>
                    <a:pt x="555" y="499"/>
                    <a:pt x="557" y="498"/>
                    <a:pt x="558" y="498"/>
                  </a:cubicBezTo>
                  <a:cubicBezTo>
                    <a:pt x="558" y="497"/>
                    <a:pt x="560" y="497"/>
                    <a:pt x="560" y="498"/>
                  </a:cubicBezTo>
                  <a:cubicBezTo>
                    <a:pt x="560" y="499"/>
                    <a:pt x="562" y="498"/>
                    <a:pt x="563" y="499"/>
                  </a:cubicBezTo>
                  <a:cubicBezTo>
                    <a:pt x="563" y="500"/>
                    <a:pt x="563" y="501"/>
                    <a:pt x="563" y="502"/>
                  </a:cubicBezTo>
                  <a:cubicBezTo>
                    <a:pt x="562" y="503"/>
                    <a:pt x="561" y="503"/>
                    <a:pt x="562" y="503"/>
                  </a:cubicBezTo>
                  <a:cubicBezTo>
                    <a:pt x="563" y="504"/>
                    <a:pt x="566" y="504"/>
                    <a:pt x="566" y="505"/>
                  </a:cubicBezTo>
                  <a:cubicBezTo>
                    <a:pt x="566" y="505"/>
                    <a:pt x="568" y="505"/>
                    <a:pt x="568" y="505"/>
                  </a:cubicBezTo>
                  <a:cubicBezTo>
                    <a:pt x="570" y="506"/>
                    <a:pt x="578" y="505"/>
                    <a:pt x="579" y="505"/>
                  </a:cubicBezTo>
                  <a:cubicBezTo>
                    <a:pt x="580" y="504"/>
                    <a:pt x="581" y="503"/>
                    <a:pt x="581" y="504"/>
                  </a:cubicBezTo>
                  <a:cubicBezTo>
                    <a:pt x="581" y="505"/>
                    <a:pt x="581" y="505"/>
                    <a:pt x="580" y="507"/>
                  </a:cubicBezTo>
                  <a:cubicBezTo>
                    <a:pt x="580" y="509"/>
                    <a:pt x="579" y="508"/>
                    <a:pt x="580" y="510"/>
                  </a:cubicBezTo>
                  <a:cubicBezTo>
                    <a:pt x="581" y="511"/>
                    <a:pt x="583" y="511"/>
                    <a:pt x="583" y="511"/>
                  </a:cubicBezTo>
                  <a:cubicBezTo>
                    <a:pt x="583" y="510"/>
                    <a:pt x="585" y="510"/>
                    <a:pt x="585" y="511"/>
                  </a:cubicBezTo>
                  <a:cubicBezTo>
                    <a:pt x="585" y="511"/>
                    <a:pt x="584" y="514"/>
                    <a:pt x="584" y="515"/>
                  </a:cubicBezTo>
                  <a:cubicBezTo>
                    <a:pt x="584" y="515"/>
                    <a:pt x="585" y="516"/>
                    <a:pt x="585" y="516"/>
                  </a:cubicBezTo>
                  <a:cubicBezTo>
                    <a:pt x="585" y="517"/>
                    <a:pt x="588" y="517"/>
                    <a:pt x="588" y="517"/>
                  </a:cubicBezTo>
                  <a:cubicBezTo>
                    <a:pt x="591" y="517"/>
                    <a:pt x="591" y="517"/>
                    <a:pt x="591" y="517"/>
                  </a:cubicBezTo>
                  <a:cubicBezTo>
                    <a:pt x="593" y="518"/>
                    <a:pt x="593" y="518"/>
                    <a:pt x="593" y="518"/>
                  </a:cubicBezTo>
                  <a:cubicBezTo>
                    <a:pt x="593" y="518"/>
                    <a:pt x="595" y="518"/>
                    <a:pt x="595" y="519"/>
                  </a:cubicBezTo>
                  <a:cubicBezTo>
                    <a:pt x="594" y="521"/>
                    <a:pt x="596" y="522"/>
                    <a:pt x="596" y="523"/>
                  </a:cubicBezTo>
                  <a:cubicBezTo>
                    <a:pt x="597" y="523"/>
                    <a:pt x="597" y="524"/>
                    <a:pt x="598" y="524"/>
                  </a:cubicBezTo>
                  <a:cubicBezTo>
                    <a:pt x="598" y="524"/>
                    <a:pt x="599" y="524"/>
                    <a:pt x="600" y="524"/>
                  </a:cubicBezTo>
                  <a:cubicBezTo>
                    <a:pt x="601" y="524"/>
                    <a:pt x="602" y="524"/>
                    <a:pt x="603" y="525"/>
                  </a:cubicBezTo>
                  <a:cubicBezTo>
                    <a:pt x="604" y="526"/>
                    <a:pt x="605" y="527"/>
                    <a:pt x="605" y="527"/>
                  </a:cubicBezTo>
                  <a:cubicBezTo>
                    <a:pt x="605" y="528"/>
                    <a:pt x="607" y="529"/>
                    <a:pt x="606" y="529"/>
                  </a:cubicBezTo>
                  <a:cubicBezTo>
                    <a:pt x="605" y="530"/>
                    <a:pt x="605" y="528"/>
                    <a:pt x="604" y="530"/>
                  </a:cubicBezTo>
                  <a:cubicBezTo>
                    <a:pt x="604" y="532"/>
                    <a:pt x="605" y="534"/>
                    <a:pt x="605" y="534"/>
                  </a:cubicBezTo>
                  <a:cubicBezTo>
                    <a:pt x="605" y="534"/>
                    <a:pt x="607" y="536"/>
                    <a:pt x="608" y="536"/>
                  </a:cubicBezTo>
                  <a:cubicBezTo>
                    <a:pt x="609" y="536"/>
                    <a:pt x="610" y="537"/>
                    <a:pt x="611" y="537"/>
                  </a:cubicBezTo>
                  <a:cubicBezTo>
                    <a:pt x="611" y="537"/>
                    <a:pt x="612" y="538"/>
                    <a:pt x="612" y="538"/>
                  </a:cubicBezTo>
                  <a:cubicBezTo>
                    <a:pt x="613" y="538"/>
                    <a:pt x="613" y="538"/>
                    <a:pt x="613" y="540"/>
                  </a:cubicBezTo>
                  <a:cubicBezTo>
                    <a:pt x="613" y="541"/>
                    <a:pt x="611" y="541"/>
                    <a:pt x="611" y="541"/>
                  </a:cubicBezTo>
                  <a:cubicBezTo>
                    <a:pt x="610" y="542"/>
                    <a:pt x="609" y="542"/>
                    <a:pt x="610" y="543"/>
                  </a:cubicBezTo>
                  <a:cubicBezTo>
                    <a:pt x="610" y="544"/>
                    <a:pt x="612" y="545"/>
                    <a:pt x="611" y="545"/>
                  </a:cubicBezTo>
                  <a:cubicBezTo>
                    <a:pt x="608" y="546"/>
                    <a:pt x="607" y="546"/>
                    <a:pt x="606" y="546"/>
                  </a:cubicBezTo>
                  <a:cubicBezTo>
                    <a:pt x="605" y="546"/>
                    <a:pt x="603" y="546"/>
                    <a:pt x="602" y="546"/>
                  </a:cubicBezTo>
                  <a:cubicBezTo>
                    <a:pt x="601" y="546"/>
                    <a:pt x="600" y="546"/>
                    <a:pt x="599" y="547"/>
                  </a:cubicBezTo>
                  <a:cubicBezTo>
                    <a:pt x="598" y="547"/>
                    <a:pt x="596" y="547"/>
                    <a:pt x="595" y="546"/>
                  </a:cubicBezTo>
                  <a:cubicBezTo>
                    <a:pt x="595" y="545"/>
                    <a:pt x="595" y="545"/>
                    <a:pt x="593" y="544"/>
                  </a:cubicBezTo>
                  <a:cubicBezTo>
                    <a:pt x="590" y="542"/>
                    <a:pt x="590" y="542"/>
                    <a:pt x="589" y="542"/>
                  </a:cubicBezTo>
                  <a:cubicBezTo>
                    <a:pt x="588" y="543"/>
                    <a:pt x="588" y="542"/>
                    <a:pt x="587" y="543"/>
                  </a:cubicBezTo>
                  <a:cubicBezTo>
                    <a:pt x="586" y="543"/>
                    <a:pt x="586" y="542"/>
                    <a:pt x="586" y="543"/>
                  </a:cubicBezTo>
                  <a:cubicBezTo>
                    <a:pt x="585" y="543"/>
                    <a:pt x="585" y="543"/>
                    <a:pt x="585" y="545"/>
                  </a:cubicBezTo>
                  <a:cubicBezTo>
                    <a:pt x="585" y="546"/>
                    <a:pt x="587" y="548"/>
                    <a:pt x="587" y="548"/>
                  </a:cubicBezTo>
                  <a:cubicBezTo>
                    <a:pt x="587" y="549"/>
                    <a:pt x="586" y="549"/>
                    <a:pt x="585" y="550"/>
                  </a:cubicBezTo>
                  <a:cubicBezTo>
                    <a:pt x="585" y="552"/>
                    <a:pt x="585" y="552"/>
                    <a:pt x="585" y="553"/>
                  </a:cubicBezTo>
                  <a:cubicBezTo>
                    <a:pt x="585" y="554"/>
                    <a:pt x="586" y="554"/>
                    <a:pt x="587" y="555"/>
                  </a:cubicBezTo>
                  <a:cubicBezTo>
                    <a:pt x="588" y="556"/>
                    <a:pt x="588" y="555"/>
                    <a:pt x="589" y="557"/>
                  </a:cubicBezTo>
                  <a:cubicBezTo>
                    <a:pt x="590" y="559"/>
                    <a:pt x="592" y="558"/>
                    <a:pt x="592" y="559"/>
                  </a:cubicBezTo>
                  <a:cubicBezTo>
                    <a:pt x="592" y="560"/>
                    <a:pt x="593" y="564"/>
                    <a:pt x="593" y="565"/>
                  </a:cubicBezTo>
                  <a:cubicBezTo>
                    <a:pt x="593" y="566"/>
                    <a:pt x="593" y="567"/>
                    <a:pt x="593" y="568"/>
                  </a:cubicBezTo>
                  <a:cubicBezTo>
                    <a:pt x="593" y="569"/>
                    <a:pt x="593" y="570"/>
                    <a:pt x="593" y="571"/>
                  </a:cubicBezTo>
                  <a:cubicBezTo>
                    <a:pt x="594" y="572"/>
                    <a:pt x="595" y="573"/>
                    <a:pt x="595" y="574"/>
                  </a:cubicBezTo>
                  <a:cubicBezTo>
                    <a:pt x="595" y="575"/>
                    <a:pt x="593" y="576"/>
                    <a:pt x="593" y="577"/>
                  </a:cubicBezTo>
                  <a:cubicBezTo>
                    <a:pt x="593" y="577"/>
                    <a:pt x="594" y="578"/>
                    <a:pt x="594" y="580"/>
                  </a:cubicBezTo>
                  <a:cubicBezTo>
                    <a:pt x="595" y="582"/>
                    <a:pt x="596" y="581"/>
                    <a:pt x="595" y="583"/>
                  </a:cubicBezTo>
                  <a:cubicBezTo>
                    <a:pt x="594" y="584"/>
                    <a:pt x="593" y="586"/>
                    <a:pt x="593" y="586"/>
                  </a:cubicBezTo>
                  <a:cubicBezTo>
                    <a:pt x="593" y="593"/>
                    <a:pt x="593" y="593"/>
                    <a:pt x="593" y="593"/>
                  </a:cubicBezTo>
                  <a:cubicBezTo>
                    <a:pt x="593" y="593"/>
                    <a:pt x="592" y="597"/>
                    <a:pt x="592" y="598"/>
                  </a:cubicBezTo>
                  <a:cubicBezTo>
                    <a:pt x="592" y="600"/>
                    <a:pt x="592" y="600"/>
                    <a:pt x="592" y="601"/>
                  </a:cubicBezTo>
                  <a:cubicBezTo>
                    <a:pt x="592" y="601"/>
                    <a:pt x="592" y="602"/>
                    <a:pt x="592" y="603"/>
                  </a:cubicBezTo>
                  <a:cubicBezTo>
                    <a:pt x="592" y="604"/>
                    <a:pt x="592" y="603"/>
                    <a:pt x="592" y="604"/>
                  </a:cubicBezTo>
                  <a:cubicBezTo>
                    <a:pt x="593" y="606"/>
                    <a:pt x="592" y="606"/>
                    <a:pt x="592" y="607"/>
                  </a:cubicBezTo>
                  <a:cubicBezTo>
                    <a:pt x="592" y="609"/>
                    <a:pt x="592" y="610"/>
                    <a:pt x="592" y="611"/>
                  </a:cubicBezTo>
                  <a:cubicBezTo>
                    <a:pt x="591" y="612"/>
                    <a:pt x="592" y="613"/>
                    <a:pt x="592" y="615"/>
                  </a:cubicBezTo>
                  <a:cubicBezTo>
                    <a:pt x="592" y="616"/>
                    <a:pt x="592" y="617"/>
                    <a:pt x="592" y="618"/>
                  </a:cubicBezTo>
                  <a:cubicBezTo>
                    <a:pt x="592" y="618"/>
                    <a:pt x="593" y="619"/>
                    <a:pt x="592" y="620"/>
                  </a:cubicBezTo>
                  <a:cubicBezTo>
                    <a:pt x="591" y="621"/>
                    <a:pt x="591" y="621"/>
                    <a:pt x="590" y="621"/>
                  </a:cubicBezTo>
                  <a:cubicBezTo>
                    <a:pt x="590" y="622"/>
                    <a:pt x="589" y="622"/>
                    <a:pt x="589" y="623"/>
                  </a:cubicBezTo>
                  <a:cubicBezTo>
                    <a:pt x="589" y="624"/>
                    <a:pt x="590" y="625"/>
                    <a:pt x="589" y="626"/>
                  </a:cubicBezTo>
                  <a:cubicBezTo>
                    <a:pt x="588" y="628"/>
                    <a:pt x="588" y="629"/>
                    <a:pt x="588" y="629"/>
                  </a:cubicBezTo>
                  <a:cubicBezTo>
                    <a:pt x="587" y="630"/>
                    <a:pt x="588" y="630"/>
                    <a:pt x="588" y="631"/>
                  </a:cubicBezTo>
                  <a:cubicBezTo>
                    <a:pt x="588" y="633"/>
                    <a:pt x="588" y="632"/>
                    <a:pt x="587" y="634"/>
                  </a:cubicBezTo>
                  <a:cubicBezTo>
                    <a:pt x="586" y="636"/>
                    <a:pt x="584" y="635"/>
                    <a:pt x="586" y="638"/>
                  </a:cubicBezTo>
                  <a:cubicBezTo>
                    <a:pt x="587" y="641"/>
                    <a:pt x="590" y="647"/>
                    <a:pt x="590" y="647"/>
                  </a:cubicBezTo>
                  <a:cubicBezTo>
                    <a:pt x="591" y="648"/>
                    <a:pt x="592" y="648"/>
                    <a:pt x="591" y="650"/>
                  </a:cubicBezTo>
                  <a:cubicBezTo>
                    <a:pt x="591" y="652"/>
                    <a:pt x="589" y="650"/>
                    <a:pt x="590" y="652"/>
                  </a:cubicBezTo>
                  <a:cubicBezTo>
                    <a:pt x="590" y="654"/>
                    <a:pt x="590" y="654"/>
                    <a:pt x="591" y="656"/>
                  </a:cubicBezTo>
                  <a:cubicBezTo>
                    <a:pt x="591" y="658"/>
                    <a:pt x="592" y="659"/>
                    <a:pt x="592" y="660"/>
                  </a:cubicBezTo>
                  <a:cubicBezTo>
                    <a:pt x="592" y="661"/>
                    <a:pt x="593" y="660"/>
                    <a:pt x="592" y="662"/>
                  </a:cubicBezTo>
                  <a:cubicBezTo>
                    <a:pt x="592" y="664"/>
                    <a:pt x="591" y="664"/>
                    <a:pt x="591" y="665"/>
                  </a:cubicBezTo>
                  <a:cubicBezTo>
                    <a:pt x="591" y="667"/>
                    <a:pt x="592" y="664"/>
                    <a:pt x="591" y="667"/>
                  </a:cubicBezTo>
                  <a:cubicBezTo>
                    <a:pt x="590" y="670"/>
                    <a:pt x="591" y="667"/>
                    <a:pt x="590" y="670"/>
                  </a:cubicBezTo>
                  <a:cubicBezTo>
                    <a:pt x="589" y="672"/>
                    <a:pt x="588" y="669"/>
                    <a:pt x="588" y="673"/>
                  </a:cubicBezTo>
                  <a:cubicBezTo>
                    <a:pt x="589" y="676"/>
                    <a:pt x="588" y="675"/>
                    <a:pt x="589" y="677"/>
                  </a:cubicBezTo>
                  <a:cubicBezTo>
                    <a:pt x="590" y="679"/>
                    <a:pt x="591" y="679"/>
                    <a:pt x="591" y="680"/>
                  </a:cubicBezTo>
                  <a:cubicBezTo>
                    <a:pt x="592" y="681"/>
                    <a:pt x="594" y="680"/>
                    <a:pt x="594" y="682"/>
                  </a:cubicBezTo>
                  <a:cubicBezTo>
                    <a:pt x="594" y="684"/>
                    <a:pt x="595" y="684"/>
                    <a:pt x="595" y="686"/>
                  </a:cubicBezTo>
                  <a:cubicBezTo>
                    <a:pt x="595" y="687"/>
                    <a:pt x="597" y="688"/>
                    <a:pt x="596" y="690"/>
                  </a:cubicBezTo>
                  <a:cubicBezTo>
                    <a:pt x="595" y="693"/>
                    <a:pt x="598" y="697"/>
                    <a:pt x="598" y="699"/>
                  </a:cubicBezTo>
                  <a:cubicBezTo>
                    <a:pt x="598" y="700"/>
                    <a:pt x="597" y="699"/>
                    <a:pt x="598" y="701"/>
                  </a:cubicBezTo>
                  <a:cubicBezTo>
                    <a:pt x="599" y="702"/>
                    <a:pt x="600" y="701"/>
                    <a:pt x="601" y="703"/>
                  </a:cubicBezTo>
                  <a:cubicBezTo>
                    <a:pt x="602" y="704"/>
                    <a:pt x="602" y="704"/>
                    <a:pt x="603" y="705"/>
                  </a:cubicBezTo>
                  <a:cubicBezTo>
                    <a:pt x="603" y="706"/>
                    <a:pt x="605" y="708"/>
                    <a:pt x="605" y="708"/>
                  </a:cubicBezTo>
                  <a:cubicBezTo>
                    <a:pt x="606" y="709"/>
                    <a:pt x="606" y="708"/>
                    <a:pt x="607" y="710"/>
                  </a:cubicBezTo>
                  <a:cubicBezTo>
                    <a:pt x="607" y="712"/>
                    <a:pt x="609" y="711"/>
                    <a:pt x="609" y="712"/>
                  </a:cubicBezTo>
                  <a:cubicBezTo>
                    <a:pt x="609" y="712"/>
                    <a:pt x="610" y="711"/>
                    <a:pt x="610" y="712"/>
                  </a:cubicBezTo>
                  <a:cubicBezTo>
                    <a:pt x="610" y="714"/>
                    <a:pt x="610" y="715"/>
                    <a:pt x="611" y="715"/>
                  </a:cubicBezTo>
                  <a:cubicBezTo>
                    <a:pt x="612" y="715"/>
                    <a:pt x="613" y="713"/>
                    <a:pt x="614" y="714"/>
                  </a:cubicBezTo>
                  <a:cubicBezTo>
                    <a:pt x="614" y="714"/>
                    <a:pt x="615" y="713"/>
                    <a:pt x="615" y="713"/>
                  </a:cubicBezTo>
                  <a:cubicBezTo>
                    <a:pt x="616" y="712"/>
                    <a:pt x="617" y="712"/>
                    <a:pt x="618" y="712"/>
                  </a:cubicBezTo>
                  <a:cubicBezTo>
                    <a:pt x="619" y="712"/>
                    <a:pt x="620" y="712"/>
                    <a:pt x="621" y="712"/>
                  </a:cubicBezTo>
                  <a:cubicBezTo>
                    <a:pt x="623" y="712"/>
                    <a:pt x="623" y="712"/>
                    <a:pt x="624" y="712"/>
                  </a:cubicBezTo>
                  <a:cubicBezTo>
                    <a:pt x="624" y="712"/>
                    <a:pt x="627" y="712"/>
                    <a:pt x="626" y="712"/>
                  </a:cubicBezTo>
                  <a:cubicBezTo>
                    <a:pt x="624" y="713"/>
                    <a:pt x="623" y="713"/>
                    <a:pt x="622" y="713"/>
                  </a:cubicBezTo>
                  <a:cubicBezTo>
                    <a:pt x="621" y="714"/>
                    <a:pt x="621" y="713"/>
                    <a:pt x="620" y="714"/>
                  </a:cubicBezTo>
                  <a:cubicBezTo>
                    <a:pt x="619" y="714"/>
                    <a:pt x="618" y="714"/>
                    <a:pt x="618" y="714"/>
                  </a:cubicBezTo>
                  <a:cubicBezTo>
                    <a:pt x="616" y="716"/>
                    <a:pt x="615" y="717"/>
                    <a:pt x="616" y="718"/>
                  </a:cubicBezTo>
                  <a:cubicBezTo>
                    <a:pt x="616" y="719"/>
                    <a:pt x="617" y="719"/>
                    <a:pt x="616" y="719"/>
                  </a:cubicBezTo>
                  <a:cubicBezTo>
                    <a:pt x="615" y="723"/>
                    <a:pt x="613" y="720"/>
                    <a:pt x="615" y="723"/>
                  </a:cubicBezTo>
                  <a:cubicBezTo>
                    <a:pt x="616" y="725"/>
                    <a:pt x="616" y="726"/>
                    <a:pt x="617" y="727"/>
                  </a:cubicBezTo>
                  <a:cubicBezTo>
                    <a:pt x="618" y="728"/>
                    <a:pt x="619" y="729"/>
                    <a:pt x="620" y="729"/>
                  </a:cubicBezTo>
                  <a:cubicBezTo>
                    <a:pt x="620" y="729"/>
                    <a:pt x="621" y="728"/>
                    <a:pt x="621" y="729"/>
                  </a:cubicBezTo>
                  <a:cubicBezTo>
                    <a:pt x="622" y="731"/>
                    <a:pt x="622" y="732"/>
                    <a:pt x="622" y="734"/>
                  </a:cubicBezTo>
                  <a:cubicBezTo>
                    <a:pt x="622" y="735"/>
                    <a:pt x="621" y="737"/>
                    <a:pt x="622" y="738"/>
                  </a:cubicBezTo>
                  <a:cubicBezTo>
                    <a:pt x="622" y="739"/>
                    <a:pt x="623" y="740"/>
                    <a:pt x="623" y="740"/>
                  </a:cubicBezTo>
                  <a:cubicBezTo>
                    <a:pt x="624" y="741"/>
                    <a:pt x="627" y="745"/>
                    <a:pt x="628" y="745"/>
                  </a:cubicBezTo>
                  <a:cubicBezTo>
                    <a:pt x="628" y="746"/>
                    <a:pt x="629" y="746"/>
                    <a:pt x="630" y="747"/>
                  </a:cubicBezTo>
                  <a:cubicBezTo>
                    <a:pt x="631" y="748"/>
                    <a:pt x="631" y="748"/>
                    <a:pt x="632" y="749"/>
                  </a:cubicBezTo>
                  <a:cubicBezTo>
                    <a:pt x="632" y="750"/>
                    <a:pt x="632" y="751"/>
                    <a:pt x="632" y="751"/>
                  </a:cubicBezTo>
                  <a:cubicBezTo>
                    <a:pt x="634" y="753"/>
                    <a:pt x="635" y="753"/>
                    <a:pt x="636" y="754"/>
                  </a:cubicBezTo>
                  <a:cubicBezTo>
                    <a:pt x="636" y="755"/>
                    <a:pt x="636" y="754"/>
                    <a:pt x="636" y="756"/>
                  </a:cubicBezTo>
                  <a:cubicBezTo>
                    <a:pt x="636" y="757"/>
                    <a:pt x="636" y="756"/>
                    <a:pt x="636" y="758"/>
                  </a:cubicBezTo>
                  <a:cubicBezTo>
                    <a:pt x="636" y="761"/>
                    <a:pt x="637" y="759"/>
                    <a:pt x="637" y="761"/>
                  </a:cubicBezTo>
                  <a:cubicBezTo>
                    <a:pt x="638" y="763"/>
                    <a:pt x="638" y="760"/>
                    <a:pt x="638" y="763"/>
                  </a:cubicBezTo>
                  <a:cubicBezTo>
                    <a:pt x="638" y="766"/>
                    <a:pt x="638" y="765"/>
                    <a:pt x="639" y="766"/>
                  </a:cubicBezTo>
                  <a:cubicBezTo>
                    <a:pt x="640" y="767"/>
                    <a:pt x="641" y="767"/>
                    <a:pt x="641" y="768"/>
                  </a:cubicBezTo>
                  <a:cubicBezTo>
                    <a:pt x="642" y="768"/>
                    <a:pt x="643" y="767"/>
                    <a:pt x="643" y="768"/>
                  </a:cubicBezTo>
                  <a:cubicBezTo>
                    <a:pt x="644" y="769"/>
                    <a:pt x="646" y="768"/>
                    <a:pt x="646" y="768"/>
                  </a:cubicBezTo>
                  <a:cubicBezTo>
                    <a:pt x="646" y="768"/>
                    <a:pt x="645" y="767"/>
                    <a:pt x="648" y="768"/>
                  </a:cubicBezTo>
                  <a:cubicBezTo>
                    <a:pt x="651" y="770"/>
                    <a:pt x="657" y="769"/>
                    <a:pt x="657" y="770"/>
                  </a:cubicBezTo>
                  <a:cubicBezTo>
                    <a:pt x="658" y="770"/>
                    <a:pt x="660" y="770"/>
                    <a:pt x="660" y="771"/>
                  </a:cubicBezTo>
                  <a:cubicBezTo>
                    <a:pt x="660" y="772"/>
                    <a:pt x="662" y="772"/>
                    <a:pt x="662" y="773"/>
                  </a:cubicBezTo>
                  <a:cubicBezTo>
                    <a:pt x="662" y="774"/>
                    <a:pt x="663" y="773"/>
                    <a:pt x="663" y="774"/>
                  </a:cubicBezTo>
                  <a:cubicBezTo>
                    <a:pt x="664" y="776"/>
                    <a:pt x="664" y="775"/>
                    <a:pt x="665" y="775"/>
                  </a:cubicBezTo>
                  <a:cubicBezTo>
                    <a:pt x="666" y="775"/>
                    <a:pt x="666" y="774"/>
                    <a:pt x="667" y="775"/>
                  </a:cubicBezTo>
                  <a:cubicBezTo>
                    <a:pt x="668" y="776"/>
                    <a:pt x="668" y="775"/>
                    <a:pt x="669" y="775"/>
                  </a:cubicBezTo>
                  <a:cubicBezTo>
                    <a:pt x="670" y="776"/>
                    <a:pt x="670" y="776"/>
                    <a:pt x="671" y="776"/>
                  </a:cubicBezTo>
                  <a:cubicBezTo>
                    <a:pt x="671" y="776"/>
                    <a:pt x="672" y="776"/>
                    <a:pt x="672" y="777"/>
                  </a:cubicBezTo>
                  <a:cubicBezTo>
                    <a:pt x="673" y="778"/>
                    <a:pt x="673" y="778"/>
                    <a:pt x="674" y="779"/>
                  </a:cubicBezTo>
                  <a:cubicBezTo>
                    <a:pt x="674" y="780"/>
                    <a:pt x="675" y="780"/>
                    <a:pt x="676" y="781"/>
                  </a:cubicBezTo>
                  <a:cubicBezTo>
                    <a:pt x="676" y="782"/>
                    <a:pt x="677" y="781"/>
                    <a:pt x="678" y="782"/>
                  </a:cubicBezTo>
                  <a:cubicBezTo>
                    <a:pt x="678" y="783"/>
                    <a:pt x="679" y="783"/>
                    <a:pt x="680" y="784"/>
                  </a:cubicBezTo>
                  <a:cubicBezTo>
                    <a:pt x="681" y="785"/>
                    <a:pt x="684" y="790"/>
                    <a:pt x="684" y="791"/>
                  </a:cubicBezTo>
                  <a:cubicBezTo>
                    <a:pt x="685" y="792"/>
                    <a:pt x="686" y="795"/>
                    <a:pt x="686" y="796"/>
                  </a:cubicBezTo>
                  <a:cubicBezTo>
                    <a:pt x="686" y="796"/>
                    <a:pt x="686" y="796"/>
                    <a:pt x="686" y="796"/>
                  </a:cubicBezTo>
                  <a:cubicBezTo>
                    <a:pt x="685" y="797"/>
                    <a:pt x="685" y="796"/>
                    <a:pt x="686" y="797"/>
                  </a:cubicBezTo>
                  <a:cubicBezTo>
                    <a:pt x="686" y="798"/>
                    <a:pt x="685" y="797"/>
                    <a:pt x="686" y="798"/>
                  </a:cubicBezTo>
                  <a:cubicBezTo>
                    <a:pt x="687" y="800"/>
                    <a:pt x="688" y="800"/>
                    <a:pt x="688" y="802"/>
                  </a:cubicBezTo>
                  <a:cubicBezTo>
                    <a:pt x="688" y="803"/>
                    <a:pt x="689" y="803"/>
                    <a:pt x="689" y="804"/>
                  </a:cubicBezTo>
                  <a:cubicBezTo>
                    <a:pt x="690" y="806"/>
                    <a:pt x="691" y="807"/>
                    <a:pt x="691" y="807"/>
                  </a:cubicBezTo>
                  <a:cubicBezTo>
                    <a:pt x="691" y="807"/>
                    <a:pt x="692" y="808"/>
                    <a:pt x="692" y="809"/>
                  </a:cubicBezTo>
                  <a:cubicBezTo>
                    <a:pt x="693" y="810"/>
                    <a:pt x="695" y="812"/>
                    <a:pt x="695" y="813"/>
                  </a:cubicBezTo>
                  <a:cubicBezTo>
                    <a:pt x="695" y="815"/>
                    <a:pt x="698" y="818"/>
                    <a:pt x="699" y="820"/>
                  </a:cubicBezTo>
                  <a:cubicBezTo>
                    <a:pt x="700" y="821"/>
                    <a:pt x="702" y="821"/>
                    <a:pt x="702" y="823"/>
                  </a:cubicBezTo>
                  <a:cubicBezTo>
                    <a:pt x="702" y="825"/>
                    <a:pt x="702" y="825"/>
                    <a:pt x="702" y="826"/>
                  </a:cubicBezTo>
                  <a:cubicBezTo>
                    <a:pt x="702" y="827"/>
                    <a:pt x="703" y="826"/>
                    <a:pt x="703" y="828"/>
                  </a:cubicBezTo>
                  <a:cubicBezTo>
                    <a:pt x="703" y="831"/>
                    <a:pt x="704" y="831"/>
                    <a:pt x="704" y="832"/>
                  </a:cubicBezTo>
                  <a:cubicBezTo>
                    <a:pt x="704" y="834"/>
                    <a:pt x="706" y="834"/>
                    <a:pt x="705" y="835"/>
                  </a:cubicBezTo>
                  <a:cubicBezTo>
                    <a:pt x="705" y="836"/>
                    <a:pt x="705" y="836"/>
                    <a:pt x="705" y="837"/>
                  </a:cubicBezTo>
                  <a:cubicBezTo>
                    <a:pt x="706" y="838"/>
                    <a:pt x="706" y="838"/>
                    <a:pt x="706" y="839"/>
                  </a:cubicBezTo>
                  <a:cubicBezTo>
                    <a:pt x="707" y="840"/>
                    <a:pt x="707" y="840"/>
                    <a:pt x="708" y="840"/>
                  </a:cubicBezTo>
                  <a:cubicBezTo>
                    <a:pt x="709" y="841"/>
                    <a:pt x="711" y="843"/>
                    <a:pt x="711" y="843"/>
                  </a:cubicBezTo>
                  <a:cubicBezTo>
                    <a:pt x="714" y="845"/>
                    <a:pt x="714" y="845"/>
                    <a:pt x="714" y="845"/>
                  </a:cubicBezTo>
                  <a:cubicBezTo>
                    <a:pt x="717" y="847"/>
                    <a:pt x="717" y="847"/>
                    <a:pt x="717" y="847"/>
                  </a:cubicBezTo>
                  <a:cubicBezTo>
                    <a:pt x="721" y="850"/>
                    <a:pt x="721" y="850"/>
                    <a:pt x="721" y="850"/>
                  </a:cubicBezTo>
                  <a:cubicBezTo>
                    <a:pt x="721" y="850"/>
                    <a:pt x="722" y="852"/>
                    <a:pt x="723" y="852"/>
                  </a:cubicBezTo>
                  <a:cubicBezTo>
                    <a:pt x="723" y="852"/>
                    <a:pt x="724" y="853"/>
                    <a:pt x="725" y="853"/>
                  </a:cubicBezTo>
                  <a:cubicBezTo>
                    <a:pt x="725" y="854"/>
                    <a:pt x="727" y="856"/>
                    <a:pt x="727" y="856"/>
                  </a:cubicBezTo>
                  <a:cubicBezTo>
                    <a:pt x="727" y="856"/>
                    <a:pt x="727" y="857"/>
                    <a:pt x="728" y="857"/>
                  </a:cubicBezTo>
                  <a:cubicBezTo>
                    <a:pt x="728" y="858"/>
                    <a:pt x="729" y="860"/>
                    <a:pt x="729" y="861"/>
                  </a:cubicBezTo>
                  <a:cubicBezTo>
                    <a:pt x="729" y="862"/>
                    <a:pt x="729" y="863"/>
                    <a:pt x="729" y="863"/>
                  </a:cubicBezTo>
                  <a:cubicBezTo>
                    <a:pt x="729" y="865"/>
                    <a:pt x="729" y="866"/>
                    <a:pt x="729" y="866"/>
                  </a:cubicBezTo>
                  <a:cubicBezTo>
                    <a:pt x="728" y="867"/>
                    <a:pt x="727" y="865"/>
                    <a:pt x="727" y="866"/>
                  </a:cubicBezTo>
                  <a:cubicBezTo>
                    <a:pt x="726" y="867"/>
                    <a:pt x="725" y="867"/>
                    <a:pt x="724" y="866"/>
                  </a:cubicBezTo>
                  <a:cubicBezTo>
                    <a:pt x="723" y="865"/>
                    <a:pt x="724" y="865"/>
                    <a:pt x="722" y="865"/>
                  </a:cubicBezTo>
                  <a:cubicBezTo>
                    <a:pt x="721" y="865"/>
                    <a:pt x="721" y="865"/>
                    <a:pt x="720" y="866"/>
                  </a:cubicBezTo>
                  <a:cubicBezTo>
                    <a:pt x="719" y="866"/>
                    <a:pt x="718" y="866"/>
                    <a:pt x="717" y="866"/>
                  </a:cubicBezTo>
                  <a:cubicBezTo>
                    <a:pt x="717" y="867"/>
                    <a:pt x="716" y="866"/>
                    <a:pt x="715" y="867"/>
                  </a:cubicBezTo>
                  <a:cubicBezTo>
                    <a:pt x="714" y="868"/>
                    <a:pt x="715" y="868"/>
                    <a:pt x="715" y="869"/>
                  </a:cubicBezTo>
                  <a:cubicBezTo>
                    <a:pt x="716" y="870"/>
                    <a:pt x="718" y="869"/>
                    <a:pt x="718" y="870"/>
                  </a:cubicBezTo>
                  <a:cubicBezTo>
                    <a:pt x="719" y="871"/>
                    <a:pt x="721" y="872"/>
                    <a:pt x="721" y="873"/>
                  </a:cubicBezTo>
                  <a:cubicBezTo>
                    <a:pt x="722" y="874"/>
                    <a:pt x="723" y="875"/>
                    <a:pt x="724" y="876"/>
                  </a:cubicBezTo>
                  <a:cubicBezTo>
                    <a:pt x="725" y="878"/>
                    <a:pt x="724" y="878"/>
                    <a:pt x="725" y="878"/>
                  </a:cubicBezTo>
                  <a:cubicBezTo>
                    <a:pt x="727" y="878"/>
                    <a:pt x="728" y="878"/>
                    <a:pt x="729" y="879"/>
                  </a:cubicBezTo>
                  <a:cubicBezTo>
                    <a:pt x="730" y="879"/>
                    <a:pt x="730" y="880"/>
                    <a:pt x="732" y="881"/>
                  </a:cubicBezTo>
                  <a:cubicBezTo>
                    <a:pt x="733" y="882"/>
                    <a:pt x="735" y="882"/>
                    <a:pt x="735" y="882"/>
                  </a:cubicBezTo>
                  <a:cubicBezTo>
                    <a:pt x="736" y="883"/>
                    <a:pt x="736" y="883"/>
                    <a:pt x="737" y="883"/>
                  </a:cubicBezTo>
                  <a:cubicBezTo>
                    <a:pt x="738" y="884"/>
                    <a:pt x="739" y="883"/>
                    <a:pt x="739" y="884"/>
                  </a:cubicBezTo>
                  <a:cubicBezTo>
                    <a:pt x="740" y="884"/>
                    <a:pt x="740" y="883"/>
                    <a:pt x="741" y="884"/>
                  </a:cubicBezTo>
                  <a:cubicBezTo>
                    <a:pt x="742" y="885"/>
                    <a:pt x="743" y="884"/>
                    <a:pt x="744" y="886"/>
                  </a:cubicBezTo>
                  <a:cubicBezTo>
                    <a:pt x="746" y="888"/>
                    <a:pt x="749" y="889"/>
                    <a:pt x="750" y="890"/>
                  </a:cubicBezTo>
                  <a:cubicBezTo>
                    <a:pt x="750" y="891"/>
                    <a:pt x="751" y="891"/>
                    <a:pt x="752" y="892"/>
                  </a:cubicBezTo>
                  <a:cubicBezTo>
                    <a:pt x="753" y="893"/>
                    <a:pt x="754" y="893"/>
                    <a:pt x="754" y="894"/>
                  </a:cubicBezTo>
                  <a:cubicBezTo>
                    <a:pt x="754" y="895"/>
                    <a:pt x="755" y="896"/>
                    <a:pt x="754" y="897"/>
                  </a:cubicBezTo>
                  <a:cubicBezTo>
                    <a:pt x="754" y="899"/>
                    <a:pt x="755" y="899"/>
                    <a:pt x="754" y="901"/>
                  </a:cubicBezTo>
                  <a:cubicBezTo>
                    <a:pt x="753" y="902"/>
                    <a:pt x="754" y="901"/>
                    <a:pt x="753" y="904"/>
                  </a:cubicBezTo>
                  <a:cubicBezTo>
                    <a:pt x="752" y="906"/>
                    <a:pt x="753" y="905"/>
                    <a:pt x="753" y="907"/>
                  </a:cubicBezTo>
                  <a:cubicBezTo>
                    <a:pt x="753" y="909"/>
                    <a:pt x="753" y="908"/>
                    <a:pt x="754" y="910"/>
                  </a:cubicBezTo>
                  <a:cubicBezTo>
                    <a:pt x="755" y="912"/>
                    <a:pt x="755" y="912"/>
                    <a:pt x="757" y="913"/>
                  </a:cubicBezTo>
                  <a:cubicBezTo>
                    <a:pt x="759" y="914"/>
                    <a:pt x="759" y="914"/>
                    <a:pt x="761" y="915"/>
                  </a:cubicBezTo>
                  <a:cubicBezTo>
                    <a:pt x="763" y="916"/>
                    <a:pt x="764" y="917"/>
                    <a:pt x="765" y="918"/>
                  </a:cubicBezTo>
                  <a:cubicBezTo>
                    <a:pt x="767" y="919"/>
                    <a:pt x="771" y="922"/>
                    <a:pt x="771" y="923"/>
                  </a:cubicBezTo>
                  <a:cubicBezTo>
                    <a:pt x="772" y="923"/>
                    <a:pt x="772" y="925"/>
                    <a:pt x="773" y="925"/>
                  </a:cubicBezTo>
                  <a:cubicBezTo>
                    <a:pt x="773" y="926"/>
                    <a:pt x="775" y="926"/>
                    <a:pt x="776" y="927"/>
                  </a:cubicBezTo>
                  <a:cubicBezTo>
                    <a:pt x="776" y="927"/>
                    <a:pt x="778" y="928"/>
                    <a:pt x="778" y="929"/>
                  </a:cubicBezTo>
                  <a:cubicBezTo>
                    <a:pt x="779" y="930"/>
                    <a:pt x="779" y="929"/>
                    <a:pt x="780" y="930"/>
                  </a:cubicBezTo>
                  <a:cubicBezTo>
                    <a:pt x="781" y="932"/>
                    <a:pt x="782" y="930"/>
                    <a:pt x="782" y="933"/>
                  </a:cubicBezTo>
                  <a:cubicBezTo>
                    <a:pt x="782" y="935"/>
                    <a:pt x="782" y="936"/>
                    <a:pt x="783" y="937"/>
                  </a:cubicBezTo>
                  <a:cubicBezTo>
                    <a:pt x="785" y="937"/>
                    <a:pt x="786" y="937"/>
                    <a:pt x="787" y="937"/>
                  </a:cubicBezTo>
                  <a:cubicBezTo>
                    <a:pt x="788" y="937"/>
                    <a:pt x="791" y="934"/>
                    <a:pt x="791" y="934"/>
                  </a:cubicBezTo>
                  <a:cubicBezTo>
                    <a:pt x="791" y="932"/>
                    <a:pt x="791" y="932"/>
                    <a:pt x="791" y="932"/>
                  </a:cubicBezTo>
                  <a:cubicBezTo>
                    <a:pt x="791" y="932"/>
                    <a:pt x="790" y="930"/>
                    <a:pt x="790" y="930"/>
                  </a:cubicBezTo>
                  <a:cubicBezTo>
                    <a:pt x="789" y="929"/>
                    <a:pt x="789" y="928"/>
                    <a:pt x="788" y="927"/>
                  </a:cubicBezTo>
                  <a:cubicBezTo>
                    <a:pt x="787" y="927"/>
                    <a:pt x="787" y="926"/>
                    <a:pt x="787" y="925"/>
                  </a:cubicBezTo>
                  <a:cubicBezTo>
                    <a:pt x="787" y="924"/>
                    <a:pt x="787" y="924"/>
                    <a:pt x="787" y="923"/>
                  </a:cubicBezTo>
                  <a:cubicBezTo>
                    <a:pt x="786" y="921"/>
                    <a:pt x="786" y="922"/>
                    <a:pt x="785" y="920"/>
                  </a:cubicBezTo>
                  <a:cubicBezTo>
                    <a:pt x="785" y="918"/>
                    <a:pt x="783" y="919"/>
                    <a:pt x="782" y="919"/>
                  </a:cubicBezTo>
                  <a:cubicBezTo>
                    <a:pt x="782" y="919"/>
                    <a:pt x="779" y="919"/>
                    <a:pt x="779" y="918"/>
                  </a:cubicBezTo>
                  <a:cubicBezTo>
                    <a:pt x="778" y="918"/>
                    <a:pt x="776" y="916"/>
                    <a:pt x="776" y="916"/>
                  </a:cubicBezTo>
                  <a:cubicBezTo>
                    <a:pt x="775" y="916"/>
                    <a:pt x="774" y="916"/>
                    <a:pt x="774" y="915"/>
                  </a:cubicBezTo>
                  <a:cubicBezTo>
                    <a:pt x="773" y="913"/>
                    <a:pt x="772" y="912"/>
                    <a:pt x="773" y="911"/>
                  </a:cubicBezTo>
                  <a:cubicBezTo>
                    <a:pt x="773" y="911"/>
                    <a:pt x="772" y="910"/>
                    <a:pt x="773" y="910"/>
                  </a:cubicBezTo>
                  <a:cubicBezTo>
                    <a:pt x="775" y="908"/>
                    <a:pt x="775" y="907"/>
                    <a:pt x="774" y="906"/>
                  </a:cubicBezTo>
                  <a:cubicBezTo>
                    <a:pt x="774" y="905"/>
                    <a:pt x="773" y="904"/>
                    <a:pt x="772" y="904"/>
                  </a:cubicBezTo>
                  <a:cubicBezTo>
                    <a:pt x="772" y="903"/>
                    <a:pt x="770" y="901"/>
                    <a:pt x="770" y="901"/>
                  </a:cubicBezTo>
                  <a:cubicBezTo>
                    <a:pt x="770" y="901"/>
                    <a:pt x="771" y="899"/>
                    <a:pt x="770" y="899"/>
                  </a:cubicBezTo>
                  <a:cubicBezTo>
                    <a:pt x="768" y="898"/>
                    <a:pt x="769" y="897"/>
                    <a:pt x="767" y="897"/>
                  </a:cubicBezTo>
                  <a:cubicBezTo>
                    <a:pt x="765" y="896"/>
                    <a:pt x="763" y="896"/>
                    <a:pt x="766" y="895"/>
                  </a:cubicBezTo>
                  <a:cubicBezTo>
                    <a:pt x="769" y="894"/>
                    <a:pt x="770" y="894"/>
                    <a:pt x="770" y="893"/>
                  </a:cubicBezTo>
                  <a:cubicBezTo>
                    <a:pt x="770" y="892"/>
                    <a:pt x="765" y="888"/>
                    <a:pt x="765" y="888"/>
                  </a:cubicBezTo>
                  <a:cubicBezTo>
                    <a:pt x="765" y="888"/>
                    <a:pt x="767" y="890"/>
                    <a:pt x="767" y="888"/>
                  </a:cubicBezTo>
                  <a:cubicBezTo>
                    <a:pt x="766" y="887"/>
                    <a:pt x="766" y="886"/>
                    <a:pt x="764" y="885"/>
                  </a:cubicBezTo>
                  <a:cubicBezTo>
                    <a:pt x="763" y="883"/>
                    <a:pt x="763" y="881"/>
                    <a:pt x="762" y="881"/>
                  </a:cubicBezTo>
                  <a:cubicBezTo>
                    <a:pt x="760" y="880"/>
                    <a:pt x="760" y="879"/>
                    <a:pt x="758" y="877"/>
                  </a:cubicBezTo>
                  <a:cubicBezTo>
                    <a:pt x="757" y="876"/>
                    <a:pt x="757" y="875"/>
                    <a:pt x="756" y="875"/>
                  </a:cubicBezTo>
                  <a:cubicBezTo>
                    <a:pt x="756" y="874"/>
                    <a:pt x="755" y="874"/>
                    <a:pt x="754" y="873"/>
                  </a:cubicBezTo>
                  <a:cubicBezTo>
                    <a:pt x="753" y="873"/>
                    <a:pt x="752" y="869"/>
                    <a:pt x="751" y="869"/>
                  </a:cubicBezTo>
                  <a:cubicBezTo>
                    <a:pt x="749" y="868"/>
                    <a:pt x="749" y="868"/>
                    <a:pt x="748" y="866"/>
                  </a:cubicBezTo>
                  <a:cubicBezTo>
                    <a:pt x="747" y="865"/>
                    <a:pt x="747" y="861"/>
                    <a:pt x="746" y="860"/>
                  </a:cubicBezTo>
                  <a:cubicBezTo>
                    <a:pt x="744" y="860"/>
                    <a:pt x="742" y="857"/>
                    <a:pt x="742" y="856"/>
                  </a:cubicBezTo>
                  <a:cubicBezTo>
                    <a:pt x="742" y="854"/>
                    <a:pt x="741" y="852"/>
                    <a:pt x="740" y="852"/>
                  </a:cubicBezTo>
                  <a:cubicBezTo>
                    <a:pt x="739" y="851"/>
                    <a:pt x="736" y="851"/>
                    <a:pt x="738" y="848"/>
                  </a:cubicBezTo>
                  <a:cubicBezTo>
                    <a:pt x="740" y="845"/>
                    <a:pt x="741" y="844"/>
                    <a:pt x="739" y="843"/>
                  </a:cubicBezTo>
                  <a:cubicBezTo>
                    <a:pt x="738" y="842"/>
                    <a:pt x="736" y="839"/>
                    <a:pt x="735" y="839"/>
                  </a:cubicBezTo>
                  <a:cubicBezTo>
                    <a:pt x="734" y="839"/>
                    <a:pt x="734" y="839"/>
                    <a:pt x="732" y="839"/>
                  </a:cubicBezTo>
                  <a:cubicBezTo>
                    <a:pt x="731" y="840"/>
                    <a:pt x="731" y="839"/>
                    <a:pt x="729" y="839"/>
                  </a:cubicBezTo>
                  <a:cubicBezTo>
                    <a:pt x="728" y="839"/>
                    <a:pt x="727" y="838"/>
                    <a:pt x="726" y="837"/>
                  </a:cubicBezTo>
                  <a:cubicBezTo>
                    <a:pt x="725" y="836"/>
                    <a:pt x="723" y="835"/>
                    <a:pt x="722" y="834"/>
                  </a:cubicBezTo>
                  <a:cubicBezTo>
                    <a:pt x="722" y="832"/>
                    <a:pt x="721" y="831"/>
                    <a:pt x="721" y="829"/>
                  </a:cubicBezTo>
                  <a:cubicBezTo>
                    <a:pt x="721" y="828"/>
                    <a:pt x="720" y="824"/>
                    <a:pt x="720" y="824"/>
                  </a:cubicBezTo>
                  <a:cubicBezTo>
                    <a:pt x="720" y="824"/>
                    <a:pt x="720" y="823"/>
                    <a:pt x="720" y="821"/>
                  </a:cubicBezTo>
                  <a:cubicBezTo>
                    <a:pt x="719" y="818"/>
                    <a:pt x="719" y="822"/>
                    <a:pt x="719" y="816"/>
                  </a:cubicBezTo>
                  <a:cubicBezTo>
                    <a:pt x="718" y="811"/>
                    <a:pt x="712" y="808"/>
                    <a:pt x="718" y="810"/>
                  </a:cubicBezTo>
                  <a:cubicBezTo>
                    <a:pt x="725" y="812"/>
                    <a:pt x="727" y="812"/>
                    <a:pt x="728" y="812"/>
                  </a:cubicBezTo>
                  <a:cubicBezTo>
                    <a:pt x="728" y="812"/>
                    <a:pt x="728" y="812"/>
                    <a:pt x="729" y="812"/>
                  </a:cubicBezTo>
                  <a:cubicBezTo>
                    <a:pt x="730" y="812"/>
                    <a:pt x="731" y="811"/>
                    <a:pt x="732" y="812"/>
                  </a:cubicBezTo>
                  <a:cubicBezTo>
                    <a:pt x="733" y="813"/>
                    <a:pt x="733" y="812"/>
                    <a:pt x="734" y="813"/>
                  </a:cubicBezTo>
                  <a:cubicBezTo>
                    <a:pt x="735" y="815"/>
                    <a:pt x="736" y="815"/>
                    <a:pt x="737" y="816"/>
                  </a:cubicBezTo>
                  <a:cubicBezTo>
                    <a:pt x="737" y="817"/>
                    <a:pt x="737" y="817"/>
                    <a:pt x="738" y="817"/>
                  </a:cubicBezTo>
                  <a:cubicBezTo>
                    <a:pt x="739" y="817"/>
                    <a:pt x="740" y="815"/>
                    <a:pt x="740" y="817"/>
                  </a:cubicBezTo>
                  <a:cubicBezTo>
                    <a:pt x="740" y="820"/>
                    <a:pt x="742" y="823"/>
                    <a:pt x="742" y="823"/>
                  </a:cubicBezTo>
                  <a:cubicBezTo>
                    <a:pt x="741" y="826"/>
                    <a:pt x="741" y="826"/>
                    <a:pt x="741" y="826"/>
                  </a:cubicBezTo>
                  <a:cubicBezTo>
                    <a:pt x="741" y="826"/>
                    <a:pt x="743" y="829"/>
                    <a:pt x="744" y="830"/>
                  </a:cubicBezTo>
                  <a:cubicBezTo>
                    <a:pt x="744" y="831"/>
                    <a:pt x="744" y="832"/>
                    <a:pt x="745" y="833"/>
                  </a:cubicBezTo>
                  <a:cubicBezTo>
                    <a:pt x="745" y="835"/>
                    <a:pt x="748" y="836"/>
                    <a:pt x="747" y="837"/>
                  </a:cubicBezTo>
                  <a:cubicBezTo>
                    <a:pt x="747" y="838"/>
                    <a:pt x="748" y="838"/>
                    <a:pt x="748" y="839"/>
                  </a:cubicBezTo>
                  <a:cubicBezTo>
                    <a:pt x="749" y="841"/>
                    <a:pt x="750" y="843"/>
                    <a:pt x="751" y="843"/>
                  </a:cubicBezTo>
                  <a:cubicBezTo>
                    <a:pt x="751" y="844"/>
                    <a:pt x="752" y="845"/>
                    <a:pt x="753" y="846"/>
                  </a:cubicBezTo>
                  <a:cubicBezTo>
                    <a:pt x="753" y="848"/>
                    <a:pt x="753" y="849"/>
                    <a:pt x="754" y="850"/>
                  </a:cubicBezTo>
                  <a:cubicBezTo>
                    <a:pt x="754" y="850"/>
                    <a:pt x="754" y="851"/>
                    <a:pt x="755" y="852"/>
                  </a:cubicBezTo>
                  <a:cubicBezTo>
                    <a:pt x="756" y="853"/>
                    <a:pt x="758" y="853"/>
                    <a:pt x="758" y="854"/>
                  </a:cubicBezTo>
                  <a:cubicBezTo>
                    <a:pt x="758" y="855"/>
                    <a:pt x="759" y="855"/>
                    <a:pt x="759" y="856"/>
                  </a:cubicBezTo>
                  <a:cubicBezTo>
                    <a:pt x="760" y="858"/>
                    <a:pt x="762" y="861"/>
                    <a:pt x="762" y="861"/>
                  </a:cubicBezTo>
                  <a:cubicBezTo>
                    <a:pt x="762" y="861"/>
                    <a:pt x="764" y="862"/>
                    <a:pt x="764" y="862"/>
                  </a:cubicBezTo>
                  <a:cubicBezTo>
                    <a:pt x="765" y="863"/>
                    <a:pt x="765" y="862"/>
                    <a:pt x="767" y="863"/>
                  </a:cubicBezTo>
                  <a:cubicBezTo>
                    <a:pt x="769" y="865"/>
                    <a:pt x="767" y="865"/>
                    <a:pt x="768" y="865"/>
                  </a:cubicBezTo>
                  <a:cubicBezTo>
                    <a:pt x="769" y="865"/>
                    <a:pt x="772" y="866"/>
                    <a:pt x="772" y="866"/>
                  </a:cubicBezTo>
                  <a:cubicBezTo>
                    <a:pt x="774" y="867"/>
                    <a:pt x="774" y="867"/>
                    <a:pt x="774" y="867"/>
                  </a:cubicBezTo>
                  <a:cubicBezTo>
                    <a:pt x="774" y="867"/>
                    <a:pt x="775" y="868"/>
                    <a:pt x="775" y="869"/>
                  </a:cubicBezTo>
                  <a:cubicBezTo>
                    <a:pt x="775" y="869"/>
                    <a:pt x="775" y="874"/>
                    <a:pt x="775" y="875"/>
                  </a:cubicBezTo>
                  <a:cubicBezTo>
                    <a:pt x="775" y="875"/>
                    <a:pt x="777" y="875"/>
                    <a:pt x="777" y="876"/>
                  </a:cubicBezTo>
                  <a:cubicBezTo>
                    <a:pt x="778" y="876"/>
                    <a:pt x="778" y="875"/>
                    <a:pt x="779" y="876"/>
                  </a:cubicBezTo>
                  <a:cubicBezTo>
                    <a:pt x="779" y="877"/>
                    <a:pt x="781" y="876"/>
                    <a:pt x="781" y="877"/>
                  </a:cubicBezTo>
                  <a:cubicBezTo>
                    <a:pt x="781" y="877"/>
                    <a:pt x="782" y="877"/>
                    <a:pt x="783" y="879"/>
                  </a:cubicBezTo>
                  <a:cubicBezTo>
                    <a:pt x="784" y="881"/>
                    <a:pt x="785" y="882"/>
                    <a:pt x="785" y="882"/>
                  </a:cubicBezTo>
                  <a:cubicBezTo>
                    <a:pt x="787" y="883"/>
                    <a:pt x="789" y="885"/>
                    <a:pt x="789" y="885"/>
                  </a:cubicBezTo>
                  <a:cubicBezTo>
                    <a:pt x="789" y="885"/>
                    <a:pt x="791" y="884"/>
                    <a:pt x="791" y="885"/>
                  </a:cubicBezTo>
                  <a:cubicBezTo>
                    <a:pt x="791" y="886"/>
                    <a:pt x="793" y="886"/>
                    <a:pt x="792" y="888"/>
                  </a:cubicBezTo>
                  <a:cubicBezTo>
                    <a:pt x="791" y="890"/>
                    <a:pt x="791" y="890"/>
                    <a:pt x="790" y="891"/>
                  </a:cubicBezTo>
                  <a:cubicBezTo>
                    <a:pt x="789" y="892"/>
                    <a:pt x="789" y="892"/>
                    <a:pt x="789" y="893"/>
                  </a:cubicBezTo>
                  <a:cubicBezTo>
                    <a:pt x="789" y="894"/>
                    <a:pt x="791" y="896"/>
                    <a:pt x="791" y="896"/>
                  </a:cubicBezTo>
                  <a:cubicBezTo>
                    <a:pt x="791" y="896"/>
                    <a:pt x="793" y="897"/>
                    <a:pt x="793" y="898"/>
                  </a:cubicBezTo>
                  <a:cubicBezTo>
                    <a:pt x="794" y="898"/>
                    <a:pt x="795" y="898"/>
                    <a:pt x="796" y="899"/>
                  </a:cubicBezTo>
                  <a:cubicBezTo>
                    <a:pt x="796" y="899"/>
                    <a:pt x="799" y="900"/>
                    <a:pt x="799" y="900"/>
                  </a:cubicBezTo>
                  <a:cubicBezTo>
                    <a:pt x="799" y="900"/>
                    <a:pt x="800" y="900"/>
                    <a:pt x="800" y="901"/>
                  </a:cubicBezTo>
                  <a:cubicBezTo>
                    <a:pt x="801" y="902"/>
                    <a:pt x="803" y="905"/>
                    <a:pt x="803" y="905"/>
                  </a:cubicBezTo>
                  <a:cubicBezTo>
                    <a:pt x="805" y="905"/>
                    <a:pt x="805" y="905"/>
                    <a:pt x="805" y="905"/>
                  </a:cubicBezTo>
                  <a:cubicBezTo>
                    <a:pt x="805" y="905"/>
                    <a:pt x="807" y="904"/>
                    <a:pt x="807" y="905"/>
                  </a:cubicBezTo>
                  <a:cubicBezTo>
                    <a:pt x="808" y="906"/>
                    <a:pt x="809" y="906"/>
                    <a:pt x="809" y="907"/>
                  </a:cubicBezTo>
                  <a:cubicBezTo>
                    <a:pt x="809" y="908"/>
                    <a:pt x="809" y="908"/>
                    <a:pt x="809" y="909"/>
                  </a:cubicBezTo>
                  <a:cubicBezTo>
                    <a:pt x="808" y="911"/>
                    <a:pt x="808" y="911"/>
                    <a:pt x="809" y="911"/>
                  </a:cubicBezTo>
                  <a:cubicBezTo>
                    <a:pt x="809" y="912"/>
                    <a:pt x="810" y="913"/>
                    <a:pt x="811" y="914"/>
                  </a:cubicBezTo>
                  <a:cubicBezTo>
                    <a:pt x="811" y="915"/>
                    <a:pt x="814" y="916"/>
                    <a:pt x="814" y="917"/>
                  </a:cubicBezTo>
                  <a:cubicBezTo>
                    <a:pt x="814" y="918"/>
                    <a:pt x="816" y="918"/>
                    <a:pt x="816" y="918"/>
                  </a:cubicBezTo>
                  <a:cubicBezTo>
                    <a:pt x="816" y="919"/>
                    <a:pt x="817" y="918"/>
                    <a:pt x="818" y="919"/>
                  </a:cubicBezTo>
                  <a:cubicBezTo>
                    <a:pt x="819" y="920"/>
                    <a:pt x="821" y="920"/>
                    <a:pt x="821" y="921"/>
                  </a:cubicBezTo>
                  <a:cubicBezTo>
                    <a:pt x="821" y="923"/>
                    <a:pt x="823" y="922"/>
                    <a:pt x="823" y="924"/>
                  </a:cubicBezTo>
                  <a:cubicBezTo>
                    <a:pt x="823" y="925"/>
                    <a:pt x="821" y="925"/>
                    <a:pt x="825" y="926"/>
                  </a:cubicBezTo>
                  <a:cubicBezTo>
                    <a:pt x="828" y="928"/>
                    <a:pt x="830" y="930"/>
                    <a:pt x="830" y="931"/>
                  </a:cubicBezTo>
                  <a:cubicBezTo>
                    <a:pt x="830" y="931"/>
                    <a:pt x="832" y="934"/>
                    <a:pt x="832" y="935"/>
                  </a:cubicBezTo>
                  <a:cubicBezTo>
                    <a:pt x="832" y="935"/>
                    <a:pt x="838" y="939"/>
                    <a:pt x="839" y="940"/>
                  </a:cubicBezTo>
                  <a:cubicBezTo>
                    <a:pt x="839" y="940"/>
                    <a:pt x="840" y="942"/>
                    <a:pt x="840" y="943"/>
                  </a:cubicBezTo>
                  <a:cubicBezTo>
                    <a:pt x="840" y="943"/>
                    <a:pt x="842" y="943"/>
                    <a:pt x="842" y="946"/>
                  </a:cubicBezTo>
                  <a:cubicBezTo>
                    <a:pt x="842" y="948"/>
                    <a:pt x="843" y="949"/>
                    <a:pt x="843" y="950"/>
                  </a:cubicBezTo>
                  <a:cubicBezTo>
                    <a:pt x="843" y="951"/>
                    <a:pt x="844" y="951"/>
                    <a:pt x="843" y="952"/>
                  </a:cubicBezTo>
                  <a:cubicBezTo>
                    <a:pt x="842" y="954"/>
                    <a:pt x="842" y="953"/>
                    <a:pt x="843" y="954"/>
                  </a:cubicBezTo>
                  <a:cubicBezTo>
                    <a:pt x="844" y="955"/>
                    <a:pt x="845" y="956"/>
                    <a:pt x="845" y="957"/>
                  </a:cubicBezTo>
                  <a:cubicBezTo>
                    <a:pt x="845" y="958"/>
                    <a:pt x="846" y="959"/>
                    <a:pt x="846" y="959"/>
                  </a:cubicBezTo>
                  <a:cubicBezTo>
                    <a:pt x="846" y="960"/>
                    <a:pt x="847" y="961"/>
                    <a:pt x="846" y="961"/>
                  </a:cubicBezTo>
                  <a:cubicBezTo>
                    <a:pt x="846" y="962"/>
                    <a:pt x="846" y="961"/>
                    <a:pt x="845" y="963"/>
                  </a:cubicBezTo>
                  <a:cubicBezTo>
                    <a:pt x="845" y="964"/>
                    <a:pt x="845" y="966"/>
                    <a:pt x="845" y="967"/>
                  </a:cubicBezTo>
                  <a:cubicBezTo>
                    <a:pt x="846" y="968"/>
                    <a:pt x="847" y="967"/>
                    <a:pt x="846" y="969"/>
                  </a:cubicBezTo>
                  <a:cubicBezTo>
                    <a:pt x="844" y="971"/>
                    <a:pt x="844" y="971"/>
                    <a:pt x="843" y="972"/>
                  </a:cubicBezTo>
                  <a:cubicBezTo>
                    <a:pt x="842" y="973"/>
                    <a:pt x="842" y="972"/>
                    <a:pt x="842" y="974"/>
                  </a:cubicBezTo>
                  <a:cubicBezTo>
                    <a:pt x="843" y="975"/>
                    <a:pt x="844" y="977"/>
                    <a:pt x="844" y="978"/>
                  </a:cubicBezTo>
                  <a:cubicBezTo>
                    <a:pt x="844" y="978"/>
                    <a:pt x="847" y="981"/>
                    <a:pt x="847" y="982"/>
                  </a:cubicBezTo>
                  <a:cubicBezTo>
                    <a:pt x="848" y="983"/>
                    <a:pt x="848" y="986"/>
                    <a:pt x="848" y="987"/>
                  </a:cubicBezTo>
                  <a:cubicBezTo>
                    <a:pt x="849" y="987"/>
                    <a:pt x="851" y="989"/>
                    <a:pt x="852" y="989"/>
                  </a:cubicBezTo>
                  <a:cubicBezTo>
                    <a:pt x="852" y="990"/>
                    <a:pt x="854" y="992"/>
                    <a:pt x="854" y="992"/>
                  </a:cubicBezTo>
                  <a:cubicBezTo>
                    <a:pt x="855" y="992"/>
                    <a:pt x="856" y="991"/>
                    <a:pt x="857" y="992"/>
                  </a:cubicBezTo>
                  <a:cubicBezTo>
                    <a:pt x="858" y="992"/>
                    <a:pt x="860" y="992"/>
                    <a:pt x="861" y="993"/>
                  </a:cubicBezTo>
                  <a:cubicBezTo>
                    <a:pt x="861" y="993"/>
                    <a:pt x="862" y="995"/>
                    <a:pt x="863" y="995"/>
                  </a:cubicBezTo>
                  <a:cubicBezTo>
                    <a:pt x="864" y="996"/>
                    <a:pt x="867" y="998"/>
                    <a:pt x="867" y="998"/>
                  </a:cubicBezTo>
                  <a:cubicBezTo>
                    <a:pt x="867" y="999"/>
                    <a:pt x="868" y="999"/>
                    <a:pt x="868" y="1000"/>
                  </a:cubicBezTo>
                  <a:cubicBezTo>
                    <a:pt x="869" y="1001"/>
                    <a:pt x="869" y="1001"/>
                    <a:pt x="870" y="1002"/>
                  </a:cubicBezTo>
                  <a:cubicBezTo>
                    <a:pt x="871" y="1003"/>
                    <a:pt x="873" y="1004"/>
                    <a:pt x="874" y="1004"/>
                  </a:cubicBezTo>
                  <a:cubicBezTo>
                    <a:pt x="874" y="1004"/>
                    <a:pt x="874" y="1004"/>
                    <a:pt x="876" y="1004"/>
                  </a:cubicBezTo>
                  <a:cubicBezTo>
                    <a:pt x="877" y="1005"/>
                    <a:pt x="877" y="1005"/>
                    <a:pt x="879" y="1006"/>
                  </a:cubicBezTo>
                  <a:cubicBezTo>
                    <a:pt x="881" y="1008"/>
                    <a:pt x="886" y="1006"/>
                    <a:pt x="887" y="1007"/>
                  </a:cubicBezTo>
                  <a:cubicBezTo>
                    <a:pt x="887" y="1007"/>
                    <a:pt x="890" y="1009"/>
                    <a:pt x="890" y="1009"/>
                  </a:cubicBezTo>
                  <a:cubicBezTo>
                    <a:pt x="890" y="1009"/>
                    <a:pt x="893" y="1008"/>
                    <a:pt x="894" y="1009"/>
                  </a:cubicBezTo>
                  <a:cubicBezTo>
                    <a:pt x="894" y="1010"/>
                    <a:pt x="897" y="1011"/>
                    <a:pt x="897" y="1012"/>
                  </a:cubicBezTo>
                  <a:cubicBezTo>
                    <a:pt x="897" y="1013"/>
                    <a:pt x="900" y="1014"/>
                    <a:pt x="900" y="1014"/>
                  </a:cubicBezTo>
                  <a:cubicBezTo>
                    <a:pt x="900" y="1015"/>
                    <a:pt x="904" y="1017"/>
                    <a:pt x="904" y="1017"/>
                  </a:cubicBezTo>
                  <a:cubicBezTo>
                    <a:pt x="904" y="1017"/>
                    <a:pt x="905" y="1017"/>
                    <a:pt x="905" y="1018"/>
                  </a:cubicBezTo>
                  <a:cubicBezTo>
                    <a:pt x="906" y="1018"/>
                    <a:pt x="905" y="1019"/>
                    <a:pt x="908" y="1019"/>
                  </a:cubicBezTo>
                  <a:cubicBezTo>
                    <a:pt x="912" y="1020"/>
                    <a:pt x="912" y="1021"/>
                    <a:pt x="913" y="1022"/>
                  </a:cubicBezTo>
                  <a:cubicBezTo>
                    <a:pt x="914" y="1022"/>
                    <a:pt x="916" y="1023"/>
                    <a:pt x="916" y="1023"/>
                  </a:cubicBezTo>
                  <a:cubicBezTo>
                    <a:pt x="919" y="1023"/>
                    <a:pt x="919" y="1023"/>
                    <a:pt x="919" y="1023"/>
                  </a:cubicBezTo>
                  <a:cubicBezTo>
                    <a:pt x="922" y="1025"/>
                    <a:pt x="922" y="1025"/>
                    <a:pt x="922" y="1025"/>
                  </a:cubicBezTo>
                  <a:cubicBezTo>
                    <a:pt x="922" y="1025"/>
                    <a:pt x="923" y="1025"/>
                    <a:pt x="924" y="1025"/>
                  </a:cubicBezTo>
                  <a:cubicBezTo>
                    <a:pt x="925" y="1026"/>
                    <a:pt x="927" y="1025"/>
                    <a:pt x="928" y="1026"/>
                  </a:cubicBezTo>
                  <a:cubicBezTo>
                    <a:pt x="929" y="1026"/>
                    <a:pt x="931" y="1027"/>
                    <a:pt x="931" y="1027"/>
                  </a:cubicBezTo>
                  <a:cubicBezTo>
                    <a:pt x="931" y="1027"/>
                    <a:pt x="933" y="1027"/>
                    <a:pt x="934" y="1028"/>
                  </a:cubicBezTo>
                  <a:cubicBezTo>
                    <a:pt x="934" y="1029"/>
                    <a:pt x="935" y="1029"/>
                    <a:pt x="936" y="1029"/>
                  </a:cubicBezTo>
                  <a:cubicBezTo>
                    <a:pt x="937" y="1030"/>
                    <a:pt x="938" y="1030"/>
                    <a:pt x="939" y="1031"/>
                  </a:cubicBezTo>
                  <a:cubicBezTo>
                    <a:pt x="940" y="1031"/>
                    <a:pt x="940" y="1031"/>
                    <a:pt x="942" y="1032"/>
                  </a:cubicBezTo>
                  <a:cubicBezTo>
                    <a:pt x="944" y="1033"/>
                    <a:pt x="955" y="1037"/>
                    <a:pt x="955" y="1037"/>
                  </a:cubicBezTo>
                  <a:cubicBezTo>
                    <a:pt x="955" y="1037"/>
                    <a:pt x="959" y="1038"/>
                    <a:pt x="959" y="1037"/>
                  </a:cubicBezTo>
                  <a:cubicBezTo>
                    <a:pt x="960" y="1037"/>
                    <a:pt x="964" y="1038"/>
                    <a:pt x="964" y="1038"/>
                  </a:cubicBezTo>
                  <a:cubicBezTo>
                    <a:pt x="965" y="1038"/>
                    <a:pt x="967" y="1039"/>
                    <a:pt x="968" y="1039"/>
                  </a:cubicBezTo>
                  <a:cubicBezTo>
                    <a:pt x="968" y="1039"/>
                    <a:pt x="971" y="1039"/>
                    <a:pt x="972" y="1038"/>
                  </a:cubicBezTo>
                  <a:cubicBezTo>
                    <a:pt x="972" y="1038"/>
                    <a:pt x="972" y="1038"/>
                    <a:pt x="973" y="1038"/>
                  </a:cubicBezTo>
                  <a:cubicBezTo>
                    <a:pt x="975" y="1037"/>
                    <a:pt x="975" y="1038"/>
                    <a:pt x="979" y="1036"/>
                  </a:cubicBezTo>
                  <a:cubicBezTo>
                    <a:pt x="982" y="1034"/>
                    <a:pt x="984" y="1033"/>
                    <a:pt x="984" y="1033"/>
                  </a:cubicBezTo>
                  <a:cubicBezTo>
                    <a:pt x="984" y="1033"/>
                    <a:pt x="986" y="1033"/>
                    <a:pt x="986" y="1032"/>
                  </a:cubicBezTo>
                  <a:cubicBezTo>
                    <a:pt x="987" y="1031"/>
                    <a:pt x="986" y="1031"/>
                    <a:pt x="988" y="1031"/>
                  </a:cubicBezTo>
                  <a:cubicBezTo>
                    <a:pt x="989" y="1031"/>
                    <a:pt x="989" y="1031"/>
                    <a:pt x="991" y="1031"/>
                  </a:cubicBezTo>
                  <a:cubicBezTo>
                    <a:pt x="992" y="1032"/>
                    <a:pt x="996" y="1033"/>
                    <a:pt x="996" y="1033"/>
                  </a:cubicBezTo>
                  <a:cubicBezTo>
                    <a:pt x="998" y="1034"/>
                    <a:pt x="1000" y="1035"/>
                    <a:pt x="1001" y="1035"/>
                  </a:cubicBezTo>
                  <a:cubicBezTo>
                    <a:pt x="1002" y="1036"/>
                    <a:pt x="1007" y="1040"/>
                    <a:pt x="1007" y="1040"/>
                  </a:cubicBezTo>
                  <a:cubicBezTo>
                    <a:pt x="1008" y="1040"/>
                    <a:pt x="1010" y="1041"/>
                    <a:pt x="1010" y="1042"/>
                  </a:cubicBezTo>
                  <a:cubicBezTo>
                    <a:pt x="1011" y="1042"/>
                    <a:pt x="1013" y="1043"/>
                    <a:pt x="1013" y="1044"/>
                  </a:cubicBezTo>
                  <a:cubicBezTo>
                    <a:pt x="1013" y="1045"/>
                    <a:pt x="1013" y="1045"/>
                    <a:pt x="1015" y="1046"/>
                  </a:cubicBezTo>
                  <a:cubicBezTo>
                    <a:pt x="1017" y="1047"/>
                    <a:pt x="1017" y="1044"/>
                    <a:pt x="1018" y="1047"/>
                  </a:cubicBezTo>
                  <a:cubicBezTo>
                    <a:pt x="1019" y="1050"/>
                    <a:pt x="1021" y="1051"/>
                    <a:pt x="1021" y="1052"/>
                  </a:cubicBezTo>
                  <a:cubicBezTo>
                    <a:pt x="1021" y="1052"/>
                    <a:pt x="1023" y="1055"/>
                    <a:pt x="1023" y="1055"/>
                  </a:cubicBezTo>
                  <a:cubicBezTo>
                    <a:pt x="1023" y="1056"/>
                    <a:pt x="1023" y="1056"/>
                    <a:pt x="1023" y="1057"/>
                  </a:cubicBezTo>
                  <a:cubicBezTo>
                    <a:pt x="1024" y="1057"/>
                    <a:pt x="1025" y="1058"/>
                    <a:pt x="1026" y="1058"/>
                  </a:cubicBezTo>
                  <a:cubicBezTo>
                    <a:pt x="1027" y="1058"/>
                    <a:pt x="1039" y="1063"/>
                    <a:pt x="1039" y="1063"/>
                  </a:cubicBezTo>
                  <a:cubicBezTo>
                    <a:pt x="1039" y="1063"/>
                    <a:pt x="1041" y="1064"/>
                    <a:pt x="1041" y="1064"/>
                  </a:cubicBezTo>
                  <a:cubicBezTo>
                    <a:pt x="1042" y="1063"/>
                    <a:pt x="1044" y="1063"/>
                    <a:pt x="1045" y="1063"/>
                  </a:cubicBezTo>
                  <a:cubicBezTo>
                    <a:pt x="1046" y="1064"/>
                    <a:pt x="1048" y="1064"/>
                    <a:pt x="1050" y="1065"/>
                  </a:cubicBezTo>
                  <a:cubicBezTo>
                    <a:pt x="1050" y="1065"/>
                    <a:pt x="1050" y="1065"/>
                    <a:pt x="1050" y="1065"/>
                  </a:cubicBezTo>
                  <a:cubicBezTo>
                    <a:pt x="1051" y="1066"/>
                    <a:pt x="1051" y="1065"/>
                    <a:pt x="1053" y="1067"/>
                  </a:cubicBezTo>
                  <a:cubicBezTo>
                    <a:pt x="1054" y="1068"/>
                    <a:pt x="1058" y="1069"/>
                    <a:pt x="1058" y="1069"/>
                  </a:cubicBezTo>
                  <a:cubicBezTo>
                    <a:pt x="1059" y="1070"/>
                    <a:pt x="1060" y="1069"/>
                    <a:pt x="1061" y="1070"/>
                  </a:cubicBezTo>
                  <a:cubicBezTo>
                    <a:pt x="1063" y="1071"/>
                    <a:pt x="1066" y="1071"/>
                    <a:pt x="1066" y="1071"/>
                  </a:cubicBezTo>
                  <a:cubicBezTo>
                    <a:pt x="1066" y="1071"/>
                    <a:pt x="1071" y="1072"/>
                    <a:pt x="1071" y="1072"/>
                  </a:cubicBezTo>
                  <a:cubicBezTo>
                    <a:pt x="1072" y="1072"/>
                    <a:pt x="1075" y="1073"/>
                    <a:pt x="1077" y="1072"/>
                  </a:cubicBezTo>
                  <a:cubicBezTo>
                    <a:pt x="1079" y="1072"/>
                    <a:pt x="1084" y="1072"/>
                    <a:pt x="1085" y="1073"/>
                  </a:cubicBezTo>
                  <a:cubicBezTo>
                    <a:pt x="1085" y="1073"/>
                    <a:pt x="1085" y="1073"/>
                    <a:pt x="1085" y="1073"/>
                  </a:cubicBezTo>
                  <a:cubicBezTo>
                    <a:pt x="1085" y="1073"/>
                    <a:pt x="1087" y="1072"/>
                    <a:pt x="1087" y="1074"/>
                  </a:cubicBezTo>
                  <a:cubicBezTo>
                    <a:pt x="1087" y="1075"/>
                    <a:pt x="1087" y="1077"/>
                    <a:pt x="1087" y="1077"/>
                  </a:cubicBezTo>
                  <a:cubicBezTo>
                    <a:pt x="1086" y="1078"/>
                    <a:pt x="1087" y="1078"/>
                    <a:pt x="1087" y="1079"/>
                  </a:cubicBezTo>
                  <a:cubicBezTo>
                    <a:pt x="1088" y="1079"/>
                    <a:pt x="1088" y="1080"/>
                    <a:pt x="1089" y="1080"/>
                  </a:cubicBezTo>
                  <a:cubicBezTo>
                    <a:pt x="1090" y="1081"/>
                    <a:pt x="1094" y="1083"/>
                    <a:pt x="1094" y="1084"/>
                  </a:cubicBezTo>
                  <a:cubicBezTo>
                    <a:pt x="1094" y="1085"/>
                    <a:pt x="1097" y="1087"/>
                    <a:pt x="1096" y="1087"/>
                  </a:cubicBezTo>
                  <a:cubicBezTo>
                    <a:pt x="1096" y="1088"/>
                    <a:pt x="1097" y="1088"/>
                    <a:pt x="1098" y="1089"/>
                  </a:cubicBezTo>
                  <a:cubicBezTo>
                    <a:pt x="1098" y="1091"/>
                    <a:pt x="1100" y="1092"/>
                    <a:pt x="1100" y="1093"/>
                  </a:cubicBezTo>
                  <a:cubicBezTo>
                    <a:pt x="1101" y="1093"/>
                    <a:pt x="1101" y="1093"/>
                    <a:pt x="1102" y="1094"/>
                  </a:cubicBezTo>
                  <a:cubicBezTo>
                    <a:pt x="1103" y="1096"/>
                    <a:pt x="1106" y="1096"/>
                    <a:pt x="1106" y="1096"/>
                  </a:cubicBezTo>
                  <a:cubicBezTo>
                    <a:pt x="1106" y="1097"/>
                    <a:pt x="1108" y="1098"/>
                    <a:pt x="1108" y="1098"/>
                  </a:cubicBezTo>
                  <a:cubicBezTo>
                    <a:pt x="1108" y="1099"/>
                    <a:pt x="1109" y="1100"/>
                    <a:pt x="1109" y="1101"/>
                  </a:cubicBezTo>
                  <a:cubicBezTo>
                    <a:pt x="1109" y="1101"/>
                    <a:pt x="1110" y="1102"/>
                    <a:pt x="1110" y="1103"/>
                  </a:cubicBezTo>
                  <a:cubicBezTo>
                    <a:pt x="1110" y="1103"/>
                    <a:pt x="1110" y="1103"/>
                    <a:pt x="1110" y="1103"/>
                  </a:cubicBezTo>
                  <a:cubicBezTo>
                    <a:pt x="1109" y="1104"/>
                    <a:pt x="1109" y="1108"/>
                    <a:pt x="1109" y="1109"/>
                  </a:cubicBezTo>
                  <a:cubicBezTo>
                    <a:pt x="1109" y="1109"/>
                    <a:pt x="1109" y="1111"/>
                    <a:pt x="1109" y="1112"/>
                  </a:cubicBezTo>
                  <a:cubicBezTo>
                    <a:pt x="1109" y="1113"/>
                    <a:pt x="1109" y="1115"/>
                    <a:pt x="1110" y="1115"/>
                  </a:cubicBezTo>
                  <a:cubicBezTo>
                    <a:pt x="1111" y="1116"/>
                    <a:pt x="1112" y="1118"/>
                    <a:pt x="1112" y="1118"/>
                  </a:cubicBezTo>
                  <a:cubicBezTo>
                    <a:pt x="1113" y="1118"/>
                    <a:pt x="1114" y="1118"/>
                    <a:pt x="1114" y="1118"/>
                  </a:cubicBezTo>
                  <a:cubicBezTo>
                    <a:pt x="1116" y="1119"/>
                    <a:pt x="1116" y="1119"/>
                    <a:pt x="1116" y="1119"/>
                  </a:cubicBezTo>
                  <a:cubicBezTo>
                    <a:pt x="1116" y="1119"/>
                    <a:pt x="1119" y="1121"/>
                    <a:pt x="1120" y="1121"/>
                  </a:cubicBezTo>
                  <a:cubicBezTo>
                    <a:pt x="1120" y="1122"/>
                    <a:pt x="1122" y="1124"/>
                    <a:pt x="1122" y="1123"/>
                  </a:cubicBezTo>
                  <a:cubicBezTo>
                    <a:pt x="1123" y="1122"/>
                    <a:pt x="1123" y="1122"/>
                    <a:pt x="1123" y="1122"/>
                  </a:cubicBezTo>
                  <a:cubicBezTo>
                    <a:pt x="1123" y="1122"/>
                    <a:pt x="1123" y="1119"/>
                    <a:pt x="1123" y="1119"/>
                  </a:cubicBezTo>
                  <a:cubicBezTo>
                    <a:pt x="1123" y="1118"/>
                    <a:pt x="1122" y="1117"/>
                    <a:pt x="1121" y="1116"/>
                  </a:cubicBezTo>
                  <a:cubicBezTo>
                    <a:pt x="1121" y="1114"/>
                    <a:pt x="1124" y="1117"/>
                    <a:pt x="1124" y="1118"/>
                  </a:cubicBezTo>
                  <a:cubicBezTo>
                    <a:pt x="1124" y="1119"/>
                    <a:pt x="1125" y="1120"/>
                    <a:pt x="1125" y="1121"/>
                  </a:cubicBezTo>
                  <a:cubicBezTo>
                    <a:pt x="1125" y="1121"/>
                    <a:pt x="1125" y="1122"/>
                    <a:pt x="1126" y="1122"/>
                  </a:cubicBezTo>
                  <a:cubicBezTo>
                    <a:pt x="1126" y="1122"/>
                    <a:pt x="1128" y="1122"/>
                    <a:pt x="1128" y="1123"/>
                  </a:cubicBezTo>
                  <a:cubicBezTo>
                    <a:pt x="1128" y="1123"/>
                    <a:pt x="1129" y="1125"/>
                    <a:pt x="1129" y="1124"/>
                  </a:cubicBezTo>
                  <a:cubicBezTo>
                    <a:pt x="1130" y="1124"/>
                    <a:pt x="1131" y="1124"/>
                    <a:pt x="1131" y="1124"/>
                  </a:cubicBezTo>
                  <a:cubicBezTo>
                    <a:pt x="1132" y="1124"/>
                    <a:pt x="1133" y="1124"/>
                    <a:pt x="1134" y="1125"/>
                  </a:cubicBezTo>
                  <a:cubicBezTo>
                    <a:pt x="1135" y="1126"/>
                    <a:pt x="1136" y="1125"/>
                    <a:pt x="1136" y="1126"/>
                  </a:cubicBezTo>
                  <a:cubicBezTo>
                    <a:pt x="1136" y="1127"/>
                    <a:pt x="1138" y="1129"/>
                    <a:pt x="1138" y="1129"/>
                  </a:cubicBezTo>
                  <a:cubicBezTo>
                    <a:pt x="1138" y="1129"/>
                    <a:pt x="1139" y="1129"/>
                    <a:pt x="1139" y="1130"/>
                  </a:cubicBezTo>
                  <a:cubicBezTo>
                    <a:pt x="1139" y="1132"/>
                    <a:pt x="1138" y="1131"/>
                    <a:pt x="1138" y="1132"/>
                  </a:cubicBezTo>
                  <a:cubicBezTo>
                    <a:pt x="1138" y="1133"/>
                    <a:pt x="1138" y="1133"/>
                    <a:pt x="1139" y="1134"/>
                  </a:cubicBezTo>
                  <a:cubicBezTo>
                    <a:pt x="1139" y="1135"/>
                    <a:pt x="1139" y="1135"/>
                    <a:pt x="1140" y="1136"/>
                  </a:cubicBezTo>
                  <a:cubicBezTo>
                    <a:pt x="1140" y="1136"/>
                    <a:pt x="1141" y="1136"/>
                    <a:pt x="1142" y="1137"/>
                  </a:cubicBezTo>
                  <a:cubicBezTo>
                    <a:pt x="1143" y="1137"/>
                    <a:pt x="1142" y="1139"/>
                    <a:pt x="1143" y="1139"/>
                  </a:cubicBezTo>
                  <a:cubicBezTo>
                    <a:pt x="1144" y="1138"/>
                    <a:pt x="1146" y="1139"/>
                    <a:pt x="1146" y="1138"/>
                  </a:cubicBezTo>
                  <a:cubicBezTo>
                    <a:pt x="1146" y="1138"/>
                    <a:pt x="1146" y="1136"/>
                    <a:pt x="1147" y="1137"/>
                  </a:cubicBezTo>
                  <a:cubicBezTo>
                    <a:pt x="1148" y="1137"/>
                    <a:pt x="1146" y="1137"/>
                    <a:pt x="1149" y="1138"/>
                  </a:cubicBezTo>
                  <a:cubicBezTo>
                    <a:pt x="1151" y="1138"/>
                    <a:pt x="1152" y="1140"/>
                    <a:pt x="1152" y="1140"/>
                  </a:cubicBezTo>
                  <a:cubicBezTo>
                    <a:pt x="1156" y="1140"/>
                    <a:pt x="1159" y="1140"/>
                    <a:pt x="1160" y="1141"/>
                  </a:cubicBezTo>
                  <a:cubicBezTo>
                    <a:pt x="1162" y="1141"/>
                    <a:pt x="1163" y="1141"/>
                    <a:pt x="1164" y="1142"/>
                  </a:cubicBezTo>
                  <a:cubicBezTo>
                    <a:pt x="1164" y="1143"/>
                    <a:pt x="1166" y="1144"/>
                    <a:pt x="1166" y="1144"/>
                  </a:cubicBezTo>
                  <a:cubicBezTo>
                    <a:pt x="1166" y="1145"/>
                    <a:pt x="1168" y="1145"/>
                    <a:pt x="1168" y="1145"/>
                  </a:cubicBezTo>
                  <a:cubicBezTo>
                    <a:pt x="1168" y="1145"/>
                    <a:pt x="1169" y="1146"/>
                    <a:pt x="1168" y="1147"/>
                  </a:cubicBezTo>
                  <a:cubicBezTo>
                    <a:pt x="1168" y="1148"/>
                    <a:pt x="1170" y="1148"/>
                    <a:pt x="1170" y="1148"/>
                  </a:cubicBezTo>
                  <a:cubicBezTo>
                    <a:pt x="1171" y="1149"/>
                    <a:pt x="1172" y="1148"/>
                    <a:pt x="1172" y="1148"/>
                  </a:cubicBezTo>
                  <a:cubicBezTo>
                    <a:pt x="1173" y="1148"/>
                    <a:pt x="1174" y="1147"/>
                    <a:pt x="1174" y="1148"/>
                  </a:cubicBezTo>
                  <a:cubicBezTo>
                    <a:pt x="1174" y="1149"/>
                    <a:pt x="1177" y="1152"/>
                    <a:pt x="1177" y="1152"/>
                  </a:cubicBezTo>
                  <a:cubicBezTo>
                    <a:pt x="1176" y="1153"/>
                    <a:pt x="1176" y="1153"/>
                    <a:pt x="1176" y="1154"/>
                  </a:cubicBezTo>
                  <a:cubicBezTo>
                    <a:pt x="1177" y="1154"/>
                    <a:pt x="1181" y="1155"/>
                    <a:pt x="1181" y="1155"/>
                  </a:cubicBezTo>
                  <a:cubicBezTo>
                    <a:pt x="1183" y="1154"/>
                    <a:pt x="1183" y="1154"/>
                    <a:pt x="1183" y="1154"/>
                  </a:cubicBezTo>
                  <a:cubicBezTo>
                    <a:pt x="1185" y="1153"/>
                    <a:pt x="1185" y="1153"/>
                    <a:pt x="1185" y="1153"/>
                  </a:cubicBezTo>
                  <a:cubicBezTo>
                    <a:pt x="1187" y="1150"/>
                    <a:pt x="1187" y="1149"/>
                    <a:pt x="1187" y="1149"/>
                  </a:cubicBezTo>
                  <a:cubicBezTo>
                    <a:pt x="1186" y="1148"/>
                    <a:pt x="1185" y="1146"/>
                    <a:pt x="1185" y="1146"/>
                  </a:cubicBezTo>
                  <a:cubicBezTo>
                    <a:pt x="1185" y="1145"/>
                    <a:pt x="1184" y="1143"/>
                    <a:pt x="1184" y="1142"/>
                  </a:cubicBezTo>
                  <a:cubicBezTo>
                    <a:pt x="1184" y="1142"/>
                    <a:pt x="1188" y="1140"/>
                    <a:pt x="1188" y="1140"/>
                  </a:cubicBezTo>
                  <a:cubicBezTo>
                    <a:pt x="1189" y="1140"/>
                    <a:pt x="1190" y="1140"/>
                    <a:pt x="1190" y="1138"/>
                  </a:cubicBezTo>
                  <a:cubicBezTo>
                    <a:pt x="1191" y="1136"/>
                    <a:pt x="1191" y="1136"/>
                    <a:pt x="1191" y="1135"/>
                  </a:cubicBezTo>
                  <a:cubicBezTo>
                    <a:pt x="1191" y="1135"/>
                    <a:pt x="1191" y="1134"/>
                    <a:pt x="1192" y="1133"/>
                  </a:cubicBezTo>
                  <a:cubicBezTo>
                    <a:pt x="1193" y="1133"/>
                    <a:pt x="1193" y="1132"/>
                    <a:pt x="1193" y="1132"/>
                  </a:cubicBezTo>
                  <a:cubicBezTo>
                    <a:pt x="1193" y="1132"/>
                    <a:pt x="1195" y="1130"/>
                    <a:pt x="1196" y="1131"/>
                  </a:cubicBezTo>
                  <a:cubicBezTo>
                    <a:pt x="1196" y="1132"/>
                    <a:pt x="1196" y="1134"/>
                    <a:pt x="1197" y="1135"/>
                  </a:cubicBezTo>
                  <a:cubicBezTo>
                    <a:pt x="1198" y="1136"/>
                    <a:pt x="1199" y="1134"/>
                    <a:pt x="1200" y="1134"/>
                  </a:cubicBezTo>
                  <a:cubicBezTo>
                    <a:pt x="1201" y="1133"/>
                    <a:pt x="1202" y="1132"/>
                    <a:pt x="1203" y="1132"/>
                  </a:cubicBezTo>
                  <a:cubicBezTo>
                    <a:pt x="1203" y="1132"/>
                    <a:pt x="1204" y="1131"/>
                    <a:pt x="1205" y="1131"/>
                  </a:cubicBezTo>
                  <a:cubicBezTo>
                    <a:pt x="1205" y="1132"/>
                    <a:pt x="1205" y="1132"/>
                    <a:pt x="1206" y="1133"/>
                  </a:cubicBezTo>
                  <a:cubicBezTo>
                    <a:pt x="1207" y="1134"/>
                    <a:pt x="1209" y="1134"/>
                    <a:pt x="1209" y="1135"/>
                  </a:cubicBezTo>
                  <a:cubicBezTo>
                    <a:pt x="1209" y="1135"/>
                    <a:pt x="1209" y="1135"/>
                    <a:pt x="1209" y="1135"/>
                  </a:cubicBezTo>
                  <a:cubicBezTo>
                    <a:pt x="1209" y="1136"/>
                    <a:pt x="1210" y="1136"/>
                    <a:pt x="1211" y="1137"/>
                  </a:cubicBezTo>
                  <a:cubicBezTo>
                    <a:pt x="1214" y="1141"/>
                    <a:pt x="1216" y="1140"/>
                    <a:pt x="1214" y="1141"/>
                  </a:cubicBezTo>
                  <a:cubicBezTo>
                    <a:pt x="1212" y="1141"/>
                    <a:pt x="1211" y="1140"/>
                    <a:pt x="1210" y="1141"/>
                  </a:cubicBezTo>
                  <a:cubicBezTo>
                    <a:pt x="1209" y="1143"/>
                    <a:pt x="1210" y="1144"/>
                    <a:pt x="1209" y="1145"/>
                  </a:cubicBezTo>
                  <a:cubicBezTo>
                    <a:pt x="1209" y="1146"/>
                    <a:pt x="1210" y="1145"/>
                    <a:pt x="1210" y="1147"/>
                  </a:cubicBezTo>
                  <a:cubicBezTo>
                    <a:pt x="1210" y="1148"/>
                    <a:pt x="1214" y="1152"/>
                    <a:pt x="1217" y="1154"/>
                  </a:cubicBezTo>
                  <a:cubicBezTo>
                    <a:pt x="1218" y="1156"/>
                    <a:pt x="1219" y="1156"/>
                    <a:pt x="1219" y="1156"/>
                  </a:cubicBezTo>
                  <a:cubicBezTo>
                    <a:pt x="1219" y="1156"/>
                    <a:pt x="1219" y="1157"/>
                    <a:pt x="1219" y="1158"/>
                  </a:cubicBezTo>
                  <a:cubicBezTo>
                    <a:pt x="1219" y="1159"/>
                    <a:pt x="1219" y="1158"/>
                    <a:pt x="1220" y="1160"/>
                  </a:cubicBezTo>
                  <a:cubicBezTo>
                    <a:pt x="1221" y="1162"/>
                    <a:pt x="1222" y="1162"/>
                    <a:pt x="1222" y="1163"/>
                  </a:cubicBezTo>
                  <a:cubicBezTo>
                    <a:pt x="1222" y="1164"/>
                    <a:pt x="1224" y="1164"/>
                    <a:pt x="1223" y="1166"/>
                  </a:cubicBezTo>
                  <a:cubicBezTo>
                    <a:pt x="1222" y="1168"/>
                    <a:pt x="1223" y="1169"/>
                    <a:pt x="1223" y="1170"/>
                  </a:cubicBezTo>
                  <a:cubicBezTo>
                    <a:pt x="1223" y="1171"/>
                    <a:pt x="1223" y="1174"/>
                    <a:pt x="1223" y="1175"/>
                  </a:cubicBezTo>
                  <a:cubicBezTo>
                    <a:pt x="1223" y="1177"/>
                    <a:pt x="1222" y="1178"/>
                    <a:pt x="1222" y="1180"/>
                  </a:cubicBezTo>
                  <a:cubicBezTo>
                    <a:pt x="1222" y="1182"/>
                    <a:pt x="1222" y="1180"/>
                    <a:pt x="1223" y="1182"/>
                  </a:cubicBezTo>
                  <a:cubicBezTo>
                    <a:pt x="1224" y="1184"/>
                    <a:pt x="1225" y="1185"/>
                    <a:pt x="1225" y="1187"/>
                  </a:cubicBezTo>
                  <a:cubicBezTo>
                    <a:pt x="1225" y="1188"/>
                    <a:pt x="1225" y="1189"/>
                    <a:pt x="1225" y="1191"/>
                  </a:cubicBezTo>
                  <a:cubicBezTo>
                    <a:pt x="1224" y="1193"/>
                    <a:pt x="1225" y="1194"/>
                    <a:pt x="1224" y="1196"/>
                  </a:cubicBezTo>
                  <a:cubicBezTo>
                    <a:pt x="1224" y="1197"/>
                    <a:pt x="1225" y="1201"/>
                    <a:pt x="1225" y="1202"/>
                  </a:cubicBezTo>
                  <a:cubicBezTo>
                    <a:pt x="1226" y="1203"/>
                    <a:pt x="1227" y="1201"/>
                    <a:pt x="1226" y="1204"/>
                  </a:cubicBezTo>
                  <a:cubicBezTo>
                    <a:pt x="1224" y="1206"/>
                    <a:pt x="1224" y="1206"/>
                    <a:pt x="1223" y="1207"/>
                  </a:cubicBezTo>
                  <a:cubicBezTo>
                    <a:pt x="1222" y="1209"/>
                    <a:pt x="1222" y="1209"/>
                    <a:pt x="1221" y="1210"/>
                  </a:cubicBezTo>
                  <a:cubicBezTo>
                    <a:pt x="1220" y="1212"/>
                    <a:pt x="1220" y="1212"/>
                    <a:pt x="1219" y="1213"/>
                  </a:cubicBezTo>
                  <a:cubicBezTo>
                    <a:pt x="1219" y="1214"/>
                    <a:pt x="1219" y="1214"/>
                    <a:pt x="1218" y="1215"/>
                  </a:cubicBezTo>
                  <a:cubicBezTo>
                    <a:pt x="1216" y="1216"/>
                    <a:pt x="1217" y="1214"/>
                    <a:pt x="1216" y="1216"/>
                  </a:cubicBezTo>
                  <a:cubicBezTo>
                    <a:pt x="1215" y="1218"/>
                    <a:pt x="1217" y="1216"/>
                    <a:pt x="1215" y="1218"/>
                  </a:cubicBezTo>
                  <a:cubicBezTo>
                    <a:pt x="1213" y="1219"/>
                    <a:pt x="1212" y="1218"/>
                    <a:pt x="1211" y="1219"/>
                  </a:cubicBezTo>
                  <a:cubicBezTo>
                    <a:pt x="1210" y="1219"/>
                    <a:pt x="1210" y="1219"/>
                    <a:pt x="1209" y="1219"/>
                  </a:cubicBezTo>
                  <a:cubicBezTo>
                    <a:pt x="1207" y="1220"/>
                    <a:pt x="1205" y="1221"/>
                    <a:pt x="1205" y="1222"/>
                  </a:cubicBezTo>
                  <a:cubicBezTo>
                    <a:pt x="1205" y="1224"/>
                    <a:pt x="1205" y="1226"/>
                    <a:pt x="1204" y="1227"/>
                  </a:cubicBezTo>
                  <a:cubicBezTo>
                    <a:pt x="1204" y="1229"/>
                    <a:pt x="1204" y="1228"/>
                    <a:pt x="1203" y="1228"/>
                  </a:cubicBezTo>
                  <a:cubicBezTo>
                    <a:pt x="1203" y="1228"/>
                    <a:pt x="1203" y="1230"/>
                    <a:pt x="1203" y="1230"/>
                  </a:cubicBezTo>
                  <a:cubicBezTo>
                    <a:pt x="1202" y="1231"/>
                    <a:pt x="1202" y="1232"/>
                    <a:pt x="1202" y="1233"/>
                  </a:cubicBezTo>
                  <a:cubicBezTo>
                    <a:pt x="1202" y="1233"/>
                    <a:pt x="1202" y="1233"/>
                    <a:pt x="1202" y="1233"/>
                  </a:cubicBezTo>
                  <a:cubicBezTo>
                    <a:pt x="1201" y="1235"/>
                    <a:pt x="1203" y="1236"/>
                    <a:pt x="1202" y="1237"/>
                  </a:cubicBezTo>
                  <a:cubicBezTo>
                    <a:pt x="1202" y="1237"/>
                    <a:pt x="1201" y="1237"/>
                    <a:pt x="1200" y="1237"/>
                  </a:cubicBezTo>
                  <a:cubicBezTo>
                    <a:pt x="1199" y="1237"/>
                    <a:pt x="1198" y="1237"/>
                    <a:pt x="1197" y="1237"/>
                  </a:cubicBezTo>
                  <a:cubicBezTo>
                    <a:pt x="1196" y="1238"/>
                    <a:pt x="1193" y="1239"/>
                    <a:pt x="1193" y="1239"/>
                  </a:cubicBezTo>
                  <a:cubicBezTo>
                    <a:pt x="1192" y="1240"/>
                    <a:pt x="1192" y="1240"/>
                    <a:pt x="1192" y="1241"/>
                  </a:cubicBezTo>
                  <a:cubicBezTo>
                    <a:pt x="1191" y="1241"/>
                    <a:pt x="1189" y="1241"/>
                    <a:pt x="1188" y="1241"/>
                  </a:cubicBezTo>
                  <a:cubicBezTo>
                    <a:pt x="1187" y="1242"/>
                    <a:pt x="1188" y="1240"/>
                    <a:pt x="1186" y="1242"/>
                  </a:cubicBezTo>
                  <a:cubicBezTo>
                    <a:pt x="1185" y="1243"/>
                    <a:pt x="1185" y="1242"/>
                    <a:pt x="1185" y="1243"/>
                  </a:cubicBezTo>
                  <a:cubicBezTo>
                    <a:pt x="1185" y="1245"/>
                    <a:pt x="1184" y="1246"/>
                    <a:pt x="1185" y="1247"/>
                  </a:cubicBezTo>
                  <a:cubicBezTo>
                    <a:pt x="1186" y="1248"/>
                    <a:pt x="1186" y="1248"/>
                    <a:pt x="1186" y="1249"/>
                  </a:cubicBezTo>
                  <a:cubicBezTo>
                    <a:pt x="1186" y="1250"/>
                    <a:pt x="1187" y="1249"/>
                    <a:pt x="1187" y="1251"/>
                  </a:cubicBezTo>
                  <a:cubicBezTo>
                    <a:pt x="1186" y="1252"/>
                    <a:pt x="1187" y="1251"/>
                    <a:pt x="1185" y="1253"/>
                  </a:cubicBezTo>
                  <a:cubicBezTo>
                    <a:pt x="1183" y="1255"/>
                    <a:pt x="1182" y="1255"/>
                    <a:pt x="1181" y="1256"/>
                  </a:cubicBezTo>
                  <a:cubicBezTo>
                    <a:pt x="1181" y="1257"/>
                    <a:pt x="1181" y="1257"/>
                    <a:pt x="1182" y="1258"/>
                  </a:cubicBezTo>
                  <a:cubicBezTo>
                    <a:pt x="1182" y="1260"/>
                    <a:pt x="1182" y="1260"/>
                    <a:pt x="1182" y="1261"/>
                  </a:cubicBezTo>
                  <a:cubicBezTo>
                    <a:pt x="1182" y="1262"/>
                    <a:pt x="1182" y="1266"/>
                    <a:pt x="1181" y="1267"/>
                  </a:cubicBezTo>
                  <a:cubicBezTo>
                    <a:pt x="1181" y="1268"/>
                    <a:pt x="1179" y="1269"/>
                    <a:pt x="1178" y="1271"/>
                  </a:cubicBezTo>
                  <a:cubicBezTo>
                    <a:pt x="1177" y="1273"/>
                    <a:pt x="1177" y="1271"/>
                    <a:pt x="1177" y="1273"/>
                  </a:cubicBezTo>
                  <a:cubicBezTo>
                    <a:pt x="1177" y="1275"/>
                    <a:pt x="1179" y="1275"/>
                    <a:pt x="1178" y="1276"/>
                  </a:cubicBezTo>
                  <a:cubicBezTo>
                    <a:pt x="1177" y="1278"/>
                    <a:pt x="1176" y="1276"/>
                    <a:pt x="1177" y="1278"/>
                  </a:cubicBezTo>
                  <a:cubicBezTo>
                    <a:pt x="1178" y="1280"/>
                    <a:pt x="1181" y="1280"/>
                    <a:pt x="1180" y="1281"/>
                  </a:cubicBezTo>
                  <a:cubicBezTo>
                    <a:pt x="1179" y="1281"/>
                    <a:pt x="1179" y="1281"/>
                    <a:pt x="1178" y="1282"/>
                  </a:cubicBezTo>
                  <a:cubicBezTo>
                    <a:pt x="1178" y="1283"/>
                    <a:pt x="1178" y="1283"/>
                    <a:pt x="1179" y="1284"/>
                  </a:cubicBezTo>
                  <a:cubicBezTo>
                    <a:pt x="1181" y="1285"/>
                    <a:pt x="1183" y="1285"/>
                    <a:pt x="1183" y="1287"/>
                  </a:cubicBezTo>
                  <a:cubicBezTo>
                    <a:pt x="1183" y="1289"/>
                    <a:pt x="1184" y="1290"/>
                    <a:pt x="1184" y="1290"/>
                  </a:cubicBezTo>
                  <a:cubicBezTo>
                    <a:pt x="1184" y="1290"/>
                    <a:pt x="1186" y="1291"/>
                    <a:pt x="1187" y="1289"/>
                  </a:cubicBezTo>
                  <a:cubicBezTo>
                    <a:pt x="1187" y="1288"/>
                    <a:pt x="1188" y="1287"/>
                    <a:pt x="1189" y="1286"/>
                  </a:cubicBezTo>
                  <a:cubicBezTo>
                    <a:pt x="1189" y="1285"/>
                    <a:pt x="1191" y="1281"/>
                    <a:pt x="1191" y="1282"/>
                  </a:cubicBezTo>
                  <a:cubicBezTo>
                    <a:pt x="1192" y="1283"/>
                    <a:pt x="1190" y="1289"/>
                    <a:pt x="1190" y="1289"/>
                  </a:cubicBezTo>
                  <a:cubicBezTo>
                    <a:pt x="1190" y="1289"/>
                    <a:pt x="1192" y="1289"/>
                    <a:pt x="1191" y="1291"/>
                  </a:cubicBezTo>
                  <a:cubicBezTo>
                    <a:pt x="1190" y="1293"/>
                    <a:pt x="1186" y="1296"/>
                    <a:pt x="1186" y="1296"/>
                  </a:cubicBezTo>
                  <a:cubicBezTo>
                    <a:pt x="1186" y="1296"/>
                    <a:pt x="1186" y="1296"/>
                    <a:pt x="1186" y="1296"/>
                  </a:cubicBezTo>
                  <a:cubicBezTo>
                    <a:pt x="1185" y="1297"/>
                    <a:pt x="1184" y="1297"/>
                    <a:pt x="1183" y="1298"/>
                  </a:cubicBezTo>
                  <a:cubicBezTo>
                    <a:pt x="1182" y="1298"/>
                    <a:pt x="1181" y="1298"/>
                    <a:pt x="1180" y="1300"/>
                  </a:cubicBezTo>
                  <a:cubicBezTo>
                    <a:pt x="1178" y="1301"/>
                    <a:pt x="1180" y="1299"/>
                    <a:pt x="1177" y="1301"/>
                  </a:cubicBezTo>
                  <a:cubicBezTo>
                    <a:pt x="1175" y="1303"/>
                    <a:pt x="1174" y="1304"/>
                    <a:pt x="1173" y="1305"/>
                  </a:cubicBezTo>
                  <a:cubicBezTo>
                    <a:pt x="1173" y="1306"/>
                    <a:pt x="1172" y="1309"/>
                    <a:pt x="1172" y="1310"/>
                  </a:cubicBezTo>
                  <a:cubicBezTo>
                    <a:pt x="1171" y="1312"/>
                    <a:pt x="1170" y="1313"/>
                    <a:pt x="1170" y="1314"/>
                  </a:cubicBezTo>
                  <a:cubicBezTo>
                    <a:pt x="1170" y="1316"/>
                    <a:pt x="1170" y="1314"/>
                    <a:pt x="1170" y="1317"/>
                  </a:cubicBezTo>
                  <a:cubicBezTo>
                    <a:pt x="1170" y="1320"/>
                    <a:pt x="1170" y="1319"/>
                    <a:pt x="1171" y="1321"/>
                  </a:cubicBezTo>
                  <a:cubicBezTo>
                    <a:pt x="1172" y="1323"/>
                    <a:pt x="1172" y="1323"/>
                    <a:pt x="1173" y="1324"/>
                  </a:cubicBezTo>
                  <a:cubicBezTo>
                    <a:pt x="1175" y="1325"/>
                    <a:pt x="1175" y="1324"/>
                    <a:pt x="1176" y="1326"/>
                  </a:cubicBezTo>
                  <a:cubicBezTo>
                    <a:pt x="1176" y="1328"/>
                    <a:pt x="1177" y="1327"/>
                    <a:pt x="1177" y="1329"/>
                  </a:cubicBezTo>
                  <a:cubicBezTo>
                    <a:pt x="1176" y="1331"/>
                    <a:pt x="1178" y="1330"/>
                    <a:pt x="1176" y="1332"/>
                  </a:cubicBezTo>
                  <a:cubicBezTo>
                    <a:pt x="1174" y="1333"/>
                    <a:pt x="1174" y="1331"/>
                    <a:pt x="1174" y="1333"/>
                  </a:cubicBezTo>
                  <a:cubicBezTo>
                    <a:pt x="1174" y="1334"/>
                    <a:pt x="1174" y="1334"/>
                    <a:pt x="1174" y="1335"/>
                  </a:cubicBezTo>
                  <a:cubicBezTo>
                    <a:pt x="1174" y="1336"/>
                    <a:pt x="1176" y="1336"/>
                    <a:pt x="1177" y="1338"/>
                  </a:cubicBezTo>
                  <a:cubicBezTo>
                    <a:pt x="1179" y="1340"/>
                    <a:pt x="1182" y="1341"/>
                    <a:pt x="1183" y="1341"/>
                  </a:cubicBezTo>
                  <a:cubicBezTo>
                    <a:pt x="1183" y="1341"/>
                    <a:pt x="1183" y="1341"/>
                    <a:pt x="1184" y="1341"/>
                  </a:cubicBezTo>
                  <a:cubicBezTo>
                    <a:pt x="1185" y="1341"/>
                    <a:pt x="1187" y="1341"/>
                    <a:pt x="1187" y="1342"/>
                  </a:cubicBezTo>
                  <a:cubicBezTo>
                    <a:pt x="1187" y="1343"/>
                    <a:pt x="1189" y="1344"/>
                    <a:pt x="1190" y="1345"/>
                  </a:cubicBezTo>
                  <a:cubicBezTo>
                    <a:pt x="1190" y="1346"/>
                    <a:pt x="1192" y="1347"/>
                    <a:pt x="1192" y="1348"/>
                  </a:cubicBezTo>
                  <a:cubicBezTo>
                    <a:pt x="1192" y="1350"/>
                    <a:pt x="1192" y="1350"/>
                    <a:pt x="1193" y="1351"/>
                  </a:cubicBezTo>
                  <a:cubicBezTo>
                    <a:pt x="1193" y="1352"/>
                    <a:pt x="1195" y="1354"/>
                    <a:pt x="1195" y="1355"/>
                  </a:cubicBezTo>
                  <a:cubicBezTo>
                    <a:pt x="1195" y="1355"/>
                    <a:pt x="1197" y="1356"/>
                    <a:pt x="1197" y="1358"/>
                  </a:cubicBezTo>
                  <a:cubicBezTo>
                    <a:pt x="1197" y="1359"/>
                    <a:pt x="1200" y="1363"/>
                    <a:pt x="1200" y="1364"/>
                  </a:cubicBezTo>
                  <a:cubicBezTo>
                    <a:pt x="1200" y="1365"/>
                    <a:pt x="1200" y="1365"/>
                    <a:pt x="1201" y="1366"/>
                  </a:cubicBezTo>
                  <a:cubicBezTo>
                    <a:pt x="1202" y="1367"/>
                    <a:pt x="1202" y="1368"/>
                    <a:pt x="1203" y="1369"/>
                  </a:cubicBezTo>
                  <a:cubicBezTo>
                    <a:pt x="1203" y="1370"/>
                    <a:pt x="1204" y="1371"/>
                    <a:pt x="1204" y="1371"/>
                  </a:cubicBezTo>
                  <a:cubicBezTo>
                    <a:pt x="1205" y="1372"/>
                    <a:pt x="1205" y="1372"/>
                    <a:pt x="1206" y="1373"/>
                  </a:cubicBezTo>
                  <a:cubicBezTo>
                    <a:pt x="1206" y="1374"/>
                    <a:pt x="1207" y="1374"/>
                    <a:pt x="1208" y="1375"/>
                  </a:cubicBezTo>
                  <a:cubicBezTo>
                    <a:pt x="1209" y="1376"/>
                    <a:pt x="1210" y="1376"/>
                    <a:pt x="1210" y="1377"/>
                  </a:cubicBezTo>
                  <a:cubicBezTo>
                    <a:pt x="1210" y="1379"/>
                    <a:pt x="1211" y="1380"/>
                    <a:pt x="1212" y="1382"/>
                  </a:cubicBezTo>
                  <a:cubicBezTo>
                    <a:pt x="1212" y="1384"/>
                    <a:pt x="1212" y="1385"/>
                    <a:pt x="1214" y="1388"/>
                  </a:cubicBezTo>
                  <a:cubicBezTo>
                    <a:pt x="1215" y="1392"/>
                    <a:pt x="1216" y="1395"/>
                    <a:pt x="1217" y="1396"/>
                  </a:cubicBezTo>
                  <a:cubicBezTo>
                    <a:pt x="1217" y="1398"/>
                    <a:pt x="1217" y="1397"/>
                    <a:pt x="1218" y="1398"/>
                  </a:cubicBezTo>
                  <a:cubicBezTo>
                    <a:pt x="1219" y="1400"/>
                    <a:pt x="1221" y="1403"/>
                    <a:pt x="1222" y="1405"/>
                  </a:cubicBezTo>
                  <a:cubicBezTo>
                    <a:pt x="1223" y="1406"/>
                    <a:pt x="1224" y="1406"/>
                    <a:pt x="1225" y="1408"/>
                  </a:cubicBezTo>
                  <a:cubicBezTo>
                    <a:pt x="1225" y="1410"/>
                    <a:pt x="1226" y="1411"/>
                    <a:pt x="1226" y="1413"/>
                  </a:cubicBezTo>
                  <a:cubicBezTo>
                    <a:pt x="1227" y="1414"/>
                    <a:pt x="1228" y="1416"/>
                    <a:pt x="1229" y="1417"/>
                  </a:cubicBezTo>
                  <a:cubicBezTo>
                    <a:pt x="1229" y="1418"/>
                    <a:pt x="1230" y="1417"/>
                    <a:pt x="1231" y="1420"/>
                  </a:cubicBezTo>
                  <a:cubicBezTo>
                    <a:pt x="1232" y="1423"/>
                    <a:pt x="1231" y="1422"/>
                    <a:pt x="1233" y="1425"/>
                  </a:cubicBezTo>
                  <a:cubicBezTo>
                    <a:pt x="1235" y="1427"/>
                    <a:pt x="1237" y="1427"/>
                    <a:pt x="1237" y="1429"/>
                  </a:cubicBezTo>
                  <a:cubicBezTo>
                    <a:pt x="1237" y="1431"/>
                    <a:pt x="1238" y="1432"/>
                    <a:pt x="1238" y="1434"/>
                  </a:cubicBezTo>
                  <a:cubicBezTo>
                    <a:pt x="1239" y="1435"/>
                    <a:pt x="1240" y="1434"/>
                    <a:pt x="1239" y="1437"/>
                  </a:cubicBezTo>
                  <a:cubicBezTo>
                    <a:pt x="1239" y="1439"/>
                    <a:pt x="1238" y="1439"/>
                    <a:pt x="1238" y="1441"/>
                  </a:cubicBezTo>
                  <a:cubicBezTo>
                    <a:pt x="1238" y="1442"/>
                    <a:pt x="1238" y="1442"/>
                    <a:pt x="1238" y="1443"/>
                  </a:cubicBezTo>
                  <a:cubicBezTo>
                    <a:pt x="1239" y="1445"/>
                    <a:pt x="1239" y="1445"/>
                    <a:pt x="1240" y="1446"/>
                  </a:cubicBezTo>
                  <a:cubicBezTo>
                    <a:pt x="1246" y="1450"/>
                    <a:pt x="1246" y="1450"/>
                    <a:pt x="1246" y="1450"/>
                  </a:cubicBezTo>
                  <a:cubicBezTo>
                    <a:pt x="1246" y="1450"/>
                    <a:pt x="1245" y="1453"/>
                    <a:pt x="1247" y="1455"/>
                  </a:cubicBezTo>
                  <a:cubicBezTo>
                    <a:pt x="1248" y="1456"/>
                    <a:pt x="1249" y="1455"/>
                    <a:pt x="1249" y="1456"/>
                  </a:cubicBezTo>
                  <a:cubicBezTo>
                    <a:pt x="1250" y="1458"/>
                    <a:pt x="1254" y="1458"/>
                    <a:pt x="1254" y="1459"/>
                  </a:cubicBezTo>
                  <a:cubicBezTo>
                    <a:pt x="1255" y="1459"/>
                    <a:pt x="1257" y="1461"/>
                    <a:pt x="1257" y="1462"/>
                  </a:cubicBezTo>
                  <a:cubicBezTo>
                    <a:pt x="1257" y="1463"/>
                    <a:pt x="1258" y="1464"/>
                    <a:pt x="1259" y="1465"/>
                  </a:cubicBezTo>
                  <a:cubicBezTo>
                    <a:pt x="1263" y="1467"/>
                    <a:pt x="1265" y="1466"/>
                    <a:pt x="1266" y="1467"/>
                  </a:cubicBezTo>
                  <a:cubicBezTo>
                    <a:pt x="1267" y="1469"/>
                    <a:pt x="1274" y="1474"/>
                    <a:pt x="1276" y="1475"/>
                  </a:cubicBezTo>
                  <a:cubicBezTo>
                    <a:pt x="1278" y="1475"/>
                    <a:pt x="1279" y="1477"/>
                    <a:pt x="1280" y="1477"/>
                  </a:cubicBezTo>
                  <a:cubicBezTo>
                    <a:pt x="1282" y="1478"/>
                    <a:pt x="1284" y="1476"/>
                    <a:pt x="1285" y="1477"/>
                  </a:cubicBezTo>
                  <a:cubicBezTo>
                    <a:pt x="1287" y="1479"/>
                    <a:pt x="1289" y="1480"/>
                    <a:pt x="1290" y="1481"/>
                  </a:cubicBezTo>
                  <a:cubicBezTo>
                    <a:pt x="1291" y="1482"/>
                    <a:pt x="1292" y="1481"/>
                    <a:pt x="1293" y="1482"/>
                  </a:cubicBezTo>
                  <a:cubicBezTo>
                    <a:pt x="1294" y="1483"/>
                    <a:pt x="1296" y="1482"/>
                    <a:pt x="1297" y="1483"/>
                  </a:cubicBezTo>
                  <a:cubicBezTo>
                    <a:pt x="1298" y="1483"/>
                    <a:pt x="1300" y="1484"/>
                    <a:pt x="1302" y="1487"/>
                  </a:cubicBezTo>
                  <a:cubicBezTo>
                    <a:pt x="1304" y="1490"/>
                    <a:pt x="1306" y="1492"/>
                    <a:pt x="1306" y="1493"/>
                  </a:cubicBezTo>
                  <a:cubicBezTo>
                    <a:pt x="1308" y="1497"/>
                    <a:pt x="1311" y="1499"/>
                    <a:pt x="1312" y="1499"/>
                  </a:cubicBezTo>
                  <a:cubicBezTo>
                    <a:pt x="1316" y="1502"/>
                    <a:pt x="1312" y="1497"/>
                    <a:pt x="1316" y="1502"/>
                  </a:cubicBezTo>
                  <a:cubicBezTo>
                    <a:pt x="1316" y="1503"/>
                    <a:pt x="1317" y="1504"/>
                    <a:pt x="1317" y="1504"/>
                  </a:cubicBezTo>
                  <a:cubicBezTo>
                    <a:pt x="1320" y="1507"/>
                    <a:pt x="1320" y="1507"/>
                    <a:pt x="1320" y="1507"/>
                  </a:cubicBezTo>
                  <a:cubicBezTo>
                    <a:pt x="1319" y="1508"/>
                    <a:pt x="1318" y="1511"/>
                    <a:pt x="1319" y="1513"/>
                  </a:cubicBezTo>
                  <a:cubicBezTo>
                    <a:pt x="1320" y="1515"/>
                    <a:pt x="1320" y="1518"/>
                    <a:pt x="1320" y="1520"/>
                  </a:cubicBezTo>
                  <a:cubicBezTo>
                    <a:pt x="1320" y="1521"/>
                    <a:pt x="1321" y="1523"/>
                    <a:pt x="1321" y="1524"/>
                  </a:cubicBezTo>
                  <a:cubicBezTo>
                    <a:pt x="1321" y="1525"/>
                    <a:pt x="1321" y="1526"/>
                    <a:pt x="1321" y="1528"/>
                  </a:cubicBezTo>
                  <a:cubicBezTo>
                    <a:pt x="1321" y="1531"/>
                    <a:pt x="1320" y="1531"/>
                    <a:pt x="1320" y="1533"/>
                  </a:cubicBezTo>
                  <a:cubicBezTo>
                    <a:pt x="1320" y="1535"/>
                    <a:pt x="1320" y="1535"/>
                    <a:pt x="1321" y="1537"/>
                  </a:cubicBezTo>
                  <a:cubicBezTo>
                    <a:pt x="1322" y="1539"/>
                    <a:pt x="1322" y="1536"/>
                    <a:pt x="1323" y="1541"/>
                  </a:cubicBezTo>
                  <a:cubicBezTo>
                    <a:pt x="1324" y="1545"/>
                    <a:pt x="1324" y="1546"/>
                    <a:pt x="1323" y="1548"/>
                  </a:cubicBezTo>
                  <a:cubicBezTo>
                    <a:pt x="1322" y="1550"/>
                    <a:pt x="1321" y="1551"/>
                    <a:pt x="1321" y="1553"/>
                  </a:cubicBezTo>
                  <a:cubicBezTo>
                    <a:pt x="1320" y="1559"/>
                    <a:pt x="1320" y="1557"/>
                    <a:pt x="1320" y="1560"/>
                  </a:cubicBezTo>
                  <a:cubicBezTo>
                    <a:pt x="1320" y="1564"/>
                    <a:pt x="1322" y="1557"/>
                    <a:pt x="1319" y="1566"/>
                  </a:cubicBezTo>
                  <a:cubicBezTo>
                    <a:pt x="1317" y="1574"/>
                    <a:pt x="1317" y="1571"/>
                    <a:pt x="1317" y="1574"/>
                  </a:cubicBezTo>
                  <a:cubicBezTo>
                    <a:pt x="1317" y="1580"/>
                    <a:pt x="1317" y="1581"/>
                    <a:pt x="1317" y="1582"/>
                  </a:cubicBezTo>
                  <a:cubicBezTo>
                    <a:pt x="1318" y="1589"/>
                    <a:pt x="1316" y="1604"/>
                    <a:pt x="1315" y="1607"/>
                  </a:cubicBezTo>
                  <a:cubicBezTo>
                    <a:pt x="1313" y="1610"/>
                    <a:pt x="1312" y="1610"/>
                    <a:pt x="1312" y="1613"/>
                  </a:cubicBezTo>
                  <a:cubicBezTo>
                    <a:pt x="1312" y="1616"/>
                    <a:pt x="1314" y="1617"/>
                    <a:pt x="1313" y="1620"/>
                  </a:cubicBezTo>
                  <a:cubicBezTo>
                    <a:pt x="1312" y="1623"/>
                    <a:pt x="1313" y="1622"/>
                    <a:pt x="1312" y="1626"/>
                  </a:cubicBezTo>
                  <a:cubicBezTo>
                    <a:pt x="1311" y="1629"/>
                    <a:pt x="1312" y="1625"/>
                    <a:pt x="1311" y="1629"/>
                  </a:cubicBezTo>
                  <a:cubicBezTo>
                    <a:pt x="1310" y="1634"/>
                    <a:pt x="1311" y="1634"/>
                    <a:pt x="1310" y="1637"/>
                  </a:cubicBezTo>
                  <a:cubicBezTo>
                    <a:pt x="1309" y="1640"/>
                    <a:pt x="1310" y="1634"/>
                    <a:pt x="1309" y="1640"/>
                  </a:cubicBezTo>
                  <a:cubicBezTo>
                    <a:pt x="1307" y="1645"/>
                    <a:pt x="1308" y="1641"/>
                    <a:pt x="1307" y="1647"/>
                  </a:cubicBezTo>
                  <a:cubicBezTo>
                    <a:pt x="1306" y="1652"/>
                    <a:pt x="1308" y="1648"/>
                    <a:pt x="1306" y="1652"/>
                  </a:cubicBezTo>
                  <a:cubicBezTo>
                    <a:pt x="1306" y="1653"/>
                    <a:pt x="1305" y="1653"/>
                    <a:pt x="1305" y="1653"/>
                  </a:cubicBezTo>
                  <a:cubicBezTo>
                    <a:pt x="1305" y="1653"/>
                    <a:pt x="1305" y="1653"/>
                    <a:pt x="1305" y="1653"/>
                  </a:cubicBezTo>
                  <a:cubicBezTo>
                    <a:pt x="1304" y="1660"/>
                    <a:pt x="1304" y="1660"/>
                    <a:pt x="1305" y="1663"/>
                  </a:cubicBezTo>
                  <a:cubicBezTo>
                    <a:pt x="1306" y="1666"/>
                    <a:pt x="1308" y="1665"/>
                    <a:pt x="1307" y="1668"/>
                  </a:cubicBezTo>
                  <a:cubicBezTo>
                    <a:pt x="1306" y="1672"/>
                    <a:pt x="1305" y="1673"/>
                    <a:pt x="1304" y="1674"/>
                  </a:cubicBezTo>
                  <a:cubicBezTo>
                    <a:pt x="1303" y="1679"/>
                    <a:pt x="1303" y="1679"/>
                    <a:pt x="1303" y="1679"/>
                  </a:cubicBezTo>
                  <a:cubicBezTo>
                    <a:pt x="1303" y="1687"/>
                    <a:pt x="1301" y="1691"/>
                    <a:pt x="1301" y="1693"/>
                  </a:cubicBezTo>
                  <a:cubicBezTo>
                    <a:pt x="1302" y="1696"/>
                    <a:pt x="1301" y="1699"/>
                    <a:pt x="1301" y="1702"/>
                  </a:cubicBezTo>
                  <a:cubicBezTo>
                    <a:pt x="1301" y="1705"/>
                    <a:pt x="1303" y="1705"/>
                    <a:pt x="1303" y="1708"/>
                  </a:cubicBezTo>
                  <a:cubicBezTo>
                    <a:pt x="1303" y="1710"/>
                    <a:pt x="1303" y="1711"/>
                    <a:pt x="1303" y="1713"/>
                  </a:cubicBezTo>
                  <a:cubicBezTo>
                    <a:pt x="1302" y="1716"/>
                    <a:pt x="1302" y="1716"/>
                    <a:pt x="1301" y="1719"/>
                  </a:cubicBezTo>
                  <a:cubicBezTo>
                    <a:pt x="1300" y="1721"/>
                    <a:pt x="1299" y="1723"/>
                    <a:pt x="1299" y="1724"/>
                  </a:cubicBezTo>
                  <a:cubicBezTo>
                    <a:pt x="1298" y="1726"/>
                    <a:pt x="1299" y="1724"/>
                    <a:pt x="1299" y="1727"/>
                  </a:cubicBezTo>
                  <a:cubicBezTo>
                    <a:pt x="1298" y="1730"/>
                    <a:pt x="1296" y="1731"/>
                    <a:pt x="1295" y="1734"/>
                  </a:cubicBezTo>
                  <a:cubicBezTo>
                    <a:pt x="1293" y="1737"/>
                    <a:pt x="1293" y="1735"/>
                    <a:pt x="1293" y="1738"/>
                  </a:cubicBezTo>
                  <a:cubicBezTo>
                    <a:pt x="1293" y="1741"/>
                    <a:pt x="1295" y="1740"/>
                    <a:pt x="1294" y="1744"/>
                  </a:cubicBezTo>
                  <a:cubicBezTo>
                    <a:pt x="1294" y="1748"/>
                    <a:pt x="1293" y="1747"/>
                    <a:pt x="1291" y="1750"/>
                  </a:cubicBezTo>
                  <a:cubicBezTo>
                    <a:pt x="1290" y="1754"/>
                    <a:pt x="1288" y="1756"/>
                    <a:pt x="1287" y="1758"/>
                  </a:cubicBezTo>
                  <a:cubicBezTo>
                    <a:pt x="1286" y="1760"/>
                    <a:pt x="1287" y="1761"/>
                    <a:pt x="1286" y="1765"/>
                  </a:cubicBezTo>
                  <a:cubicBezTo>
                    <a:pt x="1285" y="1768"/>
                    <a:pt x="1286" y="1768"/>
                    <a:pt x="1284" y="1771"/>
                  </a:cubicBezTo>
                  <a:cubicBezTo>
                    <a:pt x="1283" y="1773"/>
                    <a:pt x="1282" y="1771"/>
                    <a:pt x="1281" y="1774"/>
                  </a:cubicBezTo>
                  <a:cubicBezTo>
                    <a:pt x="1280" y="1777"/>
                    <a:pt x="1280" y="1777"/>
                    <a:pt x="1278" y="1779"/>
                  </a:cubicBezTo>
                  <a:cubicBezTo>
                    <a:pt x="1273" y="1785"/>
                    <a:pt x="1274" y="1785"/>
                    <a:pt x="1274" y="1790"/>
                  </a:cubicBezTo>
                  <a:cubicBezTo>
                    <a:pt x="1274" y="1794"/>
                    <a:pt x="1274" y="1791"/>
                    <a:pt x="1275" y="1796"/>
                  </a:cubicBezTo>
                  <a:cubicBezTo>
                    <a:pt x="1276" y="1801"/>
                    <a:pt x="1273" y="1797"/>
                    <a:pt x="1276" y="1801"/>
                  </a:cubicBezTo>
                  <a:cubicBezTo>
                    <a:pt x="1278" y="1804"/>
                    <a:pt x="1278" y="1806"/>
                    <a:pt x="1278" y="1807"/>
                  </a:cubicBezTo>
                  <a:cubicBezTo>
                    <a:pt x="1279" y="1808"/>
                    <a:pt x="1279" y="1813"/>
                    <a:pt x="1279" y="1813"/>
                  </a:cubicBezTo>
                  <a:cubicBezTo>
                    <a:pt x="1279" y="1813"/>
                    <a:pt x="1280" y="1816"/>
                    <a:pt x="1279" y="1816"/>
                  </a:cubicBezTo>
                  <a:cubicBezTo>
                    <a:pt x="1279" y="1817"/>
                    <a:pt x="1280" y="1817"/>
                    <a:pt x="1278" y="1819"/>
                  </a:cubicBezTo>
                  <a:cubicBezTo>
                    <a:pt x="1276" y="1822"/>
                    <a:pt x="1277" y="1820"/>
                    <a:pt x="1276" y="1822"/>
                  </a:cubicBezTo>
                  <a:cubicBezTo>
                    <a:pt x="1275" y="1825"/>
                    <a:pt x="1275" y="1825"/>
                    <a:pt x="1275" y="1825"/>
                  </a:cubicBezTo>
                  <a:cubicBezTo>
                    <a:pt x="1275" y="1825"/>
                    <a:pt x="1276" y="1828"/>
                    <a:pt x="1275" y="1831"/>
                  </a:cubicBezTo>
                  <a:cubicBezTo>
                    <a:pt x="1273" y="1834"/>
                    <a:pt x="1274" y="1833"/>
                    <a:pt x="1272" y="1836"/>
                  </a:cubicBezTo>
                  <a:cubicBezTo>
                    <a:pt x="1270" y="1839"/>
                    <a:pt x="1270" y="1836"/>
                    <a:pt x="1270" y="1839"/>
                  </a:cubicBezTo>
                  <a:cubicBezTo>
                    <a:pt x="1270" y="1841"/>
                    <a:pt x="1270" y="1843"/>
                    <a:pt x="1271" y="1845"/>
                  </a:cubicBezTo>
                  <a:cubicBezTo>
                    <a:pt x="1272" y="1846"/>
                    <a:pt x="1273" y="1847"/>
                    <a:pt x="1274" y="1848"/>
                  </a:cubicBezTo>
                  <a:cubicBezTo>
                    <a:pt x="1275" y="1849"/>
                    <a:pt x="1276" y="1849"/>
                    <a:pt x="1277" y="1850"/>
                  </a:cubicBezTo>
                  <a:cubicBezTo>
                    <a:pt x="1281" y="1851"/>
                    <a:pt x="1281" y="1851"/>
                    <a:pt x="1283" y="1850"/>
                  </a:cubicBezTo>
                  <a:cubicBezTo>
                    <a:pt x="1284" y="1850"/>
                    <a:pt x="1284" y="1848"/>
                    <a:pt x="1287" y="1850"/>
                  </a:cubicBezTo>
                  <a:cubicBezTo>
                    <a:pt x="1289" y="1851"/>
                    <a:pt x="1291" y="1850"/>
                    <a:pt x="1289" y="1853"/>
                  </a:cubicBezTo>
                  <a:cubicBezTo>
                    <a:pt x="1288" y="1855"/>
                    <a:pt x="1285" y="1853"/>
                    <a:pt x="1286" y="1855"/>
                  </a:cubicBezTo>
                  <a:cubicBezTo>
                    <a:pt x="1287" y="1858"/>
                    <a:pt x="1289" y="1857"/>
                    <a:pt x="1288" y="1860"/>
                  </a:cubicBezTo>
                  <a:cubicBezTo>
                    <a:pt x="1287" y="1863"/>
                    <a:pt x="1289" y="1861"/>
                    <a:pt x="1287" y="1863"/>
                  </a:cubicBezTo>
                  <a:cubicBezTo>
                    <a:pt x="1286" y="1865"/>
                    <a:pt x="1287" y="1865"/>
                    <a:pt x="1287" y="1867"/>
                  </a:cubicBezTo>
                  <a:cubicBezTo>
                    <a:pt x="1288" y="1868"/>
                    <a:pt x="1285" y="1868"/>
                    <a:pt x="1285" y="1870"/>
                  </a:cubicBezTo>
                  <a:cubicBezTo>
                    <a:pt x="1285" y="1871"/>
                    <a:pt x="1285" y="1872"/>
                    <a:pt x="1285" y="1874"/>
                  </a:cubicBezTo>
                  <a:cubicBezTo>
                    <a:pt x="1284" y="1876"/>
                    <a:pt x="1285" y="1874"/>
                    <a:pt x="1284" y="1876"/>
                  </a:cubicBezTo>
                  <a:cubicBezTo>
                    <a:pt x="1283" y="1878"/>
                    <a:pt x="1284" y="1871"/>
                    <a:pt x="1283" y="1878"/>
                  </a:cubicBezTo>
                  <a:cubicBezTo>
                    <a:pt x="1283" y="1884"/>
                    <a:pt x="1283" y="1883"/>
                    <a:pt x="1283" y="1884"/>
                  </a:cubicBezTo>
                  <a:cubicBezTo>
                    <a:pt x="1282" y="1886"/>
                    <a:pt x="1282" y="1888"/>
                    <a:pt x="1282" y="1889"/>
                  </a:cubicBezTo>
                  <a:cubicBezTo>
                    <a:pt x="1282" y="1890"/>
                    <a:pt x="1282" y="1889"/>
                    <a:pt x="1282" y="1891"/>
                  </a:cubicBezTo>
                  <a:cubicBezTo>
                    <a:pt x="1282" y="1894"/>
                    <a:pt x="1284" y="1894"/>
                    <a:pt x="1285" y="1895"/>
                  </a:cubicBezTo>
                  <a:cubicBezTo>
                    <a:pt x="1288" y="1898"/>
                    <a:pt x="1286" y="1899"/>
                    <a:pt x="1286" y="1901"/>
                  </a:cubicBezTo>
                  <a:cubicBezTo>
                    <a:pt x="1286" y="1901"/>
                    <a:pt x="1281" y="1900"/>
                    <a:pt x="1281" y="1903"/>
                  </a:cubicBezTo>
                  <a:cubicBezTo>
                    <a:pt x="1280" y="1910"/>
                    <a:pt x="1279" y="1910"/>
                    <a:pt x="1280" y="1910"/>
                  </a:cubicBezTo>
                  <a:cubicBezTo>
                    <a:pt x="1281" y="1910"/>
                    <a:pt x="1285" y="1915"/>
                    <a:pt x="1283" y="1915"/>
                  </a:cubicBezTo>
                  <a:cubicBezTo>
                    <a:pt x="1282" y="1915"/>
                    <a:pt x="1282" y="1911"/>
                    <a:pt x="1279" y="1913"/>
                  </a:cubicBezTo>
                  <a:cubicBezTo>
                    <a:pt x="1277" y="1916"/>
                    <a:pt x="1276" y="1916"/>
                    <a:pt x="1276" y="1918"/>
                  </a:cubicBezTo>
                  <a:cubicBezTo>
                    <a:pt x="1276" y="1919"/>
                    <a:pt x="1278" y="1920"/>
                    <a:pt x="1278" y="1922"/>
                  </a:cubicBezTo>
                  <a:cubicBezTo>
                    <a:pt x="1277" y="1924"/>
                    <a:pt x="1275" y="1927"/>
                    <a:pt x="1275" y="1927"/>
                  </a:cubicBezTo>
                  <a:cubicBezTo>
                    <a:pt x="1272" y="1932"/>
                    <a:pt x="1272" y="1932"/>
                    <a:pt x="1272" y="1932"/>
                  </a:cubicBezTo>
                  <a:cubicBezTo>
                    <a:pt x="1272" y="1932"/>
                    <a:pt x="1268" y="1935"/>
                    <a:pt x="1269" y="1933"/>
                  </a:cubicBezTo>
                  <a:cubicBezTo>
                    <a:pt x="1269" y="1931"/>
                    <a:pt x="1270" y="1929"/>
                    <a:pt x="1269" y="1929"/>
                  </a:cubicBezTo>
                  <a:cubicBezTo>
                    <a:pt x="1264" y="1928"/>
                    <a:pt x="1262" y="1926"/>
                    <a:pt x="1264" y="1925"/>
                  </a:cubicBezTo>
                  <a:cubicBezTo>
                    <a:pt x="1264" y="1925"/>
                    <a:pt x="1261" y="1921"/>
                    <a:pt x="1260" y="1922"/>
                  </a:cubicBezTo>
                  <a:cubicBezTo>
                    <a:pt x="1256" y="1925"/>
                    <a:pt x="1255" y="1926"/>
                    <a:pt x="1255" y="1927"/>
                  </a:cubicBezTo>
                  <a:cubicBezTo>
                    <a:pt x="1255" y="1928"/>
                    <a:pt x="1257" y="1928"/>
                    <a:pt x="1256" y="1930"/>
                  </a:cubicBezTo>
                  <a:cubicBezTo>
                    <a:pt x="1255" y="1932"/>
                    <a:pt x="1255" y="1931"/>
                    <a:pt x="1253" y="1932"/>
                  </a:cubicBezTo>
                  <a:cubicBezTo>
                    <a:pt x="1251" y="1934"/>
                    <a:pt x="1245" y="1933"/>
                    <a:pt x="1246" y="1936"/>
                  </a:cubicBezTo>
                  <a:cubicBezTo>
                    <a:pt x="1248" y="1938"/>
                    <a:pt x="1252" y="1940"/>
                    <a:pt x="1253" y="1940"/>
                  </a:cubicBezTo>
                  <a:cubicBezTo>
                    <a:pt x="1254" y="1939"/>
                    <a:pt x="1257" y="1935"/>
                    <a:pt x="1257" y="1935"/>
                  </a:cubicBezTo>
                  <a:cubicBezTo>
                    <a:pt x="1257" y="1935"/>
                    <a:pt x="1261" y="1935"/>
                    <a:pt x="1260" y="1937"/>
                  </a:cubicBezTo>
                  <a:cubicBezTo>
                    <a:pt x="1260" y="1938"/>
                    <a:pt x="1259" y="1939"/>
                    <a:pt x="1261" y="1939"/>
                  </a:cubicBezTo>
                  <a:cubicBezTo>
                    <a:pt x="1262" y="1940"/>
                    <a:pt x="1267" y="1934"/>
                    <a:pt x="1267" y="1936"/>
                  </a:cubicBezTo>
                  <a:cubicBezTo>
                    <a:pt x="1267" y="1939"/>
                    <a:pt x="1268" y="1936"/>
                    <a:pt x="1267" y="1940"/>
                  </a:cubicBezTo>
                  <a:cubicBezTo>
                    <a:pt x="1267" y="1943"/>
                    <a:pt x="1267" y="1940"/>
                    <a:pt x="1267" y="1943"/>
                  </a:cubicBezTo>
                  <a:cubicBezTo>
                    <a:pt x="1266" y="1946"/>
                    <a:pt x="1262" y="1944"/>
                    <a:pt x="1261" y="1946"/>
                  </a:cubicBezTo>
                  <a:cubicBezTo>
                    <a:pt x="1261" y="1949"/>
                    <a:pt x="1261" y="1949"/>
                    <a:pt x="1263" y="1951"/>
                  </a:cubicBezTo>
                  <a:cubicBezTo>
                    <a:pt x="1265" y="1953"/>
                    <a:pt x="1269" y="1950"/>
                    <a:pt x="1269" y="1952"/>
                  </a:cubicBezTo>
                  <a:cubicBezTo>
                    <a:pt x="1269" y="1953"/>
                    <a:pt x="1266" y="1956"/>
                    <a:pt x="1269" y="1955"/>
                  </a:cubicBezTo>
                  <a:cubicBezTo>
                    <a:pt x="1271" y="1953"/>
                    <a:pt x="1271" y="1952"/>
                    <a:pt x="1272" y="1954"/>
                  </a:cubicBezTo>
                  <a:cubicBezTo>
                    <a:pt x="1274" y="1956"/>
                    <a:pt x="1279" y="1957"/>
                    <a:pt x="1277" y="1958"/>
                  </a:cubicBezTo>
                  <a:cubicBezTo>
                    <a:pt x="1273" y="1960"/>
                    <a:pt x="1269" y="1960"/>
                    <a:pt x="1269" y="1960"/>
                  </a:cubicBezTo>
                  <a:cubicBezTo>
                    <a:pt x="1269" y="1960"/>
                    <a:pt x="1266" y="1958"/>
                    <a:pt x="1265" y="1960"/>
                  </a:cubicBezTo>
                  <a:cubicBezTo>
                    <a:pt x="1265" y="1963"/>
                    <a:pt x="1264" y="1963"/>
                    <a:pt x="1265" y="1964"/>
                  </a:cubicBezTo>
                  <a:cubicBezTo>
                    <a:pt x="1260" y="1971"/>
                    <a:pt x="1260" y="1971"/>
                    <a:pt x="1260" y="1971"/>
                  </a:cubicBezTo>
                  <a:cubicBezTo>
                    <a:pt x="1260" y="1971"/>
                    <a:pt x="1264" y="1971"/>
                    <a:pt x="1265" y="1973"/>
                  </a:cubicBezTo>
                  <a:cubicBezTo>
                    <a:pt x="1265" y="1976"/>
                    <a:pt x="1270" y="1978"/>
                    <a:pt x="1268" y="1981"/>
                  </a:cubicBezTo>
                  <a:cubicBezTo>
                    <a:pt x="1266" y="1983"/>
                    <a:pt x="1265" y="1987"/>
                    <a:pt x="1265" y="1987"/>
                  </a:cubicBezTo>
                  <a:cubicBezTo>
                    <a:pt x="1265" y="1987"/>
                    <a:pt x="1267" y="1988"/>
                    <a:pt x="1267" y="1990"/>
                  </a:cubicBezTo>
                  <a:cubicBezTo>
                    <a:pt x="1266" y="1991"/>
                    <a:pt x="1265" y="1989"/>
                    <a:pt x="1264" y="1992"/>
                  </a:cubicBezTo>
                  <a:cubicBezTo>
                    <a:pt x="1262" y="1994"/>
                    <a:pt x="1263" y="1996"/>
                    <a:pt x="1263" y="1997"/>
                  </a:cubicBezTo>
                  <a:cubicBezTo>
                    <a:pt x="1264" y="1998"/>
                    <a:pt x="1269" y="2000"/>
                    <a:pt x="1268" y="2001"/>
                  </a:cubicBezTo>
                  <a:cubicBezTo>
                    <a:pt x="1268" y="2002"/>
                    <a:pt x="1268" y="2003"/>
                    <a:pt x="1266" y="2004"/>
                  </a:cubicBezTo>
                  <a:cubicBezTo>
                    <a:pt x="1262" y="2008"/>
                    <a:pt x="1261" y="2005"/>
                    <a:pt x="1259" y="2007"/>
                  </a:cubicBezTo>
                  <a:cubicBezTo>
                    <a:pt x="1258" y="2009"/>
                    <a:pt x="1257" y="2007"/>
                    <a:pt x="1260" y="2010"/>
                  </a:cubicBezTo>
                  <a:cubicBezTo>
                    <a:pt x="1262" y="2012"/>
                    <a:pt x="1264" y="2013"/>
                    <a:pt x="1267" y="2013"/>
                  </a:cubicBezTo>
                  <a:cubicBezTo>
                    <a:pt x="1269" y="2013"/>
                    <a:pt x="1269" y="2009"/>
                    <a:pt x="1271" y="2012"/>
                  </a:cubicBezTo>
                  <a:cubicBezTo>
                    <a:pt x="1272" y="2015"/>
                    <a:pt x="1275" y="2016"/>
                    <a:pt x="1275" y="2019"/>
                  </a:cubicBezTo>
                  <a:cubicBezTo>
                    <a:pt x="1275" y="2021"/>
                    <a:pt x="1274" y="2021"/>
                    <a:pt x="1274" y="2023"/>
                  </a:cubicBezTo>
                  <a:cubicBezTo>
                    <a:pt x="1275" y="2026"/>
                    <a:pt x="1276" y="2027"/>
                    <a:pt x="1277" y="2026"/>
                  </a:cubicBezTo>
                  <a:cubicBezTo>
                    <a:pt x="1278" y="2026"/>
                    <a:pt x="1280" y="2028"/>
                    <a:pt x="1280" y="2025"/>
                  </a:cubicBezTo>
                  <a:cubicBezTo>
                    <a:pt x="1281" y="2022"/>
                    <a:pt x="1281" y="2020"/>
                    <a:pt x="1282" y="2021"/>
                  </a:cubicBezTo>
                  <a:cubicBezTo>
                    <a:pt x="1282" y="2021"/>
                    <a:pt x="1284" y="2021"/>
                    <a:pt x="1285" y="2021"/>
                  </a:cubicBezTo>
                  <a:cubicBezTo>
                    <a:pt x="1286" y="2022"/>
                    <a:pt x="1288" y="2024"/>
                    <a:pt x="1289" y="2023"/>
                  </a:cubicBezTo>
                  <a:cubicBezTo>
                    <a:pt x="1289" y="2022"/>
                    <a:pt x="1291" y="2020"/>
                    <a:pt x="1291" y="2021"/>
                  </a:cubicBezTo>
                  <a:cubicBezTo>
                    <a:pt x="1291" y="2023"/>
                    <a:pt x="1290" y="2025"/>
                    <a:pt x="1290" y="2028"/>
                  </a:cubicBezTo>
                  <a:cubicBezTo>
                    <a:pt x="1290" y="2030"/>
                    <a:pt x="1287" y="2028"/>
                    <a:pt x="1286" y="2030"/>
                  </a:cubicBezTo>
                  <a:cubicBezTo>
                    <a:pt x="1285" y="2032"/>
                    <a:pt x="1287" y="2031"/>
                    <a:pt x="1287" y="2033"/>
                  </a:cubicBezTo>
                  <a:cubicBezTo>
                    <a:pt x="1287" y="2035"/>
                    <a:pt x="1290" y="2031"/>
                    <a:pt x="1289" y="2035"/>
                  </a:cubicBezTo>
                  <a:cubicBezTo>
                    <a:pt x="1287" y="2040"/>
                    <a:pt x="1293" y="2032"/>
                    <a:pt x="1294" y="2035"/>
                  </a:cubicBezTo>
                  <a:cubicBezTo>
                    <a:pt x="1296" y="2038"/>
                    <a:pt x="1299" y="2037"/>
                    <a:pt x="1300" y="2038"/>
                  </a:cubicBezTo>
                  <a:cubicBezTo>
                    <a:pt x="1302" y="2039"/>
                    <a:pt x="1304" y="2038"/>
                    <a:pt x="1304" y="2041"/>
                  </a:cubicBezTo>
                  <a:cubicBezTo>
                    <a:pt x="1305" y="2043"/>
                    <a:pt x="1305" y="2044"/>
                    <a:pt x="1306" y="2045"/>
                  </a:cubicBezTo>
                  <a:cubicBezTo>
                    <a:pt x="1306" y="2046"/>
                    <a:pt x="1309" y="2049"/>
                    <a:pt x="1307" y="2049"/>
                  </a:cubicBezTo>
                  <a:cubicBezTo>
                    <a:pt x="1304" y="2050"/>
                    <a:pt x="1302" y="2047"/>
                    <a:pt x="1300" y="2049"/>
                  </a:cubicBezTo>
                  <a:cubicBezTo>
                    <a:pt x="1298" y="2051"/>
                    <a:pt x="1297" y="2049"/>
                    <a:pt x="1297" y="2052"/>
                  </a:cubicBezTo>
                  <a:cubicBezTo>
                    <a:pt x="1296" y="2055"/>
                    <a:pt x="1297" y="2053"/>
                    <a:pt x="1297" y="2056"/>
                  </a:cubicBezTo>
                  <a:cubicBezTo>
                    <a:pt x="1298" y="2059"/>
                    <a:pt x="1295" y="2059"/>
                    <a:pt x="1299" y="2060"/>
                  </a:cubicBezTo>
                  <a:cubicBezTo>
                    <a:pt x="1303" y="2061"/>
                    <a:pt x="1306" y="2061"/>
                    <a:pt x="1308" y="2062"/>
                  </a:cubicBezTo>
                  <a:cubicBezTo>
                    <a:pt x="1309" y="2063"/>
                    <a:pt x="1312" y="2059"/>
                    <a:pt x="1312" y="2057"/>
                  </a:cubicBezTo>
                  <a:cubicBezTo>
                    <a:pt x="1312" y="2056"/>
                    <a:pt x="1312" y="2054"/>
                    <a:pt x="1312" y="2052"/>
                  </a:cubicBezTo>
                  <a:cubicBezTo>
                    <a:pt x="1311" y="2049"/>
                    <a:pt x="1314" y="2046"/>
                    <a:pt x="1314" y="2046"/>
                  </a:cubicBezTo>
                  <a:cubicBezTo>
                    <a:pt x="1317" y="2044"/>
                    <a:pt x="1317" y="2044"/>
                    <a:pt x="1317" y="2044"/>
                  </a:cubicBezTo>
                  <a:cubicBezTo>
                    <a:pt x="1320" y="2042"/>
                    <a:pt x="1320" y="2042"/>
                    <a:pt x="1320" y="2042"/>
                  </a:cubicBezTo>
                  <a:cubicBezTo>
                    <a:pt x="1320" y="2042"/>
                    <a:pt x="1318" y="2040"/>
                    <a:pt x="1322" y="2039"/>
                  </a:cubicBezTo>
                  <a:cubicBezTo>
                    <a:pt x="1326" y="2038"/>
                    <a:pt x="1328" y="2040"/>
                    <a:pt x="1328" y="2040"/>
                  </a:cubicBezTo>
                  <a:cubicBezTo>
                    <a:pt x="1328" y="2040"/>
                    <a:pt x="1328" y="2040"/>
                    <a:pt x="1328" y="2040"/>
                  </a:cubicBezTo>
                  <a:cubicBezTo>
                    <a:pt x="1328" y="2040"/>
                    <a:pt x="1332" y="2042"/>
                    <a:pt x="1327" y="2043"/>
                  </a:cubicBezTo>
                  <a:cubicBezTo>
                    <a:pt x="1321" y="2045"/>
                    <a:pt x="1316" y="2050"/>
                    <a:pt x="1318" y="2051"/>
                  </a:cubicBezTo>
                  <a:cubicBezTo>
                    <a:pt x="1320" y="2052"/>
                    <a:pt x="1324" y="2052"/>
                    <a:pt x="1325" y="2052"/>
                  </a:cubicBezTo>
                  <a:cubicBezTo>
                    <a:pt x="1326" y="2052"/>
                    <a:pt x="1330" y="2052"/>
                    <a:pt x="1329" y="2053"/>
                  </a:cubicBezTo>
                  <a:cubicBezTo>
                    <a:pt x="1329" y="2055"/>
                    <a:pt x="1327" y="2057"/>
                    <a:pt x="1327" y="2057"/>
                  </a:cubicBezTo>
                  <a:cubicBezTo>
                    <a:pt x="1327" y="2057"/>
                    <a:pt x="1323" y="2054"/>
                    <a:pt x="1323" y="2057"/>
                  </a:cubicBezTo>
                  <a:cubicBezTo>
                    <a:pt x="1323" y="2061"/>
                    <a:pt x="1323" y="2061"/>
                    <a:pt x="1323" y="2063"/>
                  </a:cubicBezTo>
                  <a:cubicBezTo>
                    <a:pt x="1323" y="2066"/>
                    <a:pt x="1329" y="2066"/>
                    <a:pt x="1329" y="2068"/>
                  </a:cubicBezTo>
                  <a:cubicBezTo>
                    <a:pt x="1329" y="2069"/>
                    <a:pt x="1332" y="2070"/>
                    <a:pt x="1329" y="2071"/>
                  </a:cubicBezTo>
                  <a:cubicBezTo>
                    <a:pt x="1326" y="2072"/>
                    <a:pt x="1323" y="2070"/>
                    <a:pt x="1323" y="2070"/>
                  </a:cubicBezTo>
                  <a:cubicBezTo>
                    <a:pt x="1323" y="2070"/>
                    <a:pt x="1315" y="2069"/>
                    <a:pt x="1314" y="2070"/>
                  </a:cubicBezTo>
                  <a:cubicBezTo>
                    <a:pt x="1313" y="2071"/>
                    <a:pt x="1311" y="2071"/>
                    <a:pt x="1309" y="2073"/>
                  </a:cubicBezTo>
                  <a:cubicBezTo>
                    <a:pt x="1307" y="2074"/>
                    <a:pt x="1306" y="2077"/>
                    <a:pt x="1309" y="2077"/>
                  </a:cubicBezTo>
                  <a:cubicBezTo>
                    <a:pt x="1311" y="2076"/>
                    <a:pt x="1316" y="2080"/>
                    <a:pt x="1317" y="2079"/>
                  </a:cubicBezTo>
                  <a:cubicBezTo>
                    <a:pt x="1318" y="2078"/>
                    <a:pt x="1321" y="2078"/>
                    <a:pt x="1323" y="2078"/>
                  </a:cubicBezTo>
                  <a:cubicBezTo>
                    <a:pt x="1324" y="2078"/>
                    <a:pt x="1329" y="2077"/>
                    <a:pt x="1329" y="2077"/>
                  </a:cubicBezTo>
                  <a:cubicBezTo>
                    <a:pt x="1329" y="2077"/>
                    <a:pt x="1329" y="2079"/>
                    <a:pt x="1331" y="2080"/>
                  </a:cubicBezTo>
                  <a:cubicBezTo>
                    <a:pt x="1333" y="2082"/>
                    <a:pt x="1336" y="2082"/>
                    <a:pt x="1337" y="2082"/>
                  </a:cubicBezTo>
                  <a:cubicBezTo>
                    <a:pt x="1337" y="2081"/>
                    <a:pt x="1334" y="2080"/>
                    <a:pt x="1339" y="2082"/>
                  </a:cubicBezTo>
                  <a:cubicBezTo>
                    <a:pt x="1340" y="2082"/>
                    <a:pt x="1340" y="2082"/>
                    <a:pt x="1341" y="2082"/>
                  </a:cubicBezTo>
                  <a:cubicBezTo>
                    <a:pt x="1345" y="2083"/>
                    <a:pt x="1346" y="2081"/>
                    <a:pt x="1347" y="2082"/>
                  </a:cubicBezTo>
                  <a:cubicBezTo>
                    <a:pt x="1348" y="2083"/>
                    <a:pt x="1353" y="2081"/>
                    <a:pt x="1354" y="2082"/>
                  </a:cubicBezTo>
                  <a:cubicBezTo>
                    <a:pt x="1358" y="2084"/>
                    <a:pt x="1359" y="2083"/>
                    <a:pt x="1361" y="2084"/>
                  </a:cubicBezTo>
                  <a:cubicBezTo>
                    <a:pt x="1362" y="2085"/>
                    <a:pt x="1364" y="2083"/>
                    <a:pt x="1365" y="2083"/>
                  </a:cubicBezTo>
                  <a:cubicBezTo>
                    <a:pt x="1367" y="2084"/>
                    <a:pt x="1371" y="2083"/>
                    <a:pt x="1371" y="2083"/>
                  </a:cubicBezTo>
                  <a:cubicBezTo>
                    <a:pt x="1371" y="2083"/>
                    <a:pt x="1375" y="2082"/>
                    <a:pt x="1374" y="2083"/>
                  </a:cubicBezTo>
                  <a:cubicBezTo>
                    <a:pt x="1373" y="2084"/>
                    <a:pt x="1378" y="2085"/>
                    <a:pt x="1380" y="2084"/>
                  </a:cubicBezTo>
                  <a:cubicBezTo>
                    <a:pt x="1381" y="2083"/>
                    <a:pt x="1386" y="2080"/>
                    <a:pt x="1386" y="2080"/>
                  </a:cubicBezTo>
                  <a:cubicBezTo>
                    <a:pt x="1385" y="2079"/>
                    <a:pt x="1385" y="2079"/>
                    <a:pt x="1385" y="2079"/>
                  </a:cubicBezTo>
                  <a:cubicBezTo>
                    <a:pt x="1385" y="2079"/>
                    <a:pt x="1387" y="2076"/>
                    <a:pt x="1384" y="2076"/>
                  </a:cubicBezTo>
                  <a:cubicBezTo>
                    <a:pt x="1381" y="2076"/>
                    <a:pt x="1378" y="2074"/>
                    <a:pt x="1375" y="2074"/>
                  </a:cubicBezTo>
                  <a:cubicBezTo>
                    <a:pt x="1372" y="2075"/>
                    <a:pt x="1368" y="2073"/>
                    <a:pt x="1368" y="2073"/>
                  </a:cubicBezTo>
                  <a:cubicBezTo>
                    <a:pt x="1368" y="2073"/>
                    <a:pt x="1366" y="2070"/>
                    <a:pt x="1364" y="2069"/>
                  </a:cubicBezTo>
                  <a:cubicBezTo>
                    <a:pt x="1362" y="2067"/>
                    <a:pt x="1361" y="2068"/>
                    <a:pt x="1361" y="2066"/>
                  </a:cubicBezTo>
                  <a:cubicBezTo>
                    <a:pt x="1360" y="2064"/>
                    <a:pt x="1361" y="2060"/>
                    <a:pt x="1359" y="2061"/>
                  </a:cubicBezTo>
                  <a:cubicBezTo>
                    <a:pt x="1357" y="2062"/>
                    <a:pt x="1355" y="2060"/>
                    <a:pt x="1354" y="2059"/>
                  </a:cubicBezTo>
                  <a:cubicBezTo>
                    <a:pt x="1352" y="2059"/>
                    <a:pt x="1349" y="2053"/>
                    <a:pt x="1348" y="2052"/>
                  </a:cubicBezTo>
                  <a:cubicBezTo>
                    <a:pt x="1347" y="2052"/>
                    <a:pt x="1347" y="2052"/>
                    <a:pt x="1347" y="2049"/>
                  </a:cubicBezTo>
                  <a:cubicBezTo>
                    <a:pt x="1348" y="2046"/>
                    <a:pt x="1349" y="2044"/>
                    <a:pt x="1347" y="2044"/>
                  </a:cubicBezTo>
                  <a:cubicBezTo>
                    <a:pt x="1346" y="2044"/>
                    <a:pt x="1346" y="2039"/>
                    <a:pt x="1343" y="2041"/>
                  </a:cubicBezTo>
                  <a:cubicBezTo>
                    <a:pt x="1340" y="2042"/>
                    <a:pt x="1340" y="2042"/>
                    <a:pt x="1338" y="2042"/>
                  </a:cubicBezTo>
                  <a:cubicBezTo>
                    <a:pt x="1338" y="2042"/>
                    <a:pt x="1338" y="2042"/>
                    <a:pt x="1338" y="2042"/>
                  </a:cubicBezTo>
                  <a:cubicBezTo>
                    <a:pt x="1337" y="2042"/>
                    <a:pt x="1336" y="2039"/>
                    <a:pt x="1334" y="2038"/>
                  </a:cubicBezTo>
                  <a:cubicBezTo>
                    <a:pt x="1330" y="2038"/>
                    <a:pt x="1329" y="2037"/>
                    <a:pt x="1329" y="2035"/>
                  </a:cubicBezTo>
                  <a:cubicBezTo>
                    <a:pt x="1329" y="2035"/>
                    <a:pt x="1329" y="2034"/>
                    <a:pt x="1329" y="2034"/>
                  </a:cubicBezTo>
                  <a:cubicBezTo>
                    <a:pt x="1330" y="2033"/>
                    <a:pt x="1330" y="2032"/>
                    <a:pt x="1331" y="2032"/>
                  </a:cubicBezTo>
                  <a:cubicBezTo>
                    <a:pt x="1332" y="2032"/>
                    <a:pt x="1334" y="2032"/>
                    <a:pt x="1337" y="2033"/>
                  </a:cubicBezTo>
                  <a:cubicBezTo>
                    <a:pt x="1340" y="2035"/>
                    <a:pt x="1342" y="2036"/>
                    <a:pt x="1344" y="2035"/>
                  </a:cubicBezTo>
                  <a:cubicBezTo>
                    <a:pt x="1346" y="2035"/>
                    <a:pt x="1347" y="2033"/>
                    <a:pt x="1345" y="2032"/>
                  </a:cubicBezTo>
                  <a:cubicBezTo>
                    <a:pt x="1344" y="2031"/>
                    <a:pt x="1341" y="2026"/>
                    <a:pt x="1340" y="2024"/>
                  </a:cubicBezTo>
                  <a:cubicBezTo>
                    <a:pt x="1338" y="2022"/>
                    <a:pt x="1337" y="2018"/>
                    <a:pt x="1337" y="2018"/>
                  </a:cubicBezTo>
                  <a:cubicBezTo>
                    <a:pt x="1336" y="2017"/>
                    <a:pt x="1337" y="2012"/>
                    <a:pt x="1337" y="2011"/>
                  </a:cubicBezTo>
                  <a:cubicBezTo>
                    <a:pt x="1337" y="2009"/>
                    <a:pt x="1335" y="2005"/>
                    <a:pt x="1337" y="2006"/>
                  </a:cubicBezTo>
                  <a:cubicBezTo>
                    <a:pt x="1339" y="2006"/>
                    <a:pt x="1337" y="2004"/>
                    <a:pt x="1341" y="2000"/>
                  </a:cubicBezTo>
                  <a:cubicBezTo>
                    <a:pt x="1344" y="1996"/>
                    <a:pt x="1345" y="1994"/>
                    <a:pt x="1347" y="1995"/>
                  </a:cubicBezTo>
                  <a:cubicBezTo>
                    <a:pt x="1350" y="1995"/>
                    <a:pt x="1353" y="1995"/>
                    <a:pt x="1353" y="1994"/>
                  </a:cubicBezTo>
                  <a:cubicBezTo>
                    <a:pt x="1353" y="1993"/>
                    <a:pt x="1352" y="1988"/>
                    <a:pt x="1353" y="1987"/>
                  </a:cubicBezTo>
                  <a:cubicBezTo>
                    <a:pt x="1353" y="1986"/>
                    <a:pt x="1358" y="1977"/>
                    <a:pt x="1359" y="1974"/>
                  </a:cubicBezTo>
                  <a:cubicBezTo>
                    <a:pt x="1360" y="1972"/>
                    <a:pt x="1362" y="1973"/>
                    <a:pt x="1364" y="1971"/>
                  </a:cubicBezTo>
                  <a:cubicBezTo>
                    <a:pt x="1366" y="1970"/>
                    <a:pt x="1369" y="1970"/>
                    <a:pt x="1373" y="1966"/>
                  </a:cubicBezTo>
                  <a:cubicBezTo>
                    <a:pt x="1376" y="1963"/>
                    <a:pt x="1380" y="1961"/>
                    <a:pt x="1380" y="1960"/>
                  </a:cubicBezTo>
                  <a:cubicBezTo>
                    <a:pt x="1380" y="1958"/>
                    <a:pt x="1382" y="1957"/>
                    <a:pt x="1381" y="1956"/>
                  </a:cubicBezTo>
                  <a:cubicBezTo>
                    <a:pt x="1380" y="1954"/>
                    <a:pt x="1381" y="1954"/>
                    <a:pt x="1378" y="1953"/>
                  </a:cubicBezTo>
                  <a:cubicBezTo>
                    <a:pt x="1375" y="1953"/>
                    <a:pt x="1377" y="1949"/>
                    <a:pt x="1378" y="1948"/>
                  </a:cubicBezTo>
                  <a:cubicBezTo>
                    <a:pt x="1380" y="1947"/>
                    <a:pt x="1381" y="1948"/>
                    <a:pt x="1380" y="1945"/>
                  </a:cubicBezTo>
                  <a:cubicBezTo>
                    <a:pt x="1379" y="1941"/>
                    <a:pt x="1380" y="1939"/>
                    <a:pt x="1378" y="1939"/>
                  </a:cubicBezTo>
                  <a:cubicBezTo>
                    <a:pt x="1377" y="1939"/>
                    <a:pt x="1375" y="1938"/>
                    <a:pt x="1374" y="1939"/>
                  </a:cubicBezTo>
                  <a:cubicBezTo>
                    <a:pt x="1372" y="1939"/>
                    <a:pt x="1369" y="1939"/>
                    <a:pt x="1368" y="1939"/>
                  </a:cubicBezTo>
                  <a:cubicBezTo>
                    <a:pt x="1366" y="1938"/>
                    <a:pt x="1363" y="1938"/>
                    <a:pt x="1362" y="1936"/>
                  </a:cubicBezTo>
                  <a:cubicBezTo>
                    <a:pt x="1361" y="1934"/>
                    <a:pt x="1359" y="1933"/>
                    <a:pt x="1359" y="1930"/>
                  </a:cubicBezTo>
                  <a:cubicBezTo>
                    <a:pt x="1358" y="1926"/>
                    <a:pt x="1360" y="1924"/>
                    <a:pt x="1361" y="1922"/>
                  </a:cubicBezTo>
                  <a:cubicBezTo>
                    <a:pt x="1362" y="1921"/>
                    <a:pt x="1363" y="1917"/>
                    <a:pt x="1364" y="1915"/>
                  </a:cubicBezTo>
                  <a:cubicBezTo>
                    <a:pt x="1364" y="1914"/>
                    <a:pt x="1364" y="1914"/>
                    <a:pt x="1365" y="1913"/>
                  </a:cubicBezTo>
                  <a:cubicBezTo>
                    <a:pt x="1366" y="1912"/>
                    <a:pt x="1370" y="1910"/>
                    <a:pt x="1370" y="1910"/>
                  </a:cubicBezTo>
                  <a:cubicBezTo>
                    <a:pt x="1370" y="1910"/>
                    <a:pt x="1368" y="1912"/>
                    <a:pt x="1373" y="1909"/>
                  </a:cubicBezTo>
                  <a:cubicBezTo>
                    <a:pt x="1378" y="1907"/>
                    <a:pt x="1382" y="1902"/>
                    <a:pt x="1382" y="1903"/>
                  </a:cubicBezTo>
                  <a:cubicBezTo>
                    <a:pt x="1383" y="1904"/>
                    <a:pt x="1385" y="1909"/>
                    <a:pt x="1387" y="1902"/>
                  </a:cubicBezTo>
                  <a:cubicBezTo>
                    <a:pt x="1389" y="1896"/>
                    <a:pt x="1390" y="1891"/>
                    <a:pt x="1390" y="1891"/>
                  </a:cubicBezTo>
                  <a:cubicBezTo>
                    <a:pt x="1388" y="1888"/>
                    <a:pt x="1388" y="1888"/>
                    <a:pt x="1388" y="1888"/>
                  </a:cubicBezTo>
                  <a:cubicBezTo>
                    <a:pt x="1390" y="1884"/>
                    <a:pt x="1390" y="1884"/>
                    <a:pt x="1390" y="1884"/>
                  </a:cubicBezTo>
                  <a:cubicBezTo>
                    <a:pt x="1390" y="1884"/>
                    <a:pt x="1392" y="1877"/>
                    <a:pt x="1393" y="1877"/>
                  </a:cubicBezTo>
                  <a:cubicBezTo>
                    <a:pt x="1398" y="1875"/>
                    <a:pt x="1399" y="1873"/>
                    <a:pt x="1399" y="1873"/>
                  </a:cubicBezTo>
                  <a:cubicBezTo>
                    <a:pt x="1399" y="1873"/>
                    <a:pt x="1394" y="1868"/>
                    <a:pt x="1394" y="1867"/>
                  </a:cubicBezTo>
                  <a:cubicBezTo>
                    <a:pt x="1395" y="1866"/>
                    <a:pt x="1395" y="1865"/>
                    <a:pt x="1397" y="1865"/>
                  </a:cubicBezTo>
                  <a:cubicBezTo>
                    <a:pt x="1398" y="1865"/>
                    <a:pt x="1399" y="1864"/>
                    <a:pt x="1400" y="1865"/>
                  </a:cubicBezTo>
                  <a:cubicBezTo>
                    <a:pt x="1403" y="1869"/>
                    <a:pt x="1402" y="1872"/>
                    <a:pt x="1404" y="1871"/>
                  </a:cubicBezTo>
                  <a:cubicBezTo>
                    <a:pt x="1406" y="1871"/>
                    <a:pt x="1406" y="1879"/>
                    <a:pt x="1408" y="1870"/>
                  </a:cubicBezTo>
                  <a:cubicBezTo>
                    <a:pt x="1411" y="1861"/>
                    <a:pt x="1413" y="1859"/>
                    <a:pt x="1409" y="1859"/>
                  </a:cubicBezTo>
                  <a:cubicBezTo>
                    <a:pt x="1406" y="1859"/>
                    <a:pt x="1405" y="1856"/>
                    <a:pt x="1402" y="1858"/>
                  </a:cubicBezTo>
                  <a:cubicBezTo>
                    <a:pt x="1400" y="1860"/>
                    <a:pt x="1399" y="1864"/>
                    <a:pt x="1399" y="1864"/>
                  </a:cubicBezTo>
                  <a:cubicBezTo>
                    <a:pt x="1395" y="1863"/>
                    <a:pt x="1393" y="1861"/>
                    <a:pt x="1393" y="1860"/>
                  </a:cubicBezTo>
                  <a:cubicBezTo>
                    <a:pt x="1392" y="1857"/>
                    <a:pt x="1391" y="1857"/>
                    <a:pt x="1391" y="1855"/>
                  </a:cubicBezTo>
                  <a:cubicBezTo>
                    <a:pt x="1392" y="1853"/>
                    <a:pt x="1392" y="1851"/>
                    <a:pt x="1393" y="1849"/>
                  </a:cubicBezTo>
                  <a:cubicBezTo>
                    <a:pt x="1393" y="1848"/>
                    <a:pt x="1393" y="1847"/>
                    <a:pt x="1393" y="1845"/>
                  </a:cubicBezTo>
                  <a:cubicBezTo>
                    <a:pt x="1394" y="1843"/>
                    <a:pt x="1390" y="1841"/>
                    <a:pt x="1391" y="1839"/>
                  </a:cubicBezTo>
                  <a:cubicBezTo>
                    <a:pt x="1393" y="1837"/>
                    <a:pt x="1391" y="1837"/>
                    <a:pt x="1396" y="1838"/>
                  </a:cubicBezTo>
                  <a:cubicBezTo>
                    <a:pt x="1401" y="1840"/>
                    <a:pt x="1405" y="1838"/>
                    <a:pt x="1405" y="1840"/>
                  </a:cubicBezTo>
                  <a:cubicBezTo>
                    <a:pt x="1404" y="1843"/>
                    <a:pt x="1405" y="1845"/>
                    <a:pt x="1408" y="1845"/>
                  </a:cubicBezTo>
                  <a:cubicBezTo>
                    <a:pt x="1411" y="1845"/>
                    <a:pt x="1413" y="1844"/>
                    <a:pt x="1415" y="1845"/>
                  </a:cubicBezTo>
                  <a:cubicBezTo>
                    <a:pt x="1416" y="1845"/>
                    <a:pt x="1419" y="1845"/>
                    <a:pt x="1420" y="1844"/>
                  </a:cubicBezTo>
                  <a:cubicBezTo>
                    <a:pt x="1421" y="1844"/>
                    <a:pt x="1424" y="1843"/>
                    <a:pt x="1425" y="1842"/>
                  </a:cubicBezTo>
                  <a:cubicBezTo>
                    <a:pt x="1426" y="1841"/>
                    <a:pt x="1433" y="1840"/>
                    <a:pt x="1429" y="1838"/>
                  </a:cubicBezTo>
                  <a:cubicBezTo>
                    <a:pt x="1424" y="1836"/>
                    <a:pt x="1423" y="1836"/>
                    <a:pt x="1424" y="1834"/>
                  </a:cubicBezTo>
                  <a:cubicBezTo>
                    <a:pt x="1424" y="1833"/>
                    <a:pt x="1427" y="1830"/>
                    <a:pt x="1427" y="1830"/>
                  </a:cubicBezTo>
                  <a:cubicBezTo>
                    <a:pt x="1429" y="1824"/>
                    <a:pt x="1430" y="1823"/>
                    <a:pt x="1430" y="1822"/>
                  </a:cubicBezTo>
                  <a:cubicBezTo>
                    <a:pt x="1430" y="1820"/>
                    <a:pt x="1432" y="1820"/>
                    <a:pt x="1430" y="1816"/>
                  </a:cubicBezTo>
                  <a:cubicBezTo>
                    <a:pt x="1429" y="1813"/>
                    <a:pt x="1426" y="1811"/>
                    <a:pt x="1428" y="1810"/>
                  </a:cubicBezTo>
                  <a:cubicBezTo>
                    <a:pt x="1434" y="1808"/>
                    <a:pt x="1433" y="1809"/>
                    <a:pt x="1436" y="1810"/>
                  </a:cubicBezTo>
                  <a:cubicBezTo>
                    <a:pt x="1439" y="1810"/>
                    <a:pt x="1435" y="1810"/>
                    <a:pt x="1439" y="1810"/>
                  </a:cubicBezTo>
                  <a:cubicBezTo>
                    <a:pt x="1443" y="1810"/>
                    <a:pt x="1445" y="1810"/>
                    <a:pt x="1445" y="1810"/>
                  </a:cubicBezTo>
                  <a:cubicBezTo>
                    <a:pt x="1445" y="1810"/>
                    <a:pt x="1447" y="1811"/>
                    <a:pt x="1452" y="1810"/>
                  </a:cubicBezTo>
                  <a:cubicBezTo>
                    <a:pt x="1457" y="1809"/>
                    <a:pt x="1473" y="1805"/>
                    <a:pt x="1474" y="1805"/>
                  </a:cubicBezTo>
                  <a:cubicBezTo>
                    <a:pt x="1475" y="1805"/>
                    <a:pt x="1478" y="1804"/>
                    <a:pt x="1478" y="1804"/>
                  </a:cubicBezTo>
                  <a:cubicBezTo>
                    <a:pt x="1478" y="1804"/>
                    <a:pt x="1481" y="1802"/>
                    <a:pt x="1481" y="1803"/>
                  </a:cubicBezTo>
                  <a:cubicBezTo>
                    <a:pt x="1482" y="1804"/>
                    <a:pt x="1484" y="1800"/>
                    <a:pt x="1485" y="1801"/>
                  </a:cubicBezTo>
                  <a:cubicBezTo>
                    <a:pt x="1486" y="1802"/>
                    <a:pt x="1488" y="1799"/>
                    <a:pt x="1489" y="1799"/>
                  </a:cubicBezTo>
                  <a:cubicBezTo>
                    <a:pt x="1490" y="1798"/>
                    <a:pt x="1490" y="1797"/>
                    <a:pt x="1491" y="1796"/>
                  </a:cubicBezTo>
                  <a:cubicBezTo>
                    <a:pt x="1492" y="1795"/>
                    <a:pt x="1494" y="1794"/>
                    <a:pt x="1494" y="1794"/>
                  </a:cubicBezTo>
                  <a:cubicBezTo>
                    <a:pt x="1497" y="1791"/>
                    <a:pt x="1498" y="1787"/>
                    <a:pt x="1498" y="1787"/>
                  </a:cubicBezTo>
                  <a:cubicBezTo>
                    <a:pt x="1498" y="1787"/>
                    <a:pt x="1499" y="1785"/>
                    <a:pt x="1501" y="1784"/>
                  </a:cubicBezTo>
                  <a:cubicBezTo>
                    <a:pt x="1502" y="1783"/>
                    <a:pt x="1502" y="1782"/>
                    <a:pt x="1502" y="1781"/>
                  </a:cubicBezTo>
                  <a:cubicBezTo>
                    <a:pt x="1503" y="1780"/>
                    <a:pt x="1502" y="1782"/>
                    <a:pt x="1502" y="1777"/>
                  </a:cubicBezTo>
                  <a:cubicBezTo>
                    <a:pt x="1503" y="1773"/>
                    <a:pt x="1504" y="1775"/>
                    <a:pt x="1503" y="1772"/>
                  </a:cubicBezTo>
                  <a:cubicBezTo>
                    <a:pt x="1502" y="1768"/>
                    <a:pt x="1504" y="1768"/>
                    <a:pt x="1501" y="1767"/>
                  </a:cubicBezTo>
                  <a:cubicBezTo>
                    <a:pt x="1498" y="1766"/>
                    <a:pt x="1498" y="1765"/>
                    <a:pt x="1497" y="1763"/>
                  </a:cubicBezTo>
                  <a:cubicBezTo>
                    <a:pt x="1497" y="1762"/>
                    <a:pt x="1497" y="1766"/>
                    <a:pt x="1497" y="1762"/>
                  </a:cubicBezTo>
                  <a:cubicBezTo>
                    <a:pt x="1496" y="1758"/>
                    <a:pt x="1498" y="1757"/>
                    <a:pt x="1498" y="1755"/>
                  </a:cubicBezTo>
                  <a:cubicBezTo>
                    <a:pt x="1497" y="1753"/>
                    <a:pt x="1498" y="1749"/>
                    <a:pt x="1497" y="1749"/>
                  </a:cubicBezTo>
                  <a:cubicBezTo>
                    <a:pt x="1496" y="1749"/>
                    <a:pt x="1497" y="1744"/>
                    <a:pt x="1494" y="1745"/>
                  </a:cubicBezTo>
                  <a:cubicBezTo>
                    <a:pt x="1491" y="1746"/>
                    <a:pt x="1484" y="1742"/>
                    <a:pt x="1483" y="1741"/>
                  </a:cubicBezTo>
                  <a:cubicBezTo>
                    <a:pt x="1481" y="1741"/>
                    <a:pt x="1481" y="1740"/>
                    <a:pt x="1480" y="1739"/>
                  </a:cubicBezTo>
                  <a:cubicBezTo>
                    <a:pt x="1479" y="1737"/>
                    <a:pt x="1479" y="1737"/>
                    <a:pt x="1479" y="1734"/>
                  </a:cubicBezTo>
                  <a:cubicBezTo>
                    <a:pt x="1479" y="1732"/>
                    <a:pt x="1481" y="1735"/>
                    <a:pt x="1481" y="1730"/>
                  </a:cubicBezTo>
                  <a:cubicBezTo>
                    <a:pt x="1480" y="1725"/>
                    <a:pt x="1482" y="1723"/>
                    <a:pt x="1482" y="1722"/>
                  </a:cubicBezTo>
                  <a:cubicBezTo>
                    <a:pt x="1481" y="1721"/>
                    <a:pt x="1480" y="1721"/>
                    <a:pt x="1481" y="1719"/>
                  </a:cubicBezTo>
                  <a:cubicBezTo>
                    <a:pt x="1482" y="1717"/>
                    <a:pt x="1480" y="1717"/>
                    <a:pt x="1482" y="1715"/>
                  </a:cubicBezTo>
                  <a:cubicBezTo>
                    <a:pt x="1484" y="1714"/>
                    <a:pt x="1484" y="1714"/>
                    <a:pt x="1484" y="1711"/>
                  </a:cubicBezTo>
                  <a:cubicBezTo>
                    <a:pt x="1483" y="1708"/>
                    <a:pt x="1484" y="1706"/>
                    <a:pt x="1484" y="1705"/>
                  </a:cubicBezTo>
                  <a:cubicBezTo>
                    <a:pt x="1484" y="1705"/>
                    <a:pt x="1484" y="1705"/>
                    <a:pt x="1484" y="1705"/>
                  </a:cubicBezTo>
                  <a:cubicBezTo>
                    <a:pt x="1484" y="1705"/>
                    <a:pt x="1485" y="1711"/>
                    <a:pt x="1485" y="1714"/>
                  </a:cubicBezTo>
                  <a:cubicBezTo>
                    <a:pt x="1485" y="1717"/>
                    <a:pt x="1484" y="1717"/>
                    <a:pt x="1484" y="1719"/>
                  </a:cubicBezTo>
                  <a:cubicBezTo>
                    <a:pt x="1484" y="1721"/>
                    <a:pt x="1484" y="1727"/>
                    <a:pt x="1484" y="1728"/>
                  </a:cubicBezTo>
                  <a:cubicBezTo>
                    <a:pt x="1482" y="1733"/>
                    <a:pt x="1481" y="1734"/>
                    <a:pt x="1482" y="1734"/>
                  </a:cubicBezTo>
                  <a:cubicBezTo>
                    <a:pt x="1483" y="1735"/>
                    <a:pt x="1485" y="1740"/>
                    <a:pt x="1487" y="1739"/>
                  </a:cubicBezTo>
                  <a:cubicBezTo>
                    <a:pt x="1489" y="1738"/>
                    <a:pt x="1488" y="1737"/>
                    <a:pt x="1490" y="1738"/>
                  </a:cubicBezTo>
                  <a:cubicBezTo>
                    <a:pt x="1494" y="1740"/>
                    <a:pt x="1497" y="1738"/>
                    <a:pt x="1497" y="1740"/>
                  </a:cubicBezTo>
                  <a:cubicBezTo>
                    <a:pt x="1497" y="1742"/>
                    <a:pt x="1500" y="1744"/>
                    <a:pt x="1502" y="1744"/>
                  </a:cubicBezTo>
                  <a:cubicBezTo>
                    <a:pt x="1503" y="1745"/>
                    <a:pt x="1506" y="1745"/>
                    <a:pt x="1508" y="1746"/>
                  </a:cubicBezTo>
                  <a:cubicBezTo>
                    <a:pt x="1511" y="1747"/>
                    <a:pt x="1510" y="1747"/>
                    <a:pt x="1512" y="1747"/>
                  </a:cubicBezTo>
                  <a:cubicBezTo>
                    <a:pt x="1513" y="1746"/>
                    <a:pt x="1515" y="1747"/>
                    <a:pt x="1517" y="1746"/>
                  </a:cubicBezTo>
                  <a:cubicBezTo>
                    <a:pt x="1518" y="1746"/>
                    <a:pt x="1518" y="1744"/>
                    <a:pt x="1520" y="1745"/>
                  </a:cubicBezTo>
                  <a:cubicBezTo>
                    <a:pt x="1522" y="1746"/>
                    <a:pt x="1524" y="1745"/>
                    <a:pt x="1526" y="1746"/>
                  </a:cubicBezTo>
                  <a:cubicBezTo>
                    <a:pt x="1530" y="1748"/>
                    <a:pt x="1536" y="1745"/>
                    <a:pt x="1536" y="1745"/>
                  </a:cubicBezTo>
                  <a:cubicBezTo>
                    <a:pt x="1536" y="1745"/>
                    <a:pt x="1539" y="1741"/>
                    <a:pt x="1540" y="1741"/>
                  </a:cubicBezTo>
                  <a:cubicBezTo>
                    <a:pt x="1541" y="1741"/>
                    <a:pt x="1542" y="1741"/>
                    <a:pt x="1544" y="1738"/>
                  </a:cubicBezTo>
                  <a:cubicBezTo>
                    <a:pt x="1546" y="1735"/>
                    <a:pt x="1547" y="1731"/>
                    <a:pt x="1548" y="1730"/>
                  </a:cubicBezTo>
                  <a:cubicBezTo>
                    <a:pt x="1549" y="1730"/>
                    <a:pt x="1550" y="1729"/>
                    <a:pt x="1552" y="1727"/>
                  </a:cubicBezTo>
                  <a:cubicBezTo>
                    <a:pt x="1553" y="1724"/>
                    <a:pt x="1555" y="1722"/>
                    <a:pt x="1556" y="1721"/>
                  </a:cubicBezTo>
                  <a:cubicBezTo>
                    <a:pt x="1558" y="1719"/>
                    <a:pt x="1561" y="1717"/>
                    <a:pt x="1561" y="1717"/>
                  </a:cubicBezTo>
                  <a:cubicBezTo>
                    <a:pt x="1561" y="1717"/>
                    <a:pt x="1563" y="1713"/>
                    <a:pt x="1563" y="1711"/>
                  </a:cubicBezTo>
                  <a:cubicBezTo>
                    <a:pt x="1563" y="1710"/>
                    <a:pt x="1564" y="1707"/>
                    <a:pt x="1565" y="1706"/>
                  </a:cubicBezTo>
                  <a:cubicBezTo>
                    <a:pt x="1565" y="1704"/>
                    <a:pt x="1565" y="1703"/>
                    <a:pt x="1567" y="1702"/>
                  </a:cubicBezTo>
                  <a:cubicBezTo>
                    <a:pt x="1568" y="1701"/>
                    <a:pt x="1569" y="1705"/>
                    <a:pt x="1569" y="1701"/>
                  </a:cubicBezTo>
                  <a:cubicBezTo>
                    <a:pt x="1571" y="1701"/>
                    <a:pt x="1576" y="1697"/>
                    <a:pt x="1576" y="1697"/>
                  </a:cubicBezTo>
                  <a:cubicBezTo>
                    <a:pt x="1576" y="1697"/>
                    <a:pt x="1577" y="1695"/>
                    <a:pt x="1579" y="1693"/>
                  </a:cubicBezTo>
                  <a:cubicBezTo>
                    <a:pt x="1582" y="1692"/>
                    <a:pt x="1584" y="1690"/>
                    <a:pt x="1584" y="1690"/>
                  </a:cubicBezTo>
                  <a:cubicBezTo>
                    <a:pt x="1585" y="1689"/>
                    <a:pt x="1587" y="1688"/>
                    <a:pt x="1588" y="1687"/>
                  </a:cubicBezTo>
                  <a:cubicBezTo>
                    <a:pt x="1589" y="1686"/>
                    <a:pt x="1592" y="1683"/>
                    <a:pt x="1591" y="1681"/>
                  </a:cubicBezTo>
                  <a:cubicBezTo>
                    <a:pt x="1591" y="1678"/>
                    <a:pt x="1592" y="1676"/>
                    <a:pt x="1593" y="1675"/>
                  </a:cubicBezTo>
                  <a:cubicBezTo>
                    <a:pt x="1594" y="1675"/>
                    <a:pt x="1594" y="1676"/>
                    <a:pt x="1595" y="1672"/>
                  </a:cubicBezTo>
                  <a:cubicBezTo>
                    <a:pt x="1596" y="1667"/>
                    <a:pt x="1595" y="1667"/>
                    <a:pt x="1598" y="1664"/>
                  </a:cubicBezTo>
                  <a:cubicBezTo>
                    <a:pt x="1600" y="1662"/>
                    <a:pt x="1600" y="1659"/>
                    <a:pt x="1605" y="1655"/>
                  </a:cubicBezTo>
                  <a:cubicBezTo>
                    <a:pt x="1605" y="1655"/>
                    <a:pt x="1611" y="1647"/>
                    <a:pt x="1612" y="1645"/>
                  </a:cubicBezTo>
                  <a:cubicBezTo>
                    <a:pt x="1613" y="1642"/>
                    <a:pt x="1614" y="1643"/>
                    <a:pt x="1614" y="1641"/>
                  </a:cubicBezTo>
                  <a:cubicBezTo>
                    <a:pt x="1615" y="1640"/>
                    <a:pt x="1616" y="1636"/>
                    <a:pt x="1616" y="1635"/>
                  </a:cubicBezTo>
                  <a:cubicBezTo>
                    <a:pt x="1616" y="1633"/>
                    <a:pt x="1618" y="1628"/>
                    <a:pt x="1617" y="1627"/>
                  </a:cubicBezTo>
                  <a:cubicBezTo>
                    <a:pt x="1616" y="1626"/>
                    <a:pt x="1617" y="1621"/>
                    <a:pt x="1617" y="1621"/>
                  </a:cubicBezTo>
                  <a:cubicBezTo>
                    <a:pt x="1617" y="1621"/>
                    <a:pt x="1616" y="1619"/>
                    <a:pt x="1615" y="1617"/>
                  </a:cubicBezTo>
                  <a:cubicBezTo>
                    <a:pt x="1614" y="1616"/>
                    <a:pt x="1615" y="1615"/>
                    <a:pt x="1614" y="1613"/>
                  </a:cubicBezTo>
                  <a:cubicBezTo>
                    <a:pt x="1613" y="1611"/>
                    <a:pt x="1611" y="1610"/>
                    <a:pt x="1613" y="1609"/>
                  </a:cubicBezTo>
                  <a:cubicBezTo>
                    <a:pt x="1615" y="1607"/>
                    <a:pt x="1617" y="1610"/>
                    <a:pt x="1615" y="1606"/>
                  </a:cubicBezTo>
                  <a:cubicBezTo>
                    <a:pt x="1614" y="1602"/>
                    <a:pt x="1611" y="1601"/>
                    <a:pt x="1614" y="1600"/>
                  </a:cubicBezTo>
                  <a:cubicBezTo>
                    <a:pt x="1616" y="1600"/>
                    <a:pt x="1619" y="1600"/>
                    <a:pt x="1621" y="1600"/>
                  </a:cubicBezTo>
                  <a:cubicBezTo>
                    <a:pt x="1622" y="1600"/>
                    <a:pt x="1622" y="1600"/>
                    <a:pt x="1624" y="1599"/>
                  </a:cubicBezTo>
                  <a:cubicBezTo>
                    <a:pt x="1624" y="1599"/>
                    <a:pt x="1624" y="1599"/>
                    <a:pt x="1624" y="1599"/>
                  </a:cubicBezTo>
                  <a:cubicBezTo>
                    <a:pt x="1624" y="1599"/>
                    <a:pt x="1625" y="1598"/>
                    <a:pt x="1627" y="1595"/>
                  </a:cubicBezTo>
                  <a:cubicBezTo>
                    <a:pt x="1633" y="1590"/>
                    <a:pt x="1638" y="1587"/>
                    <a:pt x="1638" y="1587"/>
                  </a:cubicBezTo>
                  <a:cubicBezTo>
                    <a:pt x="1641" y="1584"/>
                    <a:pt x="1640" y="1583"/>
                    <a:pt x="1641" y="1583"/>
                  </a:cubicBezTo>
                  <a:cubicBezTo>
                    <a:pt x="1642" y="1583"/>
                    <a:pt x="1643" y="1582"/>
                    <a:pt x="1645" y="1582"/>
                  </a:cubicBezTo>
                  <a:cubicBezTo>
                    <a:pt x="1646" y="1582"/>
                    <a:pt x="1648" y="1581"/>
                    <a:pt x="1650" y="1580"/>
                  </a:cubicBezTo>
                  <a:cubicBezTo>
                    <a:pt x="1650" y="1580"/>
                    <a:pt x="1652" y="1581"/>
                    <a:pt x="1653" y="1582"/>
                  </a:cubicBezTo>
                  <a:cubicBezTo>
                    <a:pt x="1654" y="1583"/>
                    <a:pt x="1654" y="1582"/>
                    <a:pt x="1656" y="1582"/>
                  </a:cubicBezTo>
                  <a:cubicBezTo>
                    <a:pt x="1658" y="1582"/>
                    <a:pt x="1662" y="1581"/>
                    <a:pt x="1662" y="1581"/>
                  </a:cubicBezTo>
                  <a:cubicBezTo>
                    <a:pt x="1662" y="1581"/>
                    <a:pt x="1655" y="1579"/>
                    <a:pt x="1658" y="1577"/>
                  </a:cubicBezTo>
                  <a:cubicBezTo>
                    <a:pt x="1662" y="1575"/>
                    <a:pt x="1662" y="1577"/>
                    <a:pt x="1665" y="1575"/>
                  </a:cubicBezTo>
                  <a:cubicBezTo>
                    <a:pt x="1668" y="1573"/>
                    <a:pt x="1669" y="1574"/>
                    <a:pt x="1670" y="1571"/>
                  </a:cubicBezTo>
                  <a:cubicBezTo>
                    <a:pt x="1671" y="1568"/>
                    <a:pt x="1669" y="1566"/>
                    <a:pt x="1671" y="1568"/>
                  </a:cubicBezTo>
                  <a:cubicBezTo>
                    <a:pt x="1672" y="1570"/>
                    <a:pt x="1672" y="1569"/>
                    <a:pt x="1674" y="1569"/>
                  </a:cubicBezTo>
                  <a:cubicBezTo>
                    <a:pt x="1676" y="1570"/>
                    <a:pt x="1680" y="1568"/>
                    <a:pt x="1681" y="1569"/>
                  </a:cubicBezTo>
                  <a:cubicBezTo>
                    <a:pt x="1683" y="1569"/>
                    <a:pt x="1684" y="1567"/>
                    <a:pt x="1685" y="1568"/>
                  </a:cubicBezTo>
                  <a:cubicBezTo>
                    <a:pt x="1685" y="1569"/>
                    <a:pt x="1687" y="1567"/>
                    <a:pt x="1688" y="1568"/>
                  </a:cubicBezTo>
                  <a:cubicBezTo>
                    <a:pt x="1689" y="1569"/>
                    <a:pt x="1690" y="1570"/>
                    <a:pt x="1692" y="1569"/>
                  </a:cubicBezTo>
                  <a:cubicBezTo>
                    <a:pt x="1694" y="1568"/>
                    <a:pt x="1696" y="1566"/>
                    <a:pt x="1697" y="1567"/>
                  </a:cubicBezTo>
                  <a:cubicBezTo>
                    <a:pt x="1697" y="1568"/>
                    <a:pt x="1699" y="1567"/>
                    <a:pt x="1700" y="1568"/>
                  </a:cubicBezTo>
                  <a:cubicBezTo>
                    <a:pt x="1700" y="1568"/>
                    <a:pt x="1703" y="1568"/>
                    <a:pt x="1704" y="1566"/>
                  </a:cubicBezTo>
                  <a:cubicBezTo>
                    <a:pt x="1704" y="1563"/>
                    <a:pt x="1705" y="1561"/>
                    <a:pt x="1706" y="1560"/>
                  </a:cubicBezTo>
                  <a:cubicBezTo>
                    <a:pt x="1710" y="1558"/>
                    <a:pt x="1706" y="1562"/>
                    <a:pt x="1712" y="1557"/>
                  </a:cubicBezTo>
                  <a:cubicBezTo>
                    <a:pt x="1717" y="1552"/>
                    <a:pt x="1718" y="1551"/>
                    <a:pt x="1718" y="1549"/>
                  </a:cubicBezTo>
                  <a:cubicBezTo>
                    <a:pt x="1718" y="1548"/>
                    <a:pt x="1717" y="1544"/>
                    <a:pt x="1718" y="1542"/>
                  </a:cubicBezTo>
                  <a:cubicBezTo>
                    <a:pt x="1720" y="1540"/>
                    <a:pt x="1723" y="1538"/>
                    <a:pt x="1724" y="1536"/>
                  </a:cubicBezTo>
                  <a:cubicBezTo>
                    <a:pt x="1724" y="1534"/>
                    <a:pt x="1724" y="1534"/>
                    <a:pt x="1728" y="1529"/>
                  </a:cubicBezTo>
                  <a:cubicBezTo>
                    <a:pt x="1732" y="1524"/>
                    <a:pt x="1730" y="1523"/>
                    <a:pt x="1732" y="1522"/>
                  </a:cubicBezTo>
                  <a:cubicBezTo>
                    <a:pt x="1734" y="1520"/>
                    <a:pt x="1734" y="1528"/>
                    <a:pt x="1734" y="1518"/>
                  </a:cubicBezTo>
                  <a:cubicBezTo>
                    <a:pt x="1735" y="1508"/>
                    <a:pt x="1736" y="1509"/>
                    <a:pt x="1735" y="1506"/>
                  </a:cubicBezTo>
                  <a:cubicBezTo>
                    <a:pt x="1735" y="1504"/>
                    <a:pt x="1734" y="1504"/>
                    <a:pt x="1735" y="1502"/>
                  </a:cubicBezTo>
                  <a:cubicBezTo>
                    <a:pt x="1735" y="1501"/>
                    <a:pt x="1734" y="1499"/>
                    <a:pt x="1737" y="1498"/>
                  </a:cubicBezTo>
                  <a:cubicBezTo>
                    <a:pt x="1740" y="1497"/>
                    <a:pt x="1741" y="1496"/>
                    <a:pt x="1741" y="1495"/>
                  </a:cubicBezTo>
                  <a:cubicBezTo>
                    <a:pt x="1741" y="1494"/>
                    <a:pt x="1743" y="1491"/>
                    <a:pt x="1743" y="1490"/>
                  </a:cubicBezTo>
                  <a:cubicBezTo>
                    <a:pt x="1743" y="1489"/>
                    <a:pt x="1745" y="1484"/>
                    <a:pt x="1743" y="1482"/>
                  </a:cubicBezTo>
                  <a:cubicBezTo>
                    <a:pt x="1742" y="1480"/>
                    <a:pt x="1743" y="1477"/>
                    <a:pt x="1743" y="1477"/>
                  </a:cubicBezTo>
                  <a:cubicBezTo>
                    <a:pt x="1745" y="1472"/>
                    <a:pt x="1745" y="1472"/>
                    <a:pt x="1745" y="1470"/>
                  </a:cubicBezTo>
                  <a:cubicBezTo>
                    <a:pt x="1745" y="1467"/>
                    <a:pt x="1742" y="1464"/>
                    <a:pt x="1743" y="1461"/>
                  </a:cubicBezTo>
                  <a:cubicBezTo>
                    <a:pt x="1743" y="1458"/>
                    <a:pt x="1745" y="1454"/>
                    <a:pt x="1744" y="1452"/>
                  </a:cubicBezTo>
                  <a:cubicBezTo>
                    <a:pt x="1744" y="1450"/>
                    <a:pt x="1745" y="1449"/>
                    <a:pt x="1745" y="1446"/>
                  </a:cubicBezTo>
                  <a:cubicBezTo>
                    <a:pt x="1744" y="1443"/>
                    <a:pt x="1745" y="1441"/>
                    <a:pt x="1744" y="1440"/>
                  </a:cubicBezTo>
                  <a:cubicBezTo>
                    <a:pt x="1744" y="1439"/>
                    <a:pt x="1745" y="1439"/>
                    <a:pt x="1744" y="1436"/>
                  </a:cubicBezTo>
                  <a:cubicBezTo>
                    <a:pt x="1743" y="1432"/>
                    <a:pt x="1740" y="1431"/>
                    <a:pt x="1743" y="1430"/>
                  </a:cubicBezTo>
                  <a:cubicBezTo>
                    <a:pt x="1746" y="1429"/>
                    <a:pt x="1742" y="1430"/>
                    <a:pt x="1746" y="1429"/>
                  </a:cubicBezTo>
                  <a:cubicBezTo>
                    <a:pt x="1749" y="1429"/>
                    <a:pt x="1752" y="1429"/>
                    <a:pt x="1748" y="1428"/>
                  </a:cubicBezTo>
                  <a:cubicBezTo>
                    <a:pt x="1745" y="1427"/>
                    <a:pt x="1743" y="1426"/>
                    <a:pt x="1743" y="1426"/>
                  </a:cubicBezTo>
                  <a:cubicBezTo>
                    <a:pt x="1743" y="1426"/>
                    <a:pt x="1743" y="1425"/>
                    <a:pt x="1746" y="1425"/>
                  </a:cubicBezTo>
                  <a:cubicBezTo>
                    <a:pt x="1749" y="1425"/>
                    <a:pt x="1748" y="1424"/>
                    <a:pt x="1751" y="1425"/>
                  </a:cubicBezTo>
                  <a:cubicBezTo>
                    <a:pt x="1753" y="1425"/>
                    <a:pt x="1750" y="1427"/>
                    <a:pt x="1753" y="1425"/>
                  </a:cubicBezTo>
                  <a:cubicBezTo>
                    <a:pt x="1756" y="1424"/>
                    <a:pt x="1758" y="1423"/>
                    <a:pt x="1759" y="1421"/>
                  </a:cubicBezTo>
                  <a:cubicBezTo>
                    <a:pt x="1759" y="1418"/>
                    <a:pt x="1761" y="1416"/>
                    <a:pt x="1762" y="1415"/>
                  </a:cubicBezTo>
                  <a:cubicBezTo>
                    <a:pt x="1762" y="1414"/>
                    <a:pt x="1763" y="1412"/>
                    <a:pt x="1763" y="1412"/>
                  </a:cubicBezTo>
                  <a:cubicBezTo>
                    <a:pt x="1763" y="1412"/>
                    <a:pt x="1763" y="1410"/>
                    <a:pt x="1764" y="1409"/>
                  </a:cubicBezTo>
                  <a:cubicBezTo>
                    <a:pt x="1764" y="1408"/>
                    <a:pt x="1764" y="1405"/>
                    <a:pt x="1765" y="1405"/>
                  </a:cubicBezTo>
                  <a:cubicBezTo>
                    <a:pt x="1766" y="1405"/>
                    <a:pt x="1766" y="1405"/>
                    <a:pt x="1769" y="1402"/>
                  </a:cubicBezTo>
                  <a:cubicBezTo>
                    <a:pt x="1771" y="1398"/>
                    <a:pt x="1780" y="1391"/>
                    <a:pt x="1783" y="1389"/>
                  </a:cubicBezTo>
                  <a:cubicBezTo>
                    <a:pt x="1785" y="1386"/>
                    <a:pt x="1786" y="1387"/>
                    <a:pt x="1787" y="1385"/>
                  </a:cubicBezTo>
                  <a:cubicBezTo>
                    <a:pt x="1789" y="1382"/>
                    <a:pt x="1789" y="1382"/>
                    <a:pt x="1791" y="1379"/>
                  </a:cubicBezTo>
                  <a:cubicBezTo>
                    <a:pt x="1793" y="1377"/>
                    <a:pt x="1794" y="1377"/>
                    <a:pt x="1794" y="1375"/>
                  </a:cubicBezTo>
                  <a:cubicBezTo>
                    <a:pt x="1795" y="1374"/>
                    <a:pt x="1795" y="1372"/>
                    <a:pt x="1796" y="1370"/>
                  </a:cubicBezTo>
                  <a:cubicBezTo>
                    <a:pt x="1797" y="1369"/>
                    <a:pt x="1799" y="1367"/>
                    <a:pt x="1798" y="1365"/>
                  </a:cubicBezTo>
                  <a:cubicBezTo>
                    <a:pt x="1798" y="1363"/>
                    <a:pt x="1799" y="1360"/>
                    <a:pt x="1798" y="1359"/>
                  </a:cubicBezTo>
                  <a:cubicBezTo>
                    <a:pt x="1798" y="1358"/>
                    <a:pt x="1798" y="1358"/>
                    <a:pt x="1798" y="1356"/>
                  </a:cubicBezTo>
                  <a:cubicBezTo>
                    <a:pt x="1797" y="1353"/>
                    <a:pt x="1796" y="1351"/>
                    <a:pt x="1797" y="1349"/>
                  </a:cubicBezTo>
                  <a:cubicBezTo>
                    <a:pt x="1799" y="1348"/>
                    <a:pt x="1799" y="1346"/>
                    <a:pt x="1799" y="1343"/>
                  </a:cubicBezTo>
                  <a:close/>
                  <a:moveTo>
                    <a:pt x="1063" y="1008"/>
                  </a:moveTo>
                  <a:cubicBezTo>
                    <a:pt x="1063" y="1008"/>
                    <a:pt x="1063" y="1008"/>
                    <a:pt x="1063" y="1008"/>
                  </a:cubicBezTo>
                  <a:cubicBezTo>
                    <a:pt x="1064" y="1008"/>
                    <a:pt x="1064" y="1008"/>
                    <a:pt x="1064" y="1008"/>
                  </a:cubicBezTo>
                  <a:lnTo>
                    <a:pt x="1063" y="1008"/>
                  </a:ln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6" name="Freeform 85"/>
            <p:cNvSpPr>
              <a:spLocks/>
            </p:cNvSpPr>
            <p:nvPr/>
          </p:nvSpPr>
          <p:spPr bwMode="auto">
            <a:xfrm>
              <a:off x="3520" y="2332"/>
              <a:ext cx="3" cy="4"/>
            </a:xfrm>
            <a:custGeom>
              <a:avLst/>
              <a:gdLst>
                <a:gd name="T0" fmla="*/ 0 w 4"/>
                <a:gd name="T1" fmla="*/ 5 h 5"/>
                <a:gd name="T2" fmla="*/ 2 w 4"/>
                <a:gd name="T3" fmla="*/ 5 h 5"/>
                <a:gd name="T4" fmla="*/ 3 w 4"/>
                <a:gd name="T5" fmla="*/ 1 h 5"/>
                <a:gd name="T6" fmla="*/ 1 w 4"/>
                <a:gd name="T7" fmla="*/ 1 h 5"/>
                <a:gd name="T8" fmla="*/ 1 w 4"/>
                <a:gd name="T9" fmla="*/ 0 h 5"/>
                <a:gd name="T10" fmla="*/ 0 w 4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5">
                  <a:moveTo>
                    <a:pt x="0" y="5"/>
                  </a:moveTo>
                  <a:cubicBezTo>
                    <a:pt x="1" y="5"/>
                    <a:pt x="1" y="5"/>
                    <a:pt x="2" y="5"/>
                  </a:cubicBezTo>
                  <a:cubicBezTo>
                    <a:pt x="3" y="4"/>
                    <a:pt x="4" y="2"/>
                    <a:pt x="3" y="1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7" name="Freeform 86"/>
            <p:cNvSpPr>
              <a:spLocks/>
            </p:cNvSpPr>
            <p:nvPr/>
          </p:nvSpPr>
          <p:spPr bwMode="auto">
            <a:xfrm>
              <a:off x="3522" y="2340"/>
              <a:ext cx="3" cy="5"/>
            </a:xfrm>
            <a:custGeom>
              <a:avLst/>
              <a:gdLst>
                <a:gd name="T0" fmla="*/ 3 w 4"/>
                <a:gd name="T1" fmla="*/ 1 h 6"/>
                <a:gd name="T2" fmla="*/ 1 w 4"/>
                <a:gd name="T3" fmla="*/ 1 h 6"/>
                <a:gd name="T4" fmla="*/ 1 w 4"/>
                <a:gd name="T5" fmla="*/ 1 h 6"/>
                <a:gd name="T6" fmla="*/ 1 w 4"/>
                <a:gd name="T7" fmla="*/ 6 h 6"/>
                <a:gd name="T8" fmla="*/ 3 w 4"/>
                <a:gd name="T9" fmla="*/ 6 h 6"/>
                <a:gd name="T10" fmla="*/ 4 w 4"/>
                <a:gd name="T11" fmla="*/ 3 h 6"/>
                <a:gd name="T12" fmla="*/ 3 w 4"/>
                <a:gd name="T13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3" y="1"/>
                  </a:moveTo>
                  <a:cubicBezTo>
                    <a:pt x="2" y="0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5"/>
                    <a:pt x="1" y="6"/>
                  </a:cubicBezTo>
                  <a:cubicBezTo>
                    <a:pt x="1" y="6"/>
                    <a:pt x="2" y="6"/>
                    <a:pt x="3" y="6"/>
                  </a:cubicBezTo>
                  <a:cubicBezTo>
                    <a:pt x="4" y="5"/>
                    <a:pt x="4" y="4"/>
                    <a:pt x="4" y="3"/>
                  </a:cubicBezTo>
                  <a:cubicBezTo>
                    <a:pt x="4" y="2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8" name="Freeform 87"/>
            <p:cNvSpPr>
              <a:spLocks/>
            </p:cNvSpPr>
            <p:nvPr/>
          </p:nvSpPr>
          <p:spPr bwMode="auto">
            <a:xfrm>
              <a:off x="3525" y="2348"/>
              <a:ext cx="4" cy="6"/>
            </a:xfrm>
            <a:custGeom>
              <a:avLst/>
              <a:gdLst>
                <a:gd name="T0" fmla="*/ 4 w 6"/>
                <a:gd name="T1" fmla="*/ 1 h 8"/>
                <a:gd name="T2" fmla="*/ 0 w 6"/>
                <a:gd name="T3" fmla="*/ 1 h 8"/>
                <a:gd name="T4" fmla="*/ 2 w 6"/>
                <a:gd name="T5" fmla="*/ 6 h 8"/>
                <a:gd name="T6" fmla="*/ 5 w 6"/>
                <a:gd name="T7" fmla="*/ 6 h 8"/>
                <a:gd name="T8" fmla="*/ 4 w 6"/>
                <a:gd name="T9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8">
                  <a:moveTo>
                    <a:pt x="4" y="1"/>
                  </a:moveTo>
                  <a:cubicBezTo>
                    <a:pt x="3" y="0"/>
                    <a:pt x="0" y="1"/>
                    <a:pt x="0" y="1"/>
                  </a:cubicBezTo>
                  <a:cubicBezTo>
                    <a:pt x="0" y="4"/>
                    <a:pt x="0" y="6"/>
                    <a:pt x="2" y="6"/>
                  </a:cubicBezTo>
                  <a:cubicBezTo>
                    <a:pt x="3" y="7"/>
                    <a:pt x="5" y="8"/>
                    <a:pt x="5" y="6"/>
                  </a:cubicBezTo>
                  <a:cubicBezTo>
                    <a:pt x="6" y="4"/>
                    <a:pt x="5" y="2"/>
                    <a:pt x="4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9" name="Freeform 88"/>
            <p:cNvSpPr>
              <a:spLocks/>
            </p:cNvSpPr>
            <p:nvPr/>
          </p:nvSpPr>
          <p:spPr bwMode="auto">
            <a:xfrm>
              <a:off x="3525" y="2355"/>
              <a:ext cx="6" cy="5"/>
            </a:xfrm>
            <a:custGeom>
              <a:avLst/>
              <a:gdLst>
                <a:gd name="T0" fmla="*/ 2 w 8"/>
                <a:gd name="T1" fmla="*/ 2 h 7"/>
                <a:gd name="T2" fmla="*/ 2 w 8"/>
                <a:gd name="T3" fmla="*/ 7 h 7"/>
                <a:gd name="T4" fmla="*/ 2 w 8"/>
                <a:gd name="T5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2" y="2"/>
                  </a:moveTo>
                  <a:cubicBezTo>
                    <a:pt x="1" y="2"/>
                    <a:pt x="0" y="7"/>
                    <a:pt x="2" y="7"/>
                  </a:cubicBezTo>
                  <a:cubicBezTo>
                    <a:pt x="5" y="7"/>
                    <a:pt x="8" y="0"/>
                    <a:pt x="2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0" name="Freeform 89"/>
            <p:cNvSpPr>
              <a:spLocks/>
            </p:cNvSpPr>
            <p:nvPr/>
          </p:nvSpPr>
          <p:spPr bwMode="auto">
            <a:xfrm>
              <a:off x="3523" y="2363"/>
              <a:ext cx="3" cy="3"/>
            </a:xfrm>
            <a:custGeom>
              <a:avLst/>
              <a:gdLst>
                <a:gd name="T0" fmla="*/ 4 w 4"/>
                <a:gd name="T1" fmla="*/ 3 h 4"/>
                <a:gd name="T2" fmla="*/ 2 w 4"/>
                <a:gd name="T3" fmla="*/ 1 h 4"/>
                <a:gd name="T4" fmla="*/ 4 w 4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4">
                  <a:moveTo>
                    <a:pt x="4" y="3"/>
                  </a:moveTo>
                  <a:cubicBezTo>
                    <a:pt x="4" y="2"/>
                    <a:pt x="3" y="0"/>
                    <a:pt x="2" y="1"/>
                  </a:cubicBezTo>
                  <a:cubicBezTo>
                    <a:pt x="0" y="2"/>
                    <a:pt x="3" y="4"/>
                    <a:pt x="4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1" name="Freeform 90"/>
            <p:cNvSpPr>
              <a:spLocks/>
            </p:cNvSpPr>
            <p:nvPr/>
          </p:nvSpPr>
          <p:spPr bwMode="auto">
            <a:xfrm>
              <a:off x="3518" y="2374"/>
              <a:ext cx="4" cy="4"/>
            </a:xfrm>
            <a:custGeom>
              <a:avLst/>
              <a:gdLst>
                <a:gd name="T0" fmla="*/ 2 w 5"/>
                <a:gd name="T1" fmla="*/ 5 h 5"/>
                <a:gd name="T2" fmla="*/ 2 w 5"/>
                <a:gd name="T3" fmla="*/ 1 h 5"/>
                <a:gd name="T4" fmla="*/ 2 w 5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5">
                  <a:moveTo>
                    <a:pt x="2" y="5"/>
                  </a:moveTo>
                  <a:cubicBezTo>
                    <a:pt x="4" y="5"/>
                    <a:pt x="5" y="4"/>
                    <a:pt x="2" y="1"/>
                  </a:cubicBezTo>
                  <a:cubicBezTo>
                    <a:pt x="1" y="0"/>
                    <a:pt x="0" y="5"/>
                    <a:pt x="2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2" name="Freeform 91"/>
            <p:cNvSpPr>
              <a:spLocks/>
            </p:cNvSpPr>
            <p:nvPr/>
          </p:nvSpPr>
          <p:spPr bwMode="auto">
            <a:xfrm>
              <a:off x="3218" y="2498"/>
              <a:ext cx="10" cy="12"/>
            </a:xfrm>
            <a:custGeom>
              <a:avLst/>
              <a:gdLst>
                <a:gd name="T0" fmla="*/ 10 w 13"/>
                <a:gd name="T1" fmla="*/ 6 h 16"/>
                <a:gd name="T2" fmla="*/ 9 w 13"/>
                <a:gd name="T3" fmla="*/ 3 h 16"/>
                <a:gd name="T4" fmla="*/ 6 w 13"/>
                <a:gd name="T5" fmla="*/ 0 h 16"/>
                <a:gd name="T6" fmla="*/ 4 w 13"/>
                <a:gd name="T7" fmla="*/ 1 h 16"/>
                <a:gd name="T8" fmla="*/ 1 w 13"/>
                <a:gd name="T9" fmla="*/ 5 h 16"/>
                <a:gd name="T10" fmla="*/ 4 w 13"/>
                <a:gd name="T11" fmla="*/ 7 h 16"/>
                <a:gd name="T12" fmla="*/ 4 w 13"/>
                <a:gd name="T13" fmla="*/ 10 h 16"/>
                <a:gd name="T14" fmla="*/ 2 w 13"/>
                <a:gd name="T15" fmla="*/ 13 h 16"/>
                <a:gd name="T16" fmla="*/ 5 w 13"/>
                <a:gd name="T17" fmla="*/ 16 h 16"/>
                <a:gd name="T18" fmla="*/ 11 w 13"/>
                <a:gd name="T19" fmla="*/ 15 h 16"/>
                <a:gd name="T20" fmla="*/ 13 w 13"/>
                <a:gd name="T21" fmla="*/ 11 h 16"/>
                <a:gd name="T22" fmla="*/ 10 w 13"/>
                <a:gd name="T23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6">
                  <a:moveTo>
                    <a:pt x="10" y="6"/>
                  </a:moveTo>
                  <a:cubicBezTo>
                    <a:pt x="10" y="5"/>
                    <a:pt x="10" y="4"/>
                    <a:pt x="9" y="3"/>
                  </a:cubicBezTo>
                  <a:cubicBezTo>
                    <a:pt x="9" y="2"/>
                    <a:pt x="7" y="0"/>
                    <a:pt x="6" y="0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2"/>
                    <a:pt x="0" y="5"/>
                    <a:pt x="1" y="5"/>
                  </a:cubicBezTo>
                  <a:cubicBezTo>
                    <a:pt x="2" y="6"/>
                    <a:pt x="2" y="6"/>
                    <a:pt x="4" y="7"/>
                  </a:cubicBezTo>
                  <a:cubicBezTo>
                    <a:pt x="5" y="8"/>
                    <a:pt x="5" y="9"/>
                    <a:pt x="4" y="10"/>
                  </a:cubicBezTo>
                  <a:cubicBezTo>
                    <a:pt x="4" y="11"/>
                    <a:pt x="1" y="10"/>
                    <a:pt x="2" y="13"/>
                  </a:cubicBezTo>
                  <a:cubicBezTo>
                    <a:pt x="2" y="15"/>
                    <a:pt x="4" y="16"/>
                    <a:pt x="5" y="16"/>
                  </a:cubicBezTo>
                  <a:cubicBezTo>
                    <a:pt x="7" y="16"/>
                    <a:pt x="10" y="16"/>
                    <a:pt x="11" y="15"/>
                  </a:cubicBezTo>
                  <a:cubicBezTo>
                    <a:pt x="12" y="13"/>
                    <a:pt x="13" y="12"/>
                    <a:pt x="13" y="11"/>
                  </a:cubicBezTo>
                  <a:cubicBezTo>
                    <a:pt x="12" y="10"/>
                    <a:pt x="10" y="8"/>
                    <a:pt x="10" y="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3" name="Freeform 92"/>
            <p:cNvSpPr>
              <a:spLocks/>
            </p:cNvSpPr>
            <p:nvPr/>
          </p:nvSpPr>
          <p:spPr bwMode="auto">
            <a:xfrm>
              <a:off x="3228" y="2500"/>
              <a:ext cx="1" cy="3"/>
            </a:xfrm>
            <a:custGeom>
              <a:avLst/>
              <a:gdLst>
                <a:gd name="T0" fmla="*/ 1 w 2"/>
                <a:gd name="T1" fmla="*/ 1 h 4"/>
                <a:gd name="T2" fmla="*/ 2 w 2"/>
                <a:gd name="T3" fmla="*/ 3 h 4"/>
                <a:gd name="T4" fmla="*/ 1 w 2"/>
                <a:gd name="T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4">
                  <a:moveTo>
                    <a:pt x="1" y="1"/>
                  </a:moveTo>
                  <a:cubicBezTo>
                    <a:pt x="0" y="2"/>
                    <a:pt x="1" y="4"/>
                    <a:pt x="2" y="3"/>
                  </a:cubicBezTo>
                  <a:cubicBezTo>
                    <a:pt x="2" y="0"/>
                    <a:pt x="1" y="1"/>
                    <a:pt x="1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4" name="Freeform 93"/>
            <p:cNvSpPr>
              <a:spLocks/>
            </p:cNvSpPr>
            <p:nvPr/>
          </p:nvSpPr>
          <p:spPr bwMode="auto">
            <a:xfrm>
              <a:off x="3230" y="2503"/>
              <a:ext cx="5" cy="6"/>
            </a:xfrm>
            <a:custGeom>
              <a:avLst/>
              <a:gdLst>
                <a:gd name="T0" fmla="*/ 2 w 7"/>
                <a:gd name="T1" fmla="*/ 1 h 8"/>
                <a:gd name="T2" fmla="*/ 0 w 7"/>
                <a:gd name="T3" fmla="*/ 2 h 8"/>
                <a:gd name="T4" fmla="*/ 1 w 7"/>
                <a:gd name="T5" fmla="*/ 6 h 8"/>
                <a:gd name="T6" fmla="*/ 4 w 7"/>
                <a:gd name="T7" fmla="*/ 6 h 8"/>
                <a:gd name="T8" fmla="*/ 5 w 7"/>
                <a:gd name="T9" fmla="*/ 2 h 8"/>
                <a:gd name="T10" fmla="*/ 2 w 7"/>
                <a:gd name="T1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8">
                  <a:moveTo>
                    <a:pt x="2" y="1"/>
                  </a:moveTo>
                  <a:cubicBezTo>
                    <a:pt x="1" y="2"/>
                    <a:pt x="1" y="0"/>
                    <a:pt x="0" y="2"/>
                  </a:cubicBezTo>
                  <a:cubicBezTo>
                    <a:pt x="0" y="3"/>
                    <a:pt x="0" y="6"/>
                    <a:pt x="1" y="6"/>
                  </a:cubicBezTo>
                  <a:cubicBezTo>
                    <a:pt x="2" y="7"/>
                    <a:pt x="3" y="8"/>
                    <a:pt x="4" y="6"/>
                  </a:cubicBezTo>
                  <a:cubicBezTo>
                    <a:pt x="4" y="5"/>
                    <a:pt x="7" y="4"/>
                    <a:pt x="5" y="2"/>
                  </a:cubicBezTo>
                  <a:cubicBezTo>
                    <a:pt x="4" y="1"/>
                    <a:pt x="3" y="1"/>
                    <a:pt x="2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5" name="Freeform 94"/>
            <p:cNvSpPr>
              <a:spLocks/>
            </p:cNvSpPr>
            <p:nvPr/>
          </p:nvSpPr>
          <p:spPr bwMode="auto">
            <a:xfrm>
              <a:off x="3239" y="2506"/>
              <a:ext cx="3" cy="3"/>
            </a:xfrm>
            <a:custGeom>
              <a:avLst/>
              <a:gdLst>
                <a:gd name="T0" fmla="*/ 2 w 4"/>
                <a:gd name="T1" fmla="*/ 0 h 4"/>
                <a:gd name="T2" fmla="*/ 1 w 4"/>
                <a:gd name="T3" fmla="*/ 3 h 4"/>
                <a:gd name="T4" fmla="*/ 4 w 4"/>
                <a:gd name="T5" fmla="*/ 3 h 4"/>
                <a:gd name="T6" fmla="*/ 2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2" y="0"/>
                  </a:moveTo>
                  <a:cubicBezTo>
                    <a:pt x="0" y="1"/>
                    <a:pt x="0" y="3"/>
                    <a:pt x="1" y="3"/>
                  </a:cubicBezTo>
                  <a:cubicBezTo>
                    <a:pt x="3" y="4"/>
                    <a:pt x="4" y="4"/>
                    <a:pt x="4" y="3"/>
                  </a:cubicBezTo>
                  <a:cubicBezTo>
                    <a:pt x="4" y="2"/>
                    <a:pt x="3" y="0"/>
                    <a:pt x="2" y="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6" name="Freeform 95"/>
            <p:cNvSpPr>
              <a:spLocks/>
            </p:cNvSpPr>
            <p:nvPr/>
          </p:nvSpPr>
          <p:spPr bwMode="auto">
            <a:xfrm>
              <a:off x="3369" y="2237"/>
              <a:ext cx="7" cy="7"/>
            </a:xfrm>
            <a:custGeom>
              <a:avLst/>
              <a:gdLst>
                <a:gd name="T0" fmla="*/ 6 w 10"/>
                <a:gd name="T1" fmla="*/ 1 h 10"/>
                <a:gd name="T2" fmla="*/ 1 w 10"/>
                <a:gd name="T3" fmla="*/ 2 h 10"/>
                <a:gd name="T4" fmla="*/ 6 w 10"/>
                <a:gd name="T5" fmla="*/ 5 h 10"/>
                <a:gd name="T6" fmla="*/ 7 w 10"/>
                <a:gd name="T7" fmla="*/ 9 h 10"/>
                <a:gd name="T8" fmla="*/ 10 w 10"/>
                <a:gd name="T9" fmla="*/ 8 h 10"/>
                <a:gd name="T10" fmla="*/ 8 w 10"/>
                <a:gd name="T11" fmla="*/ 4 h 10"/>
                <a:gd name="T12" fmla="*/ 6 w 10"/>
                <a:gd name="T13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10">
                  <a:moveTo>
                    <a:pt x="6" y="1"/>
                  </a:moveTo>
                  <a:cubicBezTo>
                    <a:pt x="4" y="1"/>
                    <a:pt x="2" y="0"/>
                    <a:pt x="1" y="2"/>
                  </a:cubicBezTo>
                  <a:cubicBezTo>
                    <a:pt x="0" y="3"/>
                    <a:pt x="5" y="3"/>
                    <a:pt x="6" y="5"/>
                  </a:cubicBezTo>
                  <a:cubicBezTo>
                    <a:pt x="6" y="6"/>
                    <a:pt x="6" y="9"/>
                    <a:pt x="7" y="9"/>
                  </a:cubicBezTo>
                  <a:cubicBezTo>
                    <a:pt x="9" y="10"/>
                    <a:pt x="10" y="10"/>
                    <a:pt x="10" y="8"/>
                  </a:cubicBezTo>
                  <a:cubicBezTo>
                    <a:pt x="10" y="6"/>
                    <a:pt x="9" y="5"/>
                    <a:pt x="8" y="4"/>
                  </a:cubicBezTo>
                  <a:cubicBezTo>
                    <a:pt x="7" y="3"/>
                    <a:pt x="7" y="1"/>
                    <a:pt x="6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7" name="Freeform 96"/>
            <p:cNvSpPr>
              <a:spLocks/>
            </p:cNvSpPr>
            <p:nvPr/>
          </p:nvSpPr>
          <p:spPr bwMode="auto">
            <a:xfrm>
              <a:off x="3379" y="2246"/>
              <a:ext cx="5" cy="6"/>
            </a:xfrm>
            <a:custGeom>
              <a:avLst/>
              <a:gdLst>
                <a:gd name="T0" fmla="*/ 5 w 6"/>
                <a:gd name="T1" fmla="*/ 2 h 9"/>
                <a:gd name="T2" fmla="*/ 1 w 6"/>
                <a:gd name="T3" fmla="*/ 0 h 9"/>
                <a:gd name="T4" fmla="*/ 2 w 6"/>
                <a:gd name="T5" fmla="*/ 3 h 9"/>
                <a:gd name="T6" fmla="*/ 3 w 6"/>
                <a:gd name="T7" fmla="*/ 6 h 9"/>
                <a:gd name="T8" fmla="*/ 3 w 6"/>
                <a:gd name="T9" fmla="*/ 9 h 9"/>
                <a:gd name="T10" fmla="*/ 5 w 6"/>
                <a:gd name="T11" fmla="*/ 5 h 9"/>
                <a:gd name="T12" fmla="*/ 5 w 6"/>
                <a:gd name="T13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9">
                  <a:moveTo>
                    <a:pt x="5" y="2"/>
                  </a:moveTo>
                  <a:cubicBezTo>
                    <a:pt x="3" y="2"/>
                    <a:pt x="2" y="0"/>
                    <a:pt x="1" y="0"/>
                  </a:cubicBezTo>
                  <a:cubicBezTo>
                    <a:pt x="0" y="1"/>
                    <a:pt x="1" y="2"/>
                    <a:pt x="2" y="3"/>
                  </a:cubicBezTo>
                  <a:cubicBezTo>
                    <a:pt x="3" y="3"/>
                    <a:pt x="3" y="3"/>
                    <a:pt x="3" y="6"/>
                  </a:cubicBezTo>
                  <a:cubicBezTo>
                    <a:pt x="3" y="8"/>
                    <a:pt x="2" y="9"/>
                    <a:pt x="3" y="9"/>
                  </a:cubicBezTo>
                  <a:cubicBezTo>
                    <a:pt x="4" y="9"/>
                    <a:pt x="5" y="7"/>
                    <a:pt x="5" y="5"/>
                  </a:cubicBezTo>
                  <a:cubicBezTo>
                    <a:pt x="5" y="3"/>
                    <a:pt x="6" y="3"/>
                    <a:pt x="5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8" name="Freeform 97"/>
            <p:cNvSpPr>
              <a:spLocks/>
            </p:cNvSpPr>
            <p:nvPr/>
          </p:nvSpPr>
          <p:spPr bwMode="auto">
            <a:xfrm>
              <a:off x="3374" y="2256"/>
              <a:ext cx="4" cy="2"/>
            </a:xfrm>
            <a:custGeom>
              <a:avLst/>
              <a:gdLst>
                <a:gd name="T0" fmla="*/ 2 w 5"/>
                <a:gd name="T1" fmla="*/ 2 h 3"/>
                <a:gd name="T2" fmla="*/ 5 w 5"/>
                <a:gd name="T3" fmla="*/ 2 h 3"/>
                <a:gd name="T4" fmla="*/ 2 w 5"/>
                <a:gd name="T5" fmla="*/ 0 h 3"/>
                <a:gd name="T6" fmla="*/ 2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2" y="2"/>
                  </a:moveTo>
                  <a:cubicBezTo>
                    <a:pt x="3" y="3"/>
                    <a:pt x="4" y="3"/>
                    <a:pt x="5" y="2"/>
                  </a:cubicBezTo>
                  <a:cubicBezTo>
                    <a:pt x="5" y="0"/>
                    <a:pt x="2" y="0"/>
                    <a:pt x="2" y="0"/>
                  </a:cubicBezTo>
                  <a:cubicBezTo>
                    <a:pt x="2" y="2"/>
                    <a:pt x="0" y="1"/>
                    <a:pt x="2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9" name="Freeform 98"/>
            <p:cNvSpPr>
              <a:spLocks/>
            </p:cNvSpPr>
            <p:nvPr/>
          </p:nvSpPr>
          <p:spPr bwMode="auto">
            <a:xfrm>
              <a:off x="3381" y="2256"/>
              <a:ext cx="6" cy="8"/>
            </a:xfrm>
            <a:custGeom>
              <a:avLst/>
              <a:gdLst>
                <a:gd name="T0" fmla="*/ 2 w 8"/>
                <a:gd name="T1" fmla="*/ 5 h 10"/>
                <a:gd name="T2" fmla="*/ 4 w 8"/>
                <a:gd name="T3" fmla="*/ 7 h 10"/>
                <a:gd name="T4" fmla="*/ 7 w 8"/>
                <a:gd name="T5" fmla="*/ 10 h 10"/>
                <a:gd name="T6" fmla="*/ 8 w 8"/>
                <a:gd name="T7" fmla="*/ 6 h 10"/>
                <a:gd name="T8" fmla="*/ 6 w 8"/>
                <a:gd name="T9" fmla="*/ 3 h 10"/>
                <a:gd name="T10" fmla="*/ 2 w 8"/>
                <a:gd name="T11" fmla="*/ 2 h 10"/>
                <a:gd name="T12" fmla="*/ 2 w 8"/>
                <a:gd name="T13" fmla="*/ 5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10">
                  <a:moveTo>
                    <a:pt x="2" y="5"/>
                  </a:moveTo>
                  <a:cubicBezTo>
                    <a:pt x="4" y="5"/>
                    <a:pt x="3" y="5"/>
                    <a:pt x="4" y="7"/>
                  </a:cubicBezTo>
                  <a:cubicBezTo>
                    <a:pt x="6" y="9"/>
                    <a:pt x="6" y="10"/>
                    <a:pt x="7" y="10"/>
                  </a:cubicBezTo>
                  <a:cubicBezTo>
                    <a:pt x="8" y="9"/>
                    <a:pt x="8" y="8"/>
                    <a:pt x="8" y="6"/>
                  </a:cubicBezTo>
                  <a:cubicBezTo>
                    <a:pt x="7" y="4"/>
                    <a:pt x="8" y="3"/>
                    <a:pt x="6" y="3"/>
                  </a:cubicBezTo>
                  <a:cubicBezTo>
                    <a:pt x="4" y="3"/>
                    <a:pt x="3" y="0"/>
                    <a:pt x="2" y="2"/>
                  </a:cubicBezTo>
                  <a:cubicBezTo>
                    <a:pt x="1" y="2"/>
                    <a:pt x="0" y="4"/>
                    <a:pt x="2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40" name="Freeform 99"/>
            <p:cNvSpPr>
              <a:spLocks/>
            </p:cNvSpPr>
            <p:nvPr/>
          </p:nvSpPr>
          <p:spPr bwMode="auto">
            <a:xfrm>
              <a:off x="3398" y="2282"/>
              <a:ext cx="9" cy="4"/>
            </a:xfrm>
            <a:custGeom>
              <a:avLst/>
              <a:gdLst>
                <a:gd name="T0" fmla="*/ 2 w 12"/>
                <a:gd name="T1" fmla="*/ 1 h 6"/>
                <a:gd name="T2" fmla="*/ 1 w 12"/>
                <a:gd name="T3" fmla="*/ 4 h 6"/>
                <a:gd name="T4" fmla="*/ 4 w 12"/>
                <a:gd name="T5" fmla="*/ 6 h 6"/>
                <a:gd name="T6" fmla="*/ 9 w 12"/>
                <a:gd name="T7" fmla="*/ 5 h 6"/>
                <a:gd name="T8" fmla="*/ 10 w 12"/>
                <a:gd name="T9" fmla="*/ 3 h 6"/>
                <a:gd name="T10" fmla="*/ 2 w 12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6">
                  <a:moveTo>
                    <a:pt x="2" y="1"/>
                  </a:moveTo>
                  <a:cubicBezTo>
                    <a:pt x="0" y="2"/>
                    <a:pt x="0" y="4"/>
                    <a:pt x="1" y="4"/>
                  </a:cubicBezTo>
                  <a:cubicBezTo>
                    <a:pt x="2" y="5"/>
                    <a:pt x="2" y="6"/>
                    <a:pt x="4" y="6"/>
                  </a:cubicBezTo>
                  <a:cubicBezTo>
                    <a:pt x="6" y="6"/>
                    <a:pt x="8" y="6"/>
                    <a:pt x="9" y="5"/>
                  </a:cubicBezTo>
                  <a:cubicBezTo>
                    <a:pt x="10" y="3"/>
                    <a:pt x="9" y="4"/>
                    <a:pt x="10" y="3"/>
                  </a:cubicBezTo>
                  <a:cubicBezTo>
                    <a:pt x="12" y="2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41" name="Freeform 100"/>
            <p:cNvSpPr>
              <a:spLocks/>
            </p:cNvSpPr>
            <p:nvPr/>
          </p:nvSpPr>
          <p:spPr bwMode="auto">
            <a:xfrm>
              <a:off x="3405" y="2269"/>
              <a:ext cx="6" cy="3"/>
            </a:xfrm>
            <a:custGeom>
              <a:avLst/>
              <a:gdLst>
                <a:gd name="T0" fmla="*/ 6 w 8"/>
                <a:gd name="T1" fmla="*/ 3 h 4"/>
                <a:gd name="T2" fmla="*/ 6 w 8"/>
                <a:gd name="T3" fmla="*/ 2 h 4"/>
                <a:gd name="T4" fmla="*/ 2 w 8"/>
                <a:gd name="T5" fmla="*/ 1 h 4"/>
                <a:gd name="T6" fmla="*/ 2 w 8"/>
                <a:gd name="T7" fmla="*/ 3 h 4"/>
                <a:gd name="T8" fmla="*/ 6 w 8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6" y="3"/>
                  </a:moveTo>
                  <a:cubicBezTo>
                    <a:pt x="6" y="3"/>
                    <a:pt x="8" y="3"/>
                    <a:pt x="6" y="2"/>
                  </a:cubicBezTo>
                  <a:cubicBezTo>
                    <a:pt x="5" y="0"/>
                    <a:pt x="4" y="0"/>
                    <a:pt x="2" y="1"/>
                  </a:cubicBezTo>
                  <a:cubicBezTo>
                    <a:pt x="1" y="2"/>
                    <a:pt x="0" y="3"/>
                    <a:pt x="2" y="3"/>
                  </a:cubicBezTo>
                  <a:cubicBezTo>
                    <a:pt x="3" y="4"/>
                    <a:pt x="6" y="3"/>
                    <a:pt x="6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42" name="Freeform 101"/>
            <p:cNvSpPr>
              <a:spLocks/>
            </p:cNvSpPr>
            <p:nvPr/>
          </p:nvSpPr>
          <p:spPr bwMode="auto">
            <a:xfrm>
              <a:off x="3486" y="2318"/>
              <a:ext cx="5" cy="3"/>
            </a:xfrm>
            <a:custGeom>
              <a:avLst/>
              <a:gdLst>
                <a:gd name="T0" fmla="*/ 3 w 7"/>
                <a:gd name="T1" fmla="*/ 0 h 4"/>
                <a:gd name="T2" fmla="*/ 1 w 7"/>
                <a:gd name="T3" fmla="*/ 3 h 4"/>
                <a:gd name="T4" fmla="*/ 6 w 7"/>
                <a:gd name="T5" fmla="*/ 3 h 4"/>
                <a:gd name="T6" fmla="*/ 6 w 7"/>
                <a:gd name="T7" fmla="*/ 1 h 4"/>
                <a:gd name="T8" fmla="*/ 3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3" y="0"/>
                  </a:moveTo>
                  <a:cubicBezTo>
                    <a:pt x="1" y="1"/>
                    <a:pt x="0" y="3"/>
                    <a:pt x="1" y="3"/>
                  </a:cubicBezTo>
                  <a:cubicBezTo>
                    <a:pt x="3" y="3"/>
                    <a:pt x="6" y="4"/>
                    <a:pt x="6" y="3"/>
                  </a:cubicBezTo>
                  <a:cubicBezTo>
                    <a:pt x="6" y="2"/>
                    <a:pt x="7" y="2"/>
                    <a:pt x="6" y="1"/>
                  </a:cubicBezTo>
                  <a:cubicBezTo>
                    <a:pt x="5" y="0"/>
                    <a:pt x="3" y="0"/>
                    <a:pt x="3" y="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43" name="Freeform 102"/>
            <p:cNvSpPr>
              <a:spLocks/>
            </p:cNvSpPr>
            <p:nvPr/>
          </p:nvSpPr>
          <p:spPr bwMode="auto">
            <a:xfrm>
              <a:off x="3504" y="2313"/>
              <a:ext cx="3" cy="4"/>
            </a:xfrm>
            <a:custGeom>
              <a:avLst/>
              <a:gdLst>
                <a:gd name="T0" fmla="*/ 2 w 4"/>
                <a:gd name="T1" fmla="*/ 1 h 5"/>
                <a:gd name="T2" fmla="*/ 2 w 4"/>
                <a:gd name="T3" fmla="*/ 5 h 5"/>
                <a:gd name="T4" fmla="*/ 4 w 4"/>
                <a:gd name="T5" fmla="*/ 3 h 5"/>
                <a:gd name="T6" fmla="*/ 4 w 4"/>
                <a:gd name="T7" fmla="*/ 1 h 5"/>
                <a:gd name="T8" fmla="*/ 2 w 4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5">
                  <a:moveTo>
                    <a:pt x="2" y="1"/>
                  </a:moveTo>
                  <a:cubicBezTo>
                    <a:pt x="1" y="2"/>
                    <a:pt x="0" y="5"/>
                    <a:pt x="2" y="5"/>
                  </a:cubicBezTo>
                  <a:cubicBezTo>
                    <a:pt x="3" y="5"/>
                    <a:pt x="4" y="4"/>
                    <a:pt x="4" y="3"/>
                  </a:cubicBezTo>
                  <a:cubicBezTo>
                    <a:pt x="4" y="2"/>
                    <a:pt x="4" y="1"/>
                    <a:pt x="4" y="1"/>
                  </a:cubicBezTo>
                  <a:cubicBezTo>
                    <a:pt x="4" y="1"/>
                    <a:pt x="3" y="0"/>
                    <a:pt x="2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44" name="Freeform 103"/>
            <p:cNvSpPr>
              <a:spLocks/>
            </p:cNvSpPr>
            <p:nvPr/>
          </p:nvSpPr>
          <p:spPr bwMode="auto">
            <a:xfrm>
              <a:off x="3507" y="2321"/>
              <a:ext cx="5" cy="4"/>
            </a:xfrm>
            <a:custGeom>
              <a:avLst/>
              <a:gdLst>
                <a:gd name="T0" fmla="*/ 2 w 6"/>
                <a:gd name="T1" fmla="*/ 1 h 5"/>
                <a:gd name="T2" fmla="*/ 2 w 6"/>
                <a:gd name="T3" fmla="*/ 4 h 5"/>
                <a:gd name="T4" fmla="*/ 6 w 6"/>
                <a:gd name="T5" fmla="*/ 3 h 5"/>
                <a:gd name="T6" fmla="*/ 2 w 6"/>
                <a:gd name="T7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5">
                  <a:moveTo>
                    <a:pt x="2" y="1"/>
                  </a:moveTo>
                  <a:cubicBezTo>
                    <a:pt x="0" y="2"/>
                    <a:pt x="1" y="3"/>
                    <a:pt x="2" y="4"/>
                  </a:cubicBezTo>
                  <a:cubicBezTo>
                    <a:pt x="4" y="4"/>
                    <a:pt x="5" y="5"/>
                    <a:pt x="6" y="3"/>
                  </a:cubicBezTo>
                  <a:cubicBezTo>
                    <a:pt x="6" y="2"/>
                    <a:pt x="4" y="0"/>
                    <a:pt x="2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45" name="Freeform 104"/>
            <p:cNvSpPr>
              <a:spLocks/>
            </p:cNvSpPr>
            <p:nvPr/>
          </p:nvSpPr>
          <p:spPr bwMode="auto">
            <a:xfrm>
              <a:off x="3519" y="2389"/>
              <a:ext cx="8" cy="9"/>
            </a:xfrm>
            <a:custGeom>
              <a:avLst/>
              <a:gdLst>
                <a:gd name="T0" fmla="*/ 2 w 11"/>
                <a:gd name="T1" fmla="*/ 11 h 12"/>
                <a:gd name="T2" fmla="*/ 7 w 11"/>
                <a:gd name="T3" fmla="*/ 11 h 12"/>
                <a:gd name="T4" fmla="*/ 11 w 11"/>
                <a:gd name="T5" fmla="*/ 8 h 12"/>
                <a:gd name="T6" fmla="*/ 7 w 11"/>
                <a:gd name="T7" fmla="*/ 2 h 12"/>
                <a:gd name="T8" fmla="*/ 3 w 11"/>
                <a:gd name="T9" fmla="*/ 8 h 12"/>
                <a:gd name="T10" fmla="*/ 2 w 11"/>
                <a:gd name="T11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2">
                  <a:moveTo>
                    <a:pt x="2" y="11"/>
                  </a:moveTo>
                  <a:cubicBezTo>
                    <a:pt x="4" y="11"/>
                    <a:pt x="4" y="11"/>
                    <a:pt x="7" y="11"/>
                  </a:cubicBezTo>
                  <a:cubicBezTo>
                    <a:pt x="10" y="11"/>
                    <a:pt x="10" y="12"/>
                    <a:pt x="11" y="8"/>
                  </a:cubicBezTo>
                  <a:cubicBezTo>
                    <a:pt x="11" y="3"/>
                    <a:pt x="10" y="0"/>
                    <a:pt x="7" y="2"/>
                  </a:cubicBezTo>
                  <a:cubicBezTo>
                    <a:pt x="5" y="3"/>
                    <a:pt x="4" y="6"/>
                    <a:pt x="3" y="8"/>
                  </a:cubicBezTo>
                  <a:cubicBezTo>
                    <a:pt x="2" y="10"/>
                    <a:pt x="0" y="11"/>
                    <a:pt x="2" y="1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46" name="Freeform 105"/>
            <p:cNvSpPr>
              <a:spLocks/>
            </p:cNvSpPr>
            <p:nvPr/>
          </p:nvSpPr>
          <p:spPr bwMode="auto">
            <a:xfrm>
              <a:off x="2568" y="2270"/>
              <a:ext cx="17" cy="13"/>
            </a:xfrm>
            <a:custGeom>
              <a:avLst/>
              <a:gdLst>
                <a:gd name="T0" fmla="*/ 9 w 22"/>
                <a:gd name="T1" fmla="*/ 0 h 17"/>
                <a:gd name="T2" fmla="*/ 5 w 22"/>
                <a:gd name="T3" fmla="*/ 7 h 17"/>
                <a:gd name="T4" fmla="*/ 5 w 22"/>
                <a:gd name="T5" fmla="*/ 15 h 17"/>
                <a:gd name="T6" fmla="*/ 14 w 22"/>
                <a:gd name="T7" fmla="*/ 13 h 17"/>
                <a:gd name="T8" fmla="*/ 18 w 22"/>
                <a:gd name="T9" fmla="*/ 7 h 17"/>
                <a:gd name="T10" fmla="*/ 9 w 22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7">
                  <a:moveTo>
                    <a:pt x="9" y="0"/>
                  </a:moveTo>
                  <a:cubicBezTo>
                    <a:pt x="4" y="0"/>
                    <a:pt x="4" y="2"/>
                    <a:pt x="5" y="7"/>
                  </a:cubicBezTo>
                  <a:cubicBezTo>
                    <a:pt x="6" y="12"/>
                    <a:pt x="0" y="14"/>
                    <a:pt x="5" y="15"/>
                  </a:cubicBezTo>
                  <a:cubicBezTo>
                    <a:pt x="10" y="16"/>
                    <a:pt x="10" y="17"/>
                    <a:pt x="14" y="13"/>
                  </a:cubicBezTo>
                  <a:cubicBezTo>
                    <a:pt x="18" y="10"/>
                    <a:pt x="22" y="13"/>
                    <a:pt x="18" y="7"/>
                  </a:cubicBezTo>
                  <a:cubicBezTo>
                    <a:pt x="14" y="1"/>
                    <a:pt x="10" y="0"/>
                    <a:pt x="9" y="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47" name="Freeform 106"/>
            <p:cNvSpPr>
              <a:spLocks/>
            </p:cNvSpPr>
            <p:nvPr/>
          </p:nvSpPr>
          <p:spPr bwMode="auto">
            <a:xfrm>
              <a:off x="2563" y="2260"/>
              <a:ext cx="9" cy="7"/>
            </a:xfrm>
            <a:custGeom>
              <a:avLst/>
              <a:gdLst>
                <a:gd name="T0" fmla="*/ 10 w 12"/>
                <a:gd name="T1" fmla="*/ 4 h 9"/>
                <a:gd name="T2" fmla="*/ 2 w 12"/>
                <a:gd name="T3" fmla="*/ 4 h 9"/>
                <a:gd name="T4" fmla="*/ 8 w 12"/>
                <a:gd name="T5" fmla="*/ 9 h 9"/>
                <a:gd name="T6" fmla="*/ 10 w 12"/>
                <a:gd name="T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9">
                  <a:moveTo>
                    <a:pt x="10" y="4"/>
                  </a:moveTo>
                  <a:cubicBezTo>
                    <a:pt x="8" y="0"/>
                    <a:pt x="5" y="3"/>
                    <a:pt x="2" y="4"/>
                  </a:cubicBezTo>
                  <a:cubicBezTo>
                    <a:pt x="0" y="5"/>
                    <a:pt x="5" y="9"/>
                    <a:pt x="8" y="9"/>
                  </a:cubicBezTo>
                  <a:cubicBezTo>
                    <a:pt x="8" y="9"/>
                    <a:pt x="12" y="9"/>
                    <a:pt x="10" y="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48" name="Freeform 107"/>
            <p:cNvSpPr>
              <a:spLocks/>
            </p:cNvSpPr>
            <p:nvPr/>
          </p:nvSpPr>
          <p:spPr bwMode="auto">
            <a:xfrm>
              <a:off x="2557" y="2258"/>
              <a:ext cx="6" cy="8"/>
            </a:xfrm>
            <a:custGeom>
              <a:avLst/>
              <a:gdLst>
                <a:gd name="T0" fmla="*/ 2 w 8"/>
                <a:gd name="T1" fmla="*/ 3 h 10"/>
                <a:gd name="T2" fmla="*/ 4 w 8"/>
                <a:gd name="T3" fmla="*/ 8 h 10"/>
                <a:gd name="T4" fmla="*/ 8 w 8"/>
                <a:gd name="T5" fmla="*/ 2 h 10"/>
                <a:gd name="T6" fmla="*/ 2 w 8"/>
                <a:gd name="T7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0">
                  <a:moveTo>
                    <a:pt x="2" y="3"/>
                  </a:moveTo>
                  <a:cubicBezTo>
                    <a:pt x="0" y="2"/>
                    <a:pt x="4" y="7"/>
                    <a:pt x="4" y="8"/>
                  </a:cubicBezTo>
                  <a:cubicBezTo>
                    <a:pt x="6" y="10"/>
                    <a:pt x="8" y="4"/>
                    <a:pt x="8" y="2"/>
                  </a:cubicBezTo>
                  <a:cubicBezTo>
                    <a:pt x="7" y="0"/>
                    <a:pt x="4" y="3"/>
                    <a:pt x="2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49" name="Freeform 108"/>
            <p:cNvSpPr>
              <a:spLocks/>
            </p:cNvSpPr>
            <p:nvPr/>
          </p:nvSpPr>
          <p:spPr bwMode="auto">
            <a:xfrm>
              <a:off x="2547" y="2252"/>
              <a:ext cx="7" cy="7"/>
            </a:xfrm>
            <a:custGeom>
              <a:avLst/>
              <a:gdLst>
                <a:gd name="T0" fmla="*/ 6 w 9"/>
                <a:gd name="T1" fmla="*/ 3 h 9"/>
                <a:gd name="T2" fmla="*/ 2 w 9"/>
                <a:gd name="T3" fmla="*/ 6 h 9"/>
                <a:gd name="T4" fmla="*/ 7 w 9"/>
                <a:gd name="T5" fmla="*/ 9 h 9"/>
                <a:gd name="T6" fmla="*/ 6 w 9"/>
                <a:gd name="T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6" y="3"/>
                  </a:moveTo>
                  <a:cubicBezTo>
                    <a:pt x="2" y="0"/>
                    <a:pt x="3" y="4"/>
                    <a:pt x="2" y="6"/>
                  </a:cubicBezTo>
                  <a:cubicBezTo>
                    <a:pt x="0" y="8"/>
                    <a:pt x="4" y="9"/>
                    <a:pt x="7" y="9"/>
                  </a:cubicBezTo>
                  <a:cubicBezTo>
                    <a:pt x="8" y="8"/>
                    <a:pt x="9" y="6"/>
                    <a:pt x="6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50" name="Freeform 109"/>
            <p:cNvSpPr>
              <a:spLocks/>
            </p:cNvSpPr>
            <p:nvPr/>
          </p:nvSpPr>
          <p:spPr bwMode="auto">
            <a:xfrm>
              <a:off x="2533" y="2247"/>
              <a:ext cx="6" cy="6"/>
            </a:xfrm>
            <a:custGeom>
              <a:avLst/>
              <a:gdLst>
                <a:gd name="T0" fmla="*/ 2 w 9"/>
                <a:gd name="T1" fmla="*/ 4 h 9"/>
                <a:gd name="T2" fmla="*/ 6 w 9"/>
                <a:gd name="T3" fmla="*/ 9 h 9"/>
                <a:gd name="T4" fmla="*/ 7 w 9"/>
                <a:gd name="T5" fmla="*/ 4 h 9"/>
                <a:gd name="T6" fmla="*/ 2 w 9"/>
                <a:gd name="T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2" y="4"/>
                  </a:moveTo>
                  <a:cubicBezTo>
                    <a:pt x="0" y="7"/>
                    <a:pt x="4" y="9"/>
                    <a:pt x="6" y="9"/>
                  </a:cubicBezTo>
                  <a:cubicBezTo>
                    <a:pt x="6" y="9"/>
                    <a:pt x="9" y="9"/>
                    <a:pt x="7" y="4"/>
                  </a:cubicBezTo>
                  <a:cubicBezTo>
                    <a:pt x="5" y="0"/>
                    <a:pt x="5" y="2"/>
                    <a:pt x="2" y="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51" name="Freeform 110"/>
            <p:cNvSpPr>
              <a:spLocks/>
            </p:cNvSpPr>
            <p:nvPr/>
          </p:nvSpPr>
          <p:spPr bwMode="auto">
            <a:xfrm>
              <a:off x="2527" y="2249"/>
              <a:ext cx="3" cy="6"/>
            </a:xfrm>
            <a:custGeom>
              <a:avLst/>
              <a:gdLst>
                <a:gd name="T0" fmla="*/ 3 w 5"/>
                <a:gd name="T1" fmla="*/ 1 h 8"/>
                <a:gd name="T2" fmla="*/ 2 w 5"/>
                <a:gd name="T3" fmla="*/ 7 h 8"/>
                <a:gd name="T4" fmla="*/ 3 w 5"/>
                <a:gd name="T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8">
                  <a:moveTo>
                    <a:pt x="3" y="1"/>
                  </a:moveTo>
                  <a:cubicBezTo>
                    <a:pt x="0" y="0"/>
                    <a:pt x="1" y="8"/>
                    <a:pt x="2" y="7"/>
                  </a:cubicBezTo>
                  <a:cubicBezTo>
                    <a:pt x="4" y="6"/>
                    <a:pt x="5" y="1"/>
                    <a:pt x="3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52" name="Freeform 111"/>
            <p:cNvSpPr>
              <a:spLocks/>
            </p:cNvSpPr>
            <p:nvPr/>
          </p:nvSpPr>
          <p:spPr bwMode="auto">
            <a:xfrm>
              <a:off x="2454" y="1800"/>
              <a:ext cx="21" cy="13"/>
            </a:xfrm>
            <a:custGeom>
              <a:avLst/>
              <a:gdLst>
                <a:gd name="T0" fmla="*/ 18 w 29"/>
                <a:gd name="T1" fmla="*/ 3 h 18"/>
                <a:gd name="T2" fmla="*/ 8 w 29"/>
                <a:gd name="T3" fmla="*/ 9 h 18"/>
                <a:gd name="T4" fmla="*/ 6 w 29"/>
                <a:gd name="T5" fmla="*/ 13 h 18"/>
                <a:gd name="T6" fmla="*/ 19 w 29"/>
                <a:gd name="T7" fmla="*/ 15 h 18"/>
                <a:gd name="T8" fmla="*/ 28 w 29"/>
                <a:gd name="T9" fmla="*/ 12 h 18"/>
                <a:gd name="T10" fmla="*/ 18 w 29"/>
                <a:gd name="T11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" h="18">
                  <a:moveTo>
                    <a:pt x="18" y="3"/>
                  </a:moveTo>
                  <a:cubicBezTo>
                    <a:pt x="15" y="5"/>
                    <a:pt x="11" y="8"/>
                    <a:pt x="8" y="9"/>
                  </a:cubicBezTo>
                  <a:cubicBezTo>
                    <a:pt x="5" y="10"/>
                    <a:pt x="0" y="10"/>
                    <a:pt x="6" y="13"/>
                  </a:cubicBezTo>
                  <a:cubicBezTo>
                    <a:pt x="12" y="16"/>
                    <a:pt x="14" y="15"/>
                    <a:pt x="19" y="15"/>
                  </a:cubicBezTo>
                  <a:cubicBezTo>
                    <a:pt x="24" y="16"/>
                    <a:pt x="29" y="18"/>
                    <a:pt x="28" y="12"/>
                  </a:cubicBezTo>
                  <a:cubicBezTo>
                    <a:pt x="26" y="6"/>
                    <a:pt x="23" y="0"/>
                    <a:pt x="18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53" name="Freeform 112"/>
            <p:cNvSpPr>
              <a:spLocks/>
            </p:cNvSpPr>
            <p:nvPr/>
          </p:nvSpPr>
          <p:spPr bwMode="auto">
            <a:xfrm>
              <a:off x="3492" y="1988"/>
              <a:ext cx="7" cy="10"/>
            </a:xfrm>
            <a:custGeom>
              <a:avLst/>
              <a:gdLst>
                <a:gd name="T0" fmla="*/ 5 w 9"/>
                <a:gd name="T1" fmla="*/ 0 h 13"/>
                <a:gd name="T2" fmla="*/ 1 w 9"/>
                <a:gd name="T3" fmla="*/ 4 h 13"/>
                <a:gd name="T4" fmla="*/ 4 w 9"/>
                <a:gd name="T5" fmla="*/ 9 h 13"/>
                <a:gd name="T6" fmla="*/ 9 w 9"/>
                <a:gd name="T7" fmla="*/ 11 h 13"/>
                <a:gd name="T8" fmla="*/ 7 w 9"/>
                <a:gd name="T9" fmla="*/ 6 h 13"/>
                <a:gd name="T10" fmla="*/ 6 w 9"/>
                <a:gd name="T11" fmla="*/ 3 h 13"/>
                <a:gd name="T12" fmla="*/ 5 w 9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3">
                  <a:moveTo>
                    <a:pt x="5" y="0"/>
                  </a:moveTo>
                  <a:cubicBezTo>
                    <a:pt x="3" y="1"/>
                    <a:pt x="0" y="3"/>
                    <a:pt x="1" y="4"/>
                  </a:cubicBezTo>
                  <a:cubicBezTo>
                    <a:pt x="2" y="6"/>
                    <a:pt x="2" y="8"/>
                    <a:pt x="4" y="9"/>
                  </a:cubicBezTo>
                  <a:cubicBezTo>
                    <a:pt x="6" y="10"/>
                    <a:pt x="8" y="13"/>
                    <a:pt x="9" y="11"/>
                  </a:cubicBezTo>
                  <a:cubicBezTo>
                    <a:pt x="9" y="9"/>
                    <a:pt x="8" y="7"/>
                    <a:pt x="7" y="6"/>
                  </a:cubicBezTo>
                  <a:cubicBezTo>
                    <a:pt x="7" y="4"/>
                    <a:pt x="6" y="4"/>
                    <a:pt x="6" y="3"/>
                  </a:cubicBezTo>
                  <a:cubicBezTo>
                    <a:pt x="6" y="2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54" name="Freeform 113"/>
            <p:cNvSpPr>
              <a:spLocks/>
            </p:cNvSpPr>
            <p:nvPr/>
          </p:nvSpPr>
          <p:spPr bwMode="auto">
            <a:xfrm>
              <a:off x="3499" y="1993"/>
              <a:ext cx="17" cy="8"/>
            </a:xfrm>
            <a:custGeom>
              <a:avLst/>
              <a:gdLst>
                <a:gd name="T0" fmla="*/ 18 w 23"/>
                <a:gd name="T1" fmla="*/ 1 h 10"/>
                <a:gd name="T2" fmla="*/ 2 w 23"/>
                <a:gd name="T3" fmla="*/ 1 h 10"/>
                <a:gd name="T4" fmla="*/ 2 w 23"/>
                <a:gd name="T5" fmla="*/ 6 h 10"/>
                <a:gd name="T6" fmla="*/ 8 w 23"/>
                <a:gd name="T7" fmla="*/ 8 h 10"/>
                <a:gd name="T8" fmla="*/ 12 w 23"/>
                <a:gd name="T9" fmla="*/ 9 h 10"/>
                <a:gd name="T10" fmla="*/ 16 w 23"/>
                <a:gd name="T11" fmla="*/ 9 h 10"/>
                <a:gd name="T12" fmla="*/ 19 w 23"/>
                <a:gd name="T13" fmla="*/ 6 h 10"/>
                <a:gd name="T14" fmla="*/ 21 w 23"/>
                <a:gd name="T15" fmla="*/ 3 h 10"/>
                <a:gd name="T16" fmla="*/ 18 w 23"/>
                <a:gd name="T17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3" h="10">
                  <a:moveTo>
                    <a:pt x="18" y="1"/>
                  </a:moveTo>
                  <a:cubicBezTo>
                    <a:pt x="13" y="3"/>
                    <a:pt x="3" y="1"/>
                    <a:pt x="2" y="1"/>
                  </a:cubicBezTo>
                  <a:cubicBezTo>
                    <a:pt x="1" y="2"/>
                    <a:pt x="0" y="3"/>
                    <a:pt x="2" y="6"/>
                  </a:cubicBezTo>
                  <a:cubicBezTo>
                    <a:pt x="4" y="8"/>
                    <a:pt x="7" y="8"/>
                    <a:pt x="8" y="8"/>
                  </a:cubicBezTo>
                  <a:cubicBezTo>
                    <a:pt x="9" y="7"/>
                    <a:pt x="11" y="7"/>
                    <a:pt x="12" y="9"/>
                  </a:cubicBezTo>
                  <a:cubicBezTo>
                    <a:pt x="13" y="10"/>
                    <a:pt x="14" y="10"/>
                    <a:pt x="16" y="9"/>
                  </a:cubicBezTo>
                  <a:cubicBezTo>
                    <a:pt x="17" y="8"/>
                    <a:pt x="17" y="9"/>
                    <a:pt x="19" y="6"/>
                  </a:cubicBezTo>
                  <a:cubicBezTo>
                    <a:pt x="20" y="4"/>
                    <a:pt x="22" y="4"/>
                    <a:pt x="21" y="3"/>
                  </a:cubicBezTo>
                  <a:cubicBezTo>
                    <a:pt x="20" y="2"/>
                    <a:pt x="23" y="0"/>
                    <a:pt x="18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55" name="Freeform 114"/>
            <p:cNvSpPr>
              <a:spLocks/>
            </p:cNvSpPr>
            <p:nvPr/>
          </p:nvSpPr>
          <p:spPr bwMode="auto">
            <a:xfrm>
              <a:off x="3522" y="1987"/>
              <a:ext cx="14" cy="15"/>
            </a:xfrm>
            <a:custGeom>
              <a:avLst/>
              <a:gdLst>
                <a:gd name="T0" fmla="*/ 16 w 19"/>
                <a:gd name="T1" fmla="*/ 10 h 20"/>
                <a:gd name="T2" fmla="*/ 14 w 19"/>
                <a:gd name="T3" fmla="*/ 4 h 20"/>
                <a:gd name="T4" fmla="*/ 9 w 19"/>
                <a:gd name="T5" fmla="*/ 5 h 20"/>
                <a:gd name="T6" fmla="*/ 1 w 19"/>
                <a:gd name="T7" fmla="*/ 15 h 20"/>
                <a:gd name="T8" fmla="*/ 0 w 19"/>
                <a:gd name="T9" fmla="*/ 17 h 20"/>
                <a:gd name="T10" fmla="*/ 4 w 19"/>
                <a:gd name="T11" fmla="*/ 19 h 20"/>
                <a:gd name="T12" fmla="*/ 9 w 19"/>
                <a:gd name="T13" fmla="*/ 19 h 20"/>
                <a:gd name="T14" fmla="*/ 16 w 19"/>
                <a:gd name="T15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0">
                  <a:moveTo>
                    <a:pt x="16" y="10"/>
                  </a:moveTo>
                  <a:cubicBezTo>
                    <a:pt x="19" y="5"/>
                    <a:pt x="16" y="7"/>
                    <a:pt x="14" y="4"/>
                  </a:cubicBezTo>
                  <a:cubicBezTo>
                    <a:pt x="12" y="0"/>
                    <a:pt x="11" y="4"/>
                    <a:pt x="9" y="5"/>
                  </a:cubicBezTo>
                  <a:cubicBezTo>
                    <a:pt x="7" y="7"/>
                    <a:pt x="2" y="14"/>
                    <a:pt x="1" y="15"/>
                  </a:cubicBezTo>
                  <a:cubicBezTo>
                    <a:pt x="0" y="16"/>
                    <a:pt x="0" y="17"/>
                    <a:pt x="0" y="17"/>
                  </a:cubicBezTo>
                  <a:cubicBezTo>
                    <a:pt x="0" y="18"/>
                    <a:pt x="2" y="19"/>
                    <a:pt x="4" y="19"/>
                  </a:cubicBezTo>
                  <a:cubicBezTo>
                    <a:pt x="6" y="20"/>
                    <a:pt x="6" y="20"/>
                    <a:pt x="9" y="19"/>
                  </a:cubicBezTo>
                  <a:cubicBezTo>
                    <a:pt x="11" y="18"/>
                    <a:pt x="14" y="14"/>
                    <a:pt x="16" y="1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56" name="Freeform 115"/>
            <p:cNvSpPr>
              <a:spLocks/>
            </p:cNvSpPr>
            <p:nvPr/>
          </p:nvSpPr>
          <p:spPr bwMode="auto">
            <a:xfrm>
              <a:off x="3530" y="1996"/>
              <a:ext cx="10" cy="9"/>
            </a:xfrm>
            <a:custGeom>
              <a:avLst/>
              <a:gdLst>
                <a:gd name="T0" fmla="*/ 5 w 13"/>
                <a:gd name="T1" fmla="*/ 12 h 13"/>
                <a:gd name="T2" fmla="*/ 10 w 13"/>
                <a:gd name="T3" fmla="*/ 9 h 13"/>
                <a:gd name="T4" fmla="*/ 11 w 13"/>
                <a:gd name="T5" fmla="*/ 3 h 13"/>
                <a:gd name="T6" fmla="*/ 4 w 13"/>
                <a:gd name="T7" fmla="*/ 3 h 13"/>
                <a:gd name="T8" fmla="*/ 1 w 13"/>
                <a:gd name="T9" fmla="*/ 9 h 13"/>
                <a:gd name="T10" fmla="*/ 0 w 13"/>
                <a:gd name="T11" fmla="*/ 12 h 13"/>
                <a:gd name="T12" fmla="*/ 5 w 13"/>
                <a:gd name="T1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3">
                  <a:moveTo>
                    <a:pt x="5" y="12"/>
                  </a:moveTo>
                  <a:cubicBezTo>
                    <a:pt x="7" y="11"/>
                    <a:pt x="8" y="10"/>
                    <a:pt x="10" y="9"/>
                  </a:cubicBezTo>
                  <a:cubicBezTo>
                    <a:pt x="13" y="7"/>
                    <a:pt x="12" y="7"/>
                    <a:pt x="11" y="3"/>
                  </a:cubicBezTo>
                  <a:cubicBezTo>
                    <a:pt x="10" y="0"/>
                    <a:pt x="8" y="3"/>
                    <a:pt x="4" y="3"/>
                  </a:cubicBezTo>
                  <a:cubicBezTo>
                    <a:pt x="1" y="4"/>
                    <a:pt x="2" y="8"/>
                    <a:pt x="1" y="9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1" y="13"/>
                    <a:pt x="3" y="13"/>
                    <a:pt x="5" y="1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57" name="Freeform 116"/>
            <p:cNvSpPr>
              <a:spLocks/>
            </p:cNvSpPr>
            <p:nvPr/>
          </p:nvSpPr>
          <p:spPr bwMode="auto">
            <a:xfrm>
              <a:off x="3363" y="1674"/>
              <a:ext cx="22" cy="19"/>
            </a:xfrm>
            <a:custGeom>
              <a:avLst/>
              <a:gdLst>
                <a:gd name="T0" fmla="*/ 13 w 30"/>
                <a:gd name="T1" fmla="*/ 1 h 26"/>
                <a:gd name="T2" fmla="*/ 5 w 30"/>
                <a:gd name="T3" fmla="*/ 6 h 26"/>
                <a:gd name="T4" fmla="*/ 2 w 30"/>
                <a:gd name="T5" fmla="*/ 16 h 26"/>
                <a:gd name="T6" fmla="*/ 5 w 30"/>
                <a:gd name="T7" fmla="*/ 23 h 26"/>
                <a:gd name="T8" fmla="*/ 20 w 30"/>
                <a:gd name="T9" fmla="*/ 25 h 26"/>
                <a:gd name="T10" fmla="*/ 28 w 30"/>
                <a:gd name="T11" fmla="*/ 18 h 26"/>
                <a:gd name="T12" fmla="*/ 30 w 30"/>
                <a:gd name="T13" fmla="*/ 7 h 26"/>
                <a:gd name="T14" fmla="*/ 27 w 30"/>
                <a:gd name="T15" fmla="*/ 3 h 26"/>
                <a:gd name="T16" fmla="*/ 13 w 30"/>
                <a:gd name="T17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26">
                  <a:moveTo>
                    <a:pt x="13" y="1"/>
                  </a:moveTo>
                  <a:cubicBezTo>
                    <a:pt x="10" y="2"/>
                    <a:pt x="7" y="2"/>
                    <a:pt x="5" y="6"/>
                  </a:cubicBezTo>
                  <a:cubicBezTo>
                    <a:pt x="4" y="9"/>
                    <a:pt x="1" y="10"/>
                    <a:pt x="2" y="16"/>
                  </a:cubicBezTo>
                  <a:cubicBezTo>
                    <a:pt x="3" y="22"/>
                    <a:pt x="0" y="22"/>
                    <a:pt x="5" y="23"/>
                  </a:cubicBezTo>
                  <a:cubicBezTo>
                    <a:pt x="11" y="24"/>
                    <a:pt x="17" y="26"/>
                    <a:pt x="20" y="25"/>
                  </a:cubicBezTo>
                  <a:cubicBezTo>
                    <a:pt x="22" y="23"/>
                    <a:pt x="27" y="20"/>
                    <a:pt x="28" y="18"/>
                  </a:cubicBezTo>
                  <a:cubicBezTo>
                    <a:pt x="29" y="16"/>
                    <a:pt x="30" y="10"/>
                    <a:pt x="30" y="7"/>
                  </a:cubicBezTo>
                  <a:cubicBezTo>
                    <a:pt x="29" y="5"/>
                    <a:pt x="27" y="3"/>
                    <a:pt x="27" y="3"/>
                  </a:cubicBezTo>
                  <a:cubicBezTo>
                    <a:pt x="27" y="2"/>
                    <a:pt x="16" y="0"/>
                    <a:pt x="13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58" name="Freeform 117"/>
            <p:cNvSpPr>
              <a:spLocks/>
            </p:cNvSpPr>
            <p:nvPr/>
          </p:nvSpPr>
          <p:spPr bwMode="auto">
            <a:xfrm>
              <a:off x="3342" y="1655"/>
              <a:ext cx="13" cy="11"/>
            </a:xfrm>
            <a:custGeom>
              <a:avLst/>
              <a:gdLst>
                <a:gd name="T0" fmla="*/ 8 w 18"/>
                <a:gd name="T1" fmla="*/ 12 h 14"/>
                <a:gd name="T2" fmla="*/ 15 w 18"/>
                <a:gd name="T3" fmla="*/ 5 h 14"/>
                <a:gd name="T4" fmla="*/ 16 w 18"/>
                <a:gd name="T5" fmla="*/ 2 h 14"/>
                <a:gd name="T6" fmla="*/ 10 w 18"/>
                <a:gd name="T7" fmla="*/ 1 h 14"/>
                <a:gd name="T8" fmla="*/ 1 w 18"/>
                <a:gd name="T9" fmla="*/ 11 h 14"/>
                <a:gd name="T10" fmla="*/ 3 w 18"/>
                <a:gd name="T11" fmla="*/ 14 h 14"/>
                <a:gd name="T12" fmla="*/ 8 w 18"/>
                <a:gd name="T13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4">
                  <a:moveTo>
                    <a:pt x="8" y="12"/>
                  </a:moveTo>
                  <a:cubicBezTo>
                    <a:pt x="12" y="10"/>
                    <a:pt x="14" y="7"/>
                    <a:pt x="15" y="5"/>
                  </a:cubicBezTo>
                  <a:cubicBezTo>
                    <a:pt x="16" y="4"/>
                    <a:pt x="18" y="2"/>
                    <a:pt x="16" y="2"/>
                  </a:cubicBezTo>
                  <a:cubicBezTo>
                    <a:pt x="13" y="1"/>
                    <a:pt x="12" y="0"/>
                    <a:pt x="10" y="1"/>
                  </a:cubicBezTo>
                  <a:cubicBezTo>
                    <a:pt x="6" y="4"/>
                    <a:pt x="1" y="9"/>
                    <a:pt x="1" y="11"/>
                  </a:cubicBezTo>
                  <a:cubicBezTo>
                    <a:pt x="0" y="13"/>
                    <a:pt x="1" y="14"/>
                    <a:pt x="3" y="14"/>
                  </a:cubicBezTo>
                  <a:cubicBezTo>
                    <a:pt x="5" y="14"/>
                    <a:pt x="4" y="14"/>
                    <a:pt x="8" y="1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59" name="Freeform 118"/>
            <p:cNvSpPr>
              <a:spLocks/>
            </p:cNvSpPr>
            <p:nvPr/>
          </p:nvSpPr>
          <p:spPr bwMode="auto">
            <a:xfrm>
              <a:off x="3349" y="1647"/>
              <a:ext cx="9" cy="8"/>
            </a:xfrm>
            <a:custGeom>
              <a:avLst/>
              <a:gdLst>
                <a:gd name="T0" fmla="*/ 5 w 13"/>
                <a:gd name="T1" fmla="*/ 9 h 10"/>
                <a:gd name="T2" fmla="*/ 11 w 13"/>
                <a:gd name="T3" fmla="*/ 5 h 10"/>
                <a:gd name="T4" fmla="*/ 7 w 13"/>
                <a:gd name="T5" fmla="*/ 1 h 10"/>
                <a:gd name="T6" fmla="*/ 0 w 13"/>
                <a:gd name="T7" fmla="*/ 8 h 10"/>
                <a:gd name="T8" fmla="*/ 5 w 13"/>
                <a:gd name="T9" fmla="*/ 9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5" y="9"/>
                  </a:moveTo>
                  <a:cubicBezTo>
                    <a:pt x="8" y="8"/>
                    <a:pt x="9" y="8"/>
                    <a:pt x="11" y="5"/>
                  </a:cubicBezTo>
                  <a:cubicBezTo>
                    <a:pt x="13" y="2"/>
                    <a:pt x="9" y="3"/>
                    <a:pt x="7" y="1"/>
                  </a:cubicBezTo>
                  <a:cubicBezTo>
                    <a:pt x="4" y="0"/>
                    <a:pt x="0" y="6"/>
                    <a:pt x="0" y="8"/>
                  </a:cubicBezTo>
                  <a:cubicBezTo>
                    <a:pt x="0" y="10"/>
                    <a:pt x="3" y="10"/>
                    <a:pt x="5" y="9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0" name="Freeform 119"/>
            <p:cNvSpPr>
              <a:spLocks/>
            </p:cNvSpPr>
            <p:nvPr/>
          </p:nvSpPr>
          <p:spPr bwMode="auto">
            <a:xfrm>
              <a:off x="3360" y="1654"/>
              <a:ext cx="11" cy="7"/>
            </a:xfrm>
            <a:custGeom>
              <a:avLst/>
              <a:gdLst>
                <a:gd name="T0" fmla="*/ 12 w 14"/>
                <a:gd name="T1" fmla="*/ 5 h 9"/>
                <a:gd name="T2" fmla="*/ 4 w 14"/>
                <a:gd name="T3" fmla="*/ 1 h 9"/>
                <a:gd name="T4" fmla="*/ 2 w 14"/>
                <a:gd name="T5" fmla="*/ 7 h 9"/>
                <a:gd name="T6" fmla="*/ 9 w 14"/>
                <a:gd name="T7" fmla="*/ 8 h 9"/>
                <a:gd name="T8" fmla="*/ 12 w 14"/>
                <a:gd name="T9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9">
                  <a:moveTo>
                    <a:pt x="12" y="5"/>
                  </a:moveTo>
                  <a:cubicBezTo>
                    <a:pt x="10" y="2"/>
                    <a:pt x="6" y="0"/>
                    <a:pt x="4" y="1"/>
                  </a:cubicBezTo>
                  <a:cubicBezTo>
                    <a:pt x="2" y="2"/>
                    <a:pt x="0" y="6"/>
                    <a:pt x="2" y="7"/>
                  </a:cubicBezTo>
                  <a:cubicBezTo>
                    <a:pt x="5" y="9"/>
                    <a:pt x="7" y="8"/>
                    <a:pt x="9" y="8"/>
                  </a:cubicBezTo>
                  <a:cubicBezTo>
                    <a:pt x="11" y="8"/>
                    <a:pt x="14" y="7"/>
                    <a:pt x="12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1" name="Freeform 120"/>
            <p:cNvSpPr>
              <a:spLocks/>
            </p:cNvSpPr>
            <p:nvPr/>
          </p:nvSpPr>
          <p:spPr bwMode="auto">
            <a:xfrm>
              <a:off x="3383" y="1667"/>
              <a:ext cx="3" cy="5"/>
            </a:xfrm>
            <a:custGeom>
              <a:avLst/>
              <a:gdLst>
                <a:gd name="T0" fmla="*/ 3 w 4"/>
                <a:gd name="T1" fmla="*/ 6 h 7"/>
                <a:gd name="T2" fmla="*/ 4 w 4"/>
                <a:gd name="T3" fmla="*/ 1 h 7"/>
                <a:gd name="T4" fmla="*/ 1 w 4"/>
                <a:gd name="T5" fmla="*/ 3 h 7"/>
                <a:gd name="T6" fmla="*/ 3 w 4"/>
                <a:gd name="T7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7">
                  <a:moveTo>
                    <a:pt x="3" y="6"/>
                  </a:moveTo>
                  <a:cubicBezTo>
                    <a:pt x="4" y="5"/>
                    <a:pt x="4" y="2"/>
                    <a:pt x="4" y="1"/>
                  </a:cubicBezTo>
                  <a:cubicBezTo>
                    <a:pt x="4" y="0"/>
                    <a:pt x="0" y="2"/>
                    <a:pt x="1" y="3"/>
                  </a:cubicBezTo>
                  <a:cubicBezTo>
                    <a:pt x="1" y="5"/>
                    <a:pt x="2" y="7"/>
                    <a:pt x="3" y="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2" name="Freeform 121"/>
            <p:cNvSpPr>
              <a:spLocks/>
            </p:cNvSpPr>
            <p:nvPr/>
          </p:nvSpPr>
          <p:spPr bwMode="auto">
            <a:xfrm>
              <a:off x="3389" y="1678"/>
              <a:ext cx="15" cy="8"/>
            </a:xfrm>
            <a:custGeom>
              <a:avLst/>
              <a:gdLst>
                <a:gd name="T0" fmla="*/ 6 w 20"/>
                <a:gd name="T1" fmla="*/ 9 h 11"/>
                <a:gd name="T2" fmla="*/ 15 w 20"/>
                <a:gd name="T3" fmla="*/ 9 h 11"/>
                <a:gd name="T4" fmla="*/ 19 w 20"/>
                <a:gd name="T5" fmla="*/ 8 h 11"/>
                <a:gd name="T6" fmla="*/ 18 w 20"/>
                <a:gd name="T7" fmla="*/ 4 h 11"/>
                <a:gd name="T8" fmla="*/ 8 w 20"/>
                <a:gd name="T9" fmla="*/ 2 h 11"/>
                <a:gd name="T10" fmla="*/ 5 w 20"/>
                <a:gd name="T11" fmla="*/ 1 h 11"/>
                <a:gd name="T12" fmla="*/ 2 w 20"/>
                <a:gd name="T13" fmla="*/ 1 h 11"/>
                <a:gd name="T14" fmla="*/ 1 w 20"/>
                <a:gd name="T15" fmla="*/ 3 h 11"/>
                <a:gd name="T16" fmla="*/ 6 w 20"/>
                <a:gd name="T1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1">
                  <a:moveTo>
                    <a:pt x="6" y="9"/>
                  </a:moveTo>
                  <a:cubicBezTo>
                    <a:pt x="10" y="9"/>
                    <a:pt x="11" y="9"/>
                    <a:pt x="15" y="9"/>
                  </a:cubicBezTo>
                  <a:cubicBezTo>
                    <a:pt x="18" y="9"/>
                    <a:pt x="18" y="11"/>
                    <a:pt x="19" y="8"/>
                  </a:cubicBezTo>
                  <a:cubicBezTo>
                    <a:pt x="20" y="6"/>
                    <a:pt x="20" y="5"/>
                    <a:pt x="18" y="4"/>
                  </a:cubicBezTo>
                  <a:cubicBezTo>
                    <a:pt x="15" y="3"/>
                    <a:pt x="10" y="2"/>
                    <a:pt x="8" y="2"/>
                  </a:cubicBezTo>
                  <a:cubicBezTo>
                    <a:pt x="7" y="1"/>
                    <a:pt x="7" y="1"/>
                    <a:pt x="5" y="1"/>
                  </a:cubicBezTo>
                  <a:cubicBezTo>
                    <a:pt x="3" y="0"/>
                    <a:pt x="3" y="1"/>
                    <a:pt x="2" y="1"/>
                  </a:cubicBezTo>
                  <a:cubicBezTo>
                    <a:pt x="1" y="2"/>
                    <a:pt x="0" y="2"/>
                    <a:pt x="1" y="3"/>
                  </a:cubicBezTo>
                  <a:cubicBezTo>
                    <a:pt x="3" y="6"/>
                    <a:pt x="3" y="9"/>
                    <a:pt x="6" y="9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3" name="Freeform 122"/>
            <p:cNvSpPr>
              <a:spLocks/>
            </p:cNvSpPr>
            <p:nvPr/>
          </p:nvSpPr>
          <p:spPr bwMode="auto">
            <a:xfrm>
              <a:off x="3330" y="1646"/>
              <a:ext cx="14" cy="9"/>
            </a:xfrm>
            <a:custGeom>
              <a:avLst/>
              <a:gdLst>
                <a:gd name="T0" fmla="*/ 8 w 19"/>
                <a:gd name="T1" fmla="*/ 9 h 11"/>
                <a:gd name="T2" fmla="*/ 14 w 19"/>
                <a:gd name="T3" fmla="*/ 6 h 11"/>
                <a:gd name="T4" fmla="*/ 15 w 19"/>
                <a:gd name="T5" fmla="*/ 3 h 11"/>
                <a:gd name="T6" fmla="*/ 8 w 19"/>
                <a:gd name="T7" fmla="*/ 2 h 11"/>
                <a:gd name="T8" fmla="*/ 2 w 19"/>
                <a:gd name="T9" fmla="*/ 3 h 11"/>
                <a:gd name="T10" fmla="*/ 2 w 19"/>
                <a:gd name="T11" fmla="*/ 6 h 11"/>
                <a:gd name="T12" fmla="*/ 8 w 19"/>
                <a:gd name="T13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1">
                  <a:moveTo>
                    <a:pt x="8" y="9"/>
                  </a:moveTo>
                  <a:cubicBezTo>
                    <a:pt x="11" y="8"/>
                    <a:pt x="12" y="7"/>
                    <a:pt x="14" y="6"/>
                  </a:cubicBezTo>
                  <a:cubicBezTo>
                    <a:pt x="16" y="5"/>
                    <a:pt x="19" y="5"/>
                    <a:pt x="15" y="3"/>
                  </a:cubicBezTo>
                  <a:cubicBezTo>
                    <a:pt x="11" y="2"/>
                    <a:pt x="10" y="0"/>
                    <a:pt x="8" y="2"/>
                  </a:cubicBezTo>
                  <a:cubicBezTo>
                    <a:pt x="5" y="4"/>
                    <a:pt x="5" y="4"/>
                    <a:pt x="2" y="3"/>
                  </a:cubicBezTo>
                  <a:cubicBezTo>
                    <a:pt x="0" y="2"/>
                    <a:pt x="0" y="4"/>
                    <a:pt x="2" y="6"/>
                  </a:cubicBezTo>
                  <a:cubicBezTo>
                    <a:pt x="4" y="8"/>
                    <a:pt x="5" y="11"/>
                    <a:pt x="8" y="9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4" name="Freeform 123"/>
            <p:cNvSpPr>
              <a:spLocks/>
            </p:cNvSpPr>
            <p:nvPr/>
          </p:nvSpPr>
          <p:spPr bwMode="auto">
            <a:xfrm>
              <a:off x="3264" y="1673"/>
              <a:ext cx="8" cy="11"/>
            </a:xfrm>
            <a:custGeom>
              <a:avLst/>
              <a:gdLst>
                <a:gd name="T0" fmla="*/ 6 w 11"/>
                <a:gd name="T1" fmla="*/ 2 h 14"/>
                <a:gd name="T2" fmla="*/ 2 w 11"/>
                <a:gd name="T3" fmla="*/ 11 h 14"/>
                <a:gd name="T4" fmla="*/ 5 w 11"/>
                <a:gd name="T5" fmla="*/ 14 h 14"/>
                <a:gd name="T6" fmla="*/ 10 w 11"/>
                <a:gd name="T7" fmla="*/ 11 h 14"/>
                <a:gd name="T8" fmla="*/ 10 w 11"/>
                <a:gd name="T9" fmla="*/ 5 h 14"/>
                <a:gd name="T10" fmla="*/ 6 w 11"/>
                <a:gd name="T11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14">
                  <a:moveTo>
                    <a:pt x="6" y="2"/>
                  </a:moveTo>
                  <a:cubicBezTo>
                    <a:pt x="3" y="5"/>
                    <a:pt x="0" y="8"/>
                    <a:pt x="2" y="11"/>
                  </a:cubicBezTo>
                  <a:cubicBezTo>
                    <a:pt x="4" y="14"/>
                    <a:pt x="3" y="14"/>
                    <a:pt x="5" y="14"/>
                  </a:cubicBezTo>
                  <a:cubicBezTo>
                    <a:pt x="8" y="14"/>
                    <a:pt x="8" y="13"/>
                    <a:pt x="10" y="11"/>
                  </a:cubicBezTo>
                  <a:cubicBezTo>
                    <a:pt x="11" y="9"/>
                    <a:pt x="11" y="7"/>
                    <a:pt x="10" y="5"/>
                  </a:cubicBezTo>
                  <a:cubicBezTo>
                    <a:pt x="9" y="3"/>
                    <a:pt x="8" y="0"/>
                    <a:pt x="6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5" name="Freeform 124"/>
            <p:cNvSpPr>
              <a:spLocks/>
            </p:cNvSpPr>
            <p:nvPr/>
          </p:nvSpPr>
          <p:spPr bwMode="auto">
            <a:xfrm>
              <a:off x="3261" y="1642"/>
              <a:ext cx="12" cy="4"/>
            </a:xfrm>
            <a:custGeom>
              <a:avLst/>
              <a:gdLst>
                <a:gd name="T0" fmla="*/ 13 w 15"/>
                <a:gd name="T1" fmla="*/ 3 h 6"/>
                <a:gd name="T2" fmla="*/ 6 w 15"/>
                <a:gd name="T3" fmla="*/ 0 h 6"/>
                <a:gd name="T4" fmla="*/ 2 w 15"/>
                <a:gd name="T5" fmla="*/ 2 h 6"/>
                <a:gd name="T6" fmla="*/ 8 w 15"/>
                <a:gd name="T7" fmla="*/ 4 h 6"/>
                <a:gd name="T8" fmla="*/ 13 w 15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6">
                  <a:moveTo>
                    <a:pt x="13" y="3"/>
                  </a:moveTo>
                  <a:cubicBezTo>
                    <a:pt x="11" y="1"/>
                    <a:pt x="8" y="1"/>
                    <a:pt x="6" y="0"/>
                  </a:cubicBezTo>
                  <a:cubicBezTo>
                    <a:pt x="4" y="0"/>
                    <a:pt x="0" y="1"/>
                    <a:pt x="2" y="2"/>
                  </a:cubicBezTo>
                  <a:cubicBezTo>
                    <a:pt x="4" y="4"/>
                    <a:pt x="4" y="3"/>
                    <a:pt x="8" y="4"/>
                  </a:cubicBezTo>
                  <a:cubicBezTo>
                    <a:pt x="13" y="5"/>
                    <a:pt x="15" y="6"/>
                    <a:pt x="13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6" name="Freeform 125"/>
            <p:cNvSpPr>
              <a:spLocks/>
            </p:cNvSpPr>
            <p:nvPr/>
          </p:nvSpPr>
          <p:spPr bwMode="auto">
            <a:xfrm>
              <a:off x="3296" y="1762"/>
              <a:ext cx="23" cy="15"/>
            </a:xfrm>
            <a:custGeom>
              <a:avLst/>
              <a:gdLst>
                <a:gd name="T0" fmla="*/ 22 w 31"/>
                <a:gd name="T1" fmla="*/ 1 h 20"/>
                <a:gd name="T2" fmla="*/ 12 w 31"/>
                <a:gd name="T3" fmla="*/ 4 h 20"/>
                <a:gd name="T4" fmla="*/ 6 w 31"/>
                <a:gd name="T5" fmla="*/ 6 h 20"/>
                <a:gd name="T6" fmla="*/ 1 w 31"/>
                <a:gd name="T7" fmla="*/ 12 h 20"/>
                <a:gd name="T8" fmla="*/ 5 w 31"/>
                <a:gd name="T9" fmla="*/ 17 h 20"/>
                <a:gd name="T10" fmla="*/ 14 w 31"/>
                <a:gd name="T11" fmla="*/ 17 h 20"/>
                <a:gd name="T12" fmla="*/ 22 w 31"/>
                <a:gd name="T13" fmla="*/ 10 h 20"/>
                <a:gd name="T14" fmla="*/ 28 w 31"/>
                <a:gd name="T15" fmla="*/ 5 h 20"/>
                <a:gd name="T16" fmla="*/ 22 w 31"/>
                <a:gd name="T17" fmla="*/ 1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20">
                  <a:moveTo>
                    <a:pt x="22" y="1"/>
                  </a:moveTo>
                  <a:cubicBezTo>
                    <a:pt x="18" y="2"/>
                    <a:pt x="12" y="3"/>
                    <a:pt x="12" y="4"/>
                  </a:cubicBezTo>
                  <a:cubicBezTo>
                    <a:pt x="11" y="5"/>
                    <a:pt x="8" y="3"/>
                    <a:pt x="6" y="6"/>
                  </a:cubicBezTo>
                  <a:cubicBezTo>
                    <a:pt x="4" y="8"/>
                    <a:pt x="1" y="10"/>
                    <a:pt x="1" y="12"/>
                  </a:cubicBezTo>
                  <a:cubicBezTo>
                    <a:pt x="1" y="15"/>
                    <a:pt x="0" y="15"/>
                    <a:pt x="5" y="17"/>
                  </a:cubicBezTo>
                  <a:cubicBezTo>
                    <a:pt x="10" y="20"/>
                    <a:pt x="10" y="19"/>
                    <a:pt x="14" y="17"/>
                  </a:cubicBezTo>
                  <a:cubicBezTo>
                    <a:pt x="18" y="15"/>
                    <a:pt x="19" y="13"/>
                    <a:pt x="22" y="10"/>
                  </a:cubicBezTo>
                  <a:cubicBezTo>
                    <a:pt x="24" y="7"/>
                    <a:pt x="31" y="8"/>
                    <a:pt x="28" y="5"/>
                  </a:cubicBezTo>
                  <a:cubicBezTo>
                    <a:pt x="24" y="1"/>
                    <a:pt x="26" y="0"/>
                    <a:pt x="22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7" name="Freeform 126"/>
            <p:cNvSpPr>
              <a:spLocks/>
            </p:cNvSpPr>
            <p:nvPr/>
          </p:nvSpPr>
          <p:spPr bwMode="auto">
            <a:xfrm>
              <a:off x="3334" y="1772"/>
              <a:ext cx="10" cy="15"/>
            </a:xfrm>
            <a:custGeom>
              <a:avLst/>
              <a:gdLst>
                <a:gd name="T0" fmla="*/ 3 w 14"/>
                <a:gd name="T1" fmla="*/ 15 h 21"/>
                <a:gd name="T2" fmla="*/ 7 w 14"/>
                <a:gd name="T3" fmla="*/ 17 h 21"/>
                <a:gd name="T4" fmla="*/ 11 w 14"/>
                <a:gd name="T5" fmla="*/ 8 h 21"/>
                <a:gd name="T6" fmla="*/ 12 w 14"/>
                <a:gd name="T7" fmla="*/ 1 h 21"/>
                <a:gd name="T8" fmla="*/ 3 w 14"/>
                <a:gd name="T9" fmla="*/ 2 h 21"/>
                <a:gd name="T10" fmla="*/ 0 w 14"/>
                <a:gd name="T11" fmla="*/ 8 h 21"/>
                <a:gd name="T12" fmla="*/ 3 w 14"/>
                <a:gd name="T13" fmla="*/ 15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1">
                  <a:moveTo>
                    <a:pt x="3" y="15"/>
                  </a:moveTo>
                  <a:cubicBezTo>
                    <a:pt x="5" y="18"/>
                    <a:pt x="5" y="21"/>
                    <a:pt x="7" y="17"/>
                  </a:cubicBezTo>
                  <a:cubicBezTo>
                    <a:pt x="9" y="14"/>
                    <a:pt x="10" y="11"/>
                    <a:pt x="11" y="8"/>
                  </a:cubicBezTo>
                  <a:cubicBezTo>
                    <a:pt x="12" y="5"/>
                    <a:pt x="14" y="3"/>
                    <a:pt x="12" y="1"/>
                  </a:cubicBezTo>
                  <a:cubicBezTo>
                    <a:pt x="10" y="0"/>
                    <a:pt x="7" y="0"/>
                    <a:pt x="3" y="2"/>
                  </a:cubicBezTo>
                  <a:cubicBezTo>
                    <a:pt x="0" y="4"/>
                    <a:pt x="0" y="4"/>
                    <a:pt x="0" y="8"/>
                  </a:cubicBezTo>
                  <a:cubicBezTo>
                    <a:pt x="0" y="12"/>
                    <a:pt x="0" y="13"/>
                    <a:pt x="3" y="1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8" name="Freeform 127"/>
            <p:cNvSpPr>
              <a:spLocks/>
            </p:cNvSpPr>
            <p:nvPr/>
          </p:nvSpPr>
          <p:spPr bwMode="auto">
            <a:xfrm>
              <a:off x="3351" y="1754"/>
              <a:ext cx="10" cy="8"/>
            </a:xfrm>
            <a:custGeom>
              <a:avLst/>
              <a:gdLst>
                <a:gd name="T0" fmla="*/ 3 w 14"/>
                <a:gd name="T1" fmla="*/ 6 h 10"/>
                <a:gd name="T2" fmla="*/ 10 w 14"/>
                <a:gd name="T3" fmla="*/ 8 h 10"/>
                <a:gd name="T4" fmla="*/ 13 w 14"/>
                <a:gd name="T5" fmla="*/ 7 h 10"/>
                <a:gd name="T6" fmla="*/ 12 w 14"/>
                <a:gd name="T7" fmla="*/ 2 h 10"/>
                <a:gd name="T8" fmla="*/ 8 w 14"/>
                <a:gd name="T9" fmla="*/ 0 h 10"/>
                <a:gd name="T10" fmla="*/ 2 w 14"/>
                <a:gd name="T11" fmla="*/ 2 h 10"/>
                <a:gd name="T12" fmla="*/ 3 w 14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0">
                  <a:moveTo>
                    <a:pt x="3" y="6"/>
                  </a:moveTo>
                  <a:cubicBezTo>
                    <a:pt x="7" y="7"/>
                    <a:pt x="7" y="7"/>
                    <a:pt x="10" y="8"/>
                  </a:cubicBezTo>
                  <a:cubicBezTo>
                    <a:pt x="12" y="8"/>
                    <a:pt x="12" y="10"/>
                    <a:pt x="13" y="7"/>
                  </a:cubicBezTo>
                  <a:cubicBezTo>
                    <a:pt x="13" y="4"/>
                    <a:pt x="14" y="3"/>
                    <a:pt x="12" y="2"/>
                  </a:cubicBezTo>
                  <a:cubicBezTo>
                    <a:pt x="11" y="1"/>
                    <a:pt x="10" y="0"/>
                    <a:pt x="8" y="0"/>
                  </a:cubicBezTo>
                  <a:cubicBezTo>
                    <a:pt x="7" y="0"/>
                    <a:pt x="4" y="1"/>
                    <a:pt x="2" y="2"/>
                  </a:cubicBezTo>
                  <a:cubicBezTo>
                    <a:pt x="1" y="3"/>
                    <a:pt x="0" y="5"/>
                    <a:pt x="3" y="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69" name="Freeform 128"/>
            <p:cNvSpPr>
              <a:spLocks/>
            </p:cNvSpPr>
            <p:nvPr/>
          </p:nvSpPr>
          <p:spPr bwMode="auto">
            <a:xfrm>
              <a:off x="3362" y="1751"/>
              <a:ext cx="10" cy="6"/>
            </a:xfrm>
            <a:custGeom>
              <a:avLst/>
              <a:gdLst>
                <a:gd name="T0" fmla="*/ 5 w 13"/>
                <a:gd name="T1" fmla="*/ 1 h 9"/>
                <a:gd name="T2" fmla="*/ 1 w 13"/>
                <a:gd name="T3" fmla="*/ 3 h 9"/>
                <a:gd name="T4" fmla="*/ 8 w 13"/>
                <a:gd name="T5" fmla="*/ 8 h 9"/>
                <a:gd name="T6" fmla="*/ 11 w 13"/>
                <a:gd name="T7" fmla="*/ 4 h 9"/>
                <a:gd name="T8" fmla="*/ 5 w 13"/>
                <a:gd name="T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9">
                  <a:moveTo>
                    <a:pt x="5" y="1"/>
                  </a:moveTo>
                  <a:cubicBezTo>
                    <a:pt x="3" y="1"/>
                    <a:pt x="1" y="2"/>
                    <a:pt x="1" y="3"/>
                  </a:cubicBezTo>
                  <a:cubicBezTo>
                    <a:pt x="0" y="6"/>
                    <a:pt x="6" y="9"/>
                    <a:pt x="8" y="8"/>
                  </a:cubicBezTo>
                  <a:cubicBezTo>
                    <a:pt x="10" y="7"/>
                    <a:pt x="13" y="7"/>
                    <a:pt x="11" y="4"/>
                  </a:cubicBezTo>
                  <a:cubicBezTo>
                    <a:pt x="8" y="1"/>
                    <a:pt x="7" y="0"/>
                    <a:pt x="5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70" name="Freeform 129"/>
            <p:cNvSpPr>
              <a:spLocks/>
            </p:cNvSpPr>
            <p:nvPr/>
          </p:nvSpPr>
          <p:spPr bwMode="auto">
            <a:xfrm>
              <a:off x="3409" y="1353"/>
              <a:ext cx="610" cy="457"/>
            </a:xfrm>
            <a:custGeom>
              <a:avLst/>
              <a:gdLst>
                <a:gd name="T0" fmla="*/ 620 w 820"/>
                <a:gd name="T1" fmla="*/ 385 h 614"/>
                <a:gd name="T2" fmla="*/ 635 w 820"/>
                <a:gd name="T3" fmla="*/ 365 h 614"/>
                <a:gd name="T4" fmla="*/ 679 w 820"/>
                <a:gd name="T5" fmla="*/ 378 h 614"/>
                <a:gd name="T6" fmla="*/ 650 w 820"/>
                <a:gd name="T7" fmla="*/ 327 h 614"/>
                <a:gd name="T8" fmla="*/ 651 w 820"/>
                <a:gd name="T9" fmla="*/ 304 h 614"/>
                <a:gd name="T10" fmla="*/ 704 w 820"/>
                <a:gd name="T11" fmla="*/ 305 h 614"/>
                <a:gd name="T12" fmla="*/ 732 w 820"/>
                <a:gd name="T13" fmla="*/ 276 h 614"/>
                <a:gd name="T14" fmla="*/ 727 w 820"/>
                <a:gd name="T15" fmla="*/ 246 h 614"/>
                <a:gd name="T16" fmla="*/ 706 w 820"/>
                <a:gd name="T17" fmla="*/ 213 h 614"/>
                <a:gd name="T18" fmla="*/ 706 w 820"/>
                <a:gd name="T19" fmla="*/ 189 h 614"/>
                <a:gd name="T20" fmla="*/ 691 w 820"/>
                <a:gd name="T21" fmla="*/ 182 h 614"/>
                <a:gd name="T22" fmla="*/ 734 w 820"/>
                <a:gd name="T23" fmla="*/ 129 h 614"/>
                <a:gd name="T24" fmla="*/ 709 w 820"/>
                <a:gd name="T25" fmla="*/ 118 h 614"/>
                <a:gd name="T26" fmla="*/ 744 w 820"/>
                <a:gd name="T27" fmla="*/ 97 h 614"/>
                <a:gd name="T28" fmla="*/ 799 w 820"/>
                <a:gd name="T29" fmla="*/ 61 h 614"/>
                <a:gd name="T30" fmla="*/ 700 w 820"/>
                <a:gd name="T31" fmla="*/ 73 h 614"/>
                <a:gd name="T32" fmla="*/ 660 w 820"/>
                <a:gd name="T33" fmla="*/ 57 h 614"/>
                <a:gd name="T34" fmla="*/ 626 w 820"/>
                <a:gd name="T35" fmla="*/ 55 h 614"/>
                <a:gd name="T36" fmla="*/ 572 w 820"/>
                <a:gd name="T37" fmla="*/ 56 h 614"/>
                <a:gd name="T38" fmla="*/ 670 w 820"/>
                <a:gd name="T39" fmla="*/ 29 h 614"/>
                <a:gd name="T40" fmla="*/ 609 w 820"/>
                <a:gd name="T41" fmla="*/ 20 h 614"/>
                <a:gd name="T42" fmla="*/ 519 w 820"/>
                <a:gd name="T43" fmla="*/ 3 h 614"/>
                <a:gd name="T44" fmla="*/ 453 w 820"/>
                <a:gd name="T45" fmla="*/ 21 h 614"/>
                <a:gd name="T46" fmla="*/ 371 w 820"/>
                <a:gd name="T47" fmla="*/ 25 h 614"/>
                <a:gd name="T48" fmla="*/ 382 w 820"/>
                <a:gd name="T49" fmla="*/ 42 h 614"/>
                <a:gd name="T50" fmla="*/ 379 w 820"/>
                <a:gd name="T51" fmla="*/ 63 h 614"/>
                <a:gd name="T52" fmla="*/ 306 w 820"/>
                <a:gd name="T53" fmla="*/ 39 h 614"/>
                <a:gd name="T54" fmla="*/ 281 w 820"/>
                <a:gd name="T55" fmla="*/ 51 h 614"/>
                <a:gd name="T56" fmla="*/ 226 w 820"/>
                <a:gd name="T57" fmla="*/ 49 h 614"/>
                <a:gd name="T58" fmla="*/ 218 w 820"/>
                <a:gd name="T59" fmla="*/ 78 h 614"/>
                <a:gd name="T60" fmla="*/ 151 w 820"/>
                <a:gd name="T61" fmla="*/ 87 h 614"/>
                <a:gd name="T62" fmla="*/ 94 w 820"/>
                <a:gd name="T63" fmla="*/ 99 h 614"/>
                <a:gd name="T64" fmla="*/ 117 w 820"/>
                <a:gd name="T65" fmla="*/ 115 h 614"/>
                <a:gd name="T66" fmla="*/ 74 w 820"/>
                <a:gd name="T67" fmla="*/ 147 h 614"/>
                <a:gd name="T68" fmla="*/ 0 w 820"/>
                <a:gd name="T69" fmla="*/ 174 h 614"/>
                <a:gd name="T70" fmla="*/ 68 w 820"/>
                <a:gd name="T71" fmla="*/ 194 h 614"/>
                <a:gd name="T72" fmla="*/ 24 w 820"/>
                <a:gd name="T73" fmla="*/ 204 h 614"/>
                <a:gd name="T74" fmla="*/ 57 w 820"/>
                <a:gd name="T75" fmla="*/ 221 h 614"/>
                <a:gd name="T76" fmla="*/ 88 w 820"/>
                <a:gd name="T77" fmla="*/ 232 h 614"/>
                <a:gd name="T78" fmla="*/ 145 w 820"/>
                <a:gd name="T79" fmla="*/ 230 h 614"/>
                <a:gd name="T80" fmla="*/ 204 w 820"/>
                <a:gd name="T81" fmla="*/ 263 h 614"/>
                <a:gd name="T82" fmla="*/ 245 w 820"/>
                <a:gd name="T83" fmla="*/ 318 h 614"/>
                <a:gd name="T84" fmla="*/ 240 w 820"/>
                <a:gd name="T85" fmla="*/ 356 h 614"/>
                <a:gd name="T86" fmla="*/ 277 w 820"/>
                <a:gd name="T87" fmla="*/ 352 h 614"/>
                <a:gd name="T88" fmla="*/ 288 w 820"/>
                <a:gd name="T89" fmla="*/ 382 h 614"/>
                <a:gd name="T90" fmla="*/ 279 w 820"/>
                <a:gd name="T91" fmla="*/ 391 h 614"/>
                <a:gd name="T92" fmla="*/ 301 w 820"/>
                <a:gd name="T93" fmla="*/ 418 h 614"/>
                <a:gd name="T94" fmla="*/ 307 w 820"/>
                <a:gd name="T95" fmla="*/ 446 h 614"/>
                <a:gd name="T96" fmla="*/ 257 w 820"/>
                <a:gd name="T97" fmla="*/ 455 h 614"/>
                <a:gd name="T98" fmla="*/ 292 w 820"/>
                <a:gd name="T99" fmla="*/ 460 h 614"/>
                <a:gd name="T100" fmla="*/ 265 w 820"/>
                <a:gd name="T101" fmla="*/ 480 h 614"/>
                <a:gd name="T102" fmla="*/ 276 w 820"/>
                <a:gd name="T103" fmla="*/ 487 h 614"/>
                <a:gd name="T104" fmla="*/ 281 w 820"/>
                <a:gd name="T105" fmla="*/ 510 h 614"/>
                <a:gd name="T106" fmla="*/ 307 w 820"/>
                <a:gd name="T107" fmla="*/ 511 h 614"/>
                <a:gd name="T108" fmla="*/ 300 w 820"/>
                <a:gd name="T109" fmla="*/ 545 h 614"/>
                <a:gd name="T110" fmla="*/ 323 w 820"/>
                <a:gd name="T111" fmla="*/ 573 h 614"/>
                <a:gd name="T112" fmla="*/ 347 w 820"/>
                <a:gd name="T113" fmla="*/ 594 h 614"/>
                <a:gd name="T114" fmla="*/ 393 w 820"/>
                <a:gd name="T115" fmla="*/ 603 h 614"/>
                <a:gd name="T116" fmla="*/ 425 w 820"/>
                <a:gd name="T117" fmla="*/ 537 h 614"/>
                <a:gd name="T118" fmla="*/ 464 w 820"/>
                <a:gd name="T119" fmla="*/ 493 h 614"/>
                <a:gd name="T120" fmla="*/ 503 w 820"/>
                <a:gd name="T121" fmla="*/ 479 h 614"/>
                <a:gd name="T122" fmla="*/ 579 w 820"/>
                <a:gd name="T123" fmla="*/ 436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20" h="614">
                  <a:moveTo>
                    <a:pt x="664" y="399"/>
                  </a:moveTo>
                  <a:cubicBezTo>
                    <a:pt x="665" y="398"/>
                    <a:pt x="667" y="400"/>
                    <a:pt x="668" y="399"/>
                  </a:cubicBezTo>
                  <a:cubicBezTo>
                    <a:pt x="669" y="398"/>
                    <a:pt x="672" y="397"/>
                    <a:pt x="672" y="396"/>
                  </a:cubicBezTo>
                  <a:cubicBezTo>
                    <a:pt x="672" y="395"/>
                    <a:pt x="676" y="395"/>
                    <a:pt x="678" y="394"/>
                  </a:cubicBezTo>
                  <a:cubicBezTo>
                    <a:pt x="680" y="394"/>
                    <a:pt x="683" y="392"/>
                    <a:pt x="683" y="391"/>
                  </a:cubicBezTo>
                  <a:cubicBezTo>
                    <a:pt x="683" y="390"/>
                    <a:pt x="683" y="390"/>
                    <a:pt x="683" y="388"/>
                  </a:cubicBezTo>
                  <a:cubicBezTo>
                    <a:pt x="682" y="387"/>
                    <a:pt x="682" y="388"/>
                    <a:pt x="680" y="388"/>
                  </a:cubicBezTo>
                  <a:cubicBezTo>
                    <a:pt x="678" y="388"/>
                    <a:pt x="676" y="389"/>
                    <a:pt x="675" y="389"/>
                  </a:cubicBezTo>
                  <a:cubicBezTo>
                    <a:pt x="674" y="389"/>
                    <a:pt x="670" y="390"/>
                    <a:pt x="669" y="390"/>
                  </a:cubicBezTo>
                  <a:cubicBezTo>
                    <a:pt x="668" y="390"/>
                    <a:pt x="667" y="391"/>
                    <a:pt x="665" y="390"/>
                  </a:cubicBezTo>
                  <a:cubicBezTo>
                    <a:pt x="664" y="390"/>
                    <a:pt x="661" y="387"/>
                    <a:pt x="660" y="386"/>
                  </a:cubicBezTo>
                  <a:cubicBezTo>
                    <a:pt x="658" y="385"/>
                    <a:pt x="657" y="385"/>
                    <a:pt x="655" y="385"/>
                  </a:cubicBezTo>
                  <a:cubicBezTo>
                    <a:pt x="653" y="385"/>
                    <a:pt x="653" y="385"/>
                    <a:pt x="651" y="385"/>
                  </a:cubicBezTo>
                  <a:cubicBezTo>
                    <a:pt x="650" y="385"/>
                    <a:pt x="648" y="385"/>
                    <a:pt x="647" y="384"/>
                  </a:cubicBezTo>
                  <a:cubicBezTo>
                    <a:pt x="647" y="384"/>
                    <a:pt x="644" y="383"/>
                    <a:pt x="643" y="383"/>
                  </a:cubicBezTo>
                  <a:cubicBezTo>
                    <a:pt x="639" y="383"/>
                    <a:pt x="639" y="383"/>
                    <a:pt x="639" y="383"/>
                  </a:cubicBezTo>
                  <a:cubicBezTo>
                    <a:pt x="637" y="383"/>
                    <a:pt x="637" y="383"/>
                    <a:pt x="637" y="383"/>
                  </a:cubicBezTo>
                  <a:cubicBezTo>
                    <a:pt x="636" y="384"/>
                    <a:pt x="628" y="386"/>
                    <a:pt x="628" y="386"/>
                  </a:cubicBezTo>
                  <a:cubicBezTo>
                    <a:pt x="627" y="386"/>
                    <a:pt x="625" y="387"/>
                    <a:pt x="624" y="387"/>
                  </a:cubicBezTo>
                  <a:cubicBezTo>
                    <a:pt x="623" y="387"/>
                    <a:pt x="621" y="387"/>
                    <a:pt x="620" y="387"/>
                  </a:cubicBezTo>
                  <a:cubicBezTo>
                    <a:pt x="619" y="387"/>
                    <a:pt x="619" y="388"/>
                    <a:pt x="618" y="388"/>
                  </a:cubicBezTo>
                  <a:cubicBezTo>
                    <a:pt x="617" y="388"/>
                    <a:pt x="617" y="390"/>
                    <a:pt x="616" y="390"/>
                  </a:cubicBezTo>
                  <a:cubicBezTo>
                    <a:pt x="616" y="390"/>
                    <a:pt x="612" y="392"/>
                    <a:pt x="610" y="391"/>
                  </a:cubicBezTo>
                  <a:cubicBezTo>
                    <a:pt x="609" y="390"/>
                    <a:pt x="609" y="391"/>
                    <a:pt x="607" y="391"/>
                  </a:cubicBezTo>
                  <a:cubicBezTo>
                    <a:pt x="604" y="391"/>
                    <a:pt x="603" y="391"/>
                    <a:pt x="602" y="390"/>
                  </a:cubicBezTo>
                  <a:cubicBezTo>
                    <a:pt x="601" y="389"/>
                    <a:pt x="602" y="390"/>
                    <a:pt x="603" y="389"/>
                  </a:cubicBezTo>
                  <a:cubicBezTo>
                    <a:pt x="605" y="389"/>
                    <a:pt x="606" y="391"/>
                    <a:pt x="606" y="390"/>
                  </a:cubicBezTo>
                  <a:cubicBezTo>
                    <a:pt x="606" y="389"/>
                    <a:pt x="609" y="390"/>
                    <a:pt x="611" y="389"/>
                  </a:cubicBezTo>
                  <a:cubicBezTo>
                    <a:pt x="613" y="387"/>
                    <a:pt x="614" y="390"/>
                    <a:pt x="614" y="388"/>
                  </a:cubicBezTo>
                  <a:cubicBezTo>
                    <a:pt x="615" y="386"/>
                    <a:pt x="615" y="387"/>
                    <a:pt x="616" y="386"/>
                  </a:cubicBezTo>
                  <a:cubicBezTo>
                    <a:pt x="617" y="385"/>
                    <a:pt x="618" y="385"/>
                    <a:pt x="620" y="385"/>
                  </a:cubicBezTo>
                  <a:cubicBezTo>
                    <a:pt x="621" y="384"/>
                    <a:pt x="623" y="385"/>
                    <a:pt x="624" y="385"/>
                  </a:cubicBezTo>
                  <a:cubicBezTo>
                    <a:pt x="625" y="385"/>
                    <a:pt x="626" y="384"/>
                    <a:pt x="627" y="382"/>
                  </a:cubicBezTo>
                  <a:cubicBezTo>
                    <a:pt x="628" y="380"/>
                    <a:pt x="628" y="379"/>
                    <a:pt x="628" y="379"/>
                  </a:cubicBezTo>
                  <a:cubicBezTo>
                    <a:pt x="632" y="379"/>
                    <a:pt x="632" y="379"/>
                    <a:pt x="632" y="379"/>
                  </a:cubicBezTo>
                  <a:cubicBezTo>
                    <a:pt x="632" y="379"/>
                    <a:pt x="637" y="377"/>
                    <a:pt x="639" y="376"/>
                  </a:cubicBezTo>
                  <a:cubicBezTo>
                    <a:pt x="640" y="375"/>
                    <a:pt x="640" y="376"/>
                    <a:pt x="642" y="373"/>
                  </a:cubicBezTo>
                  <a:cubicBezTo>
                    <a:pt x="644" y="371"/>
                    <a:pt x="642" y="372"/>
                    <a:pt x="641" y="371"/>
                  </a:cubicBezTo>
                  <a:cubicBezTo>
                    <a:pt x="641" y="370"/>
                    <a:pt x="639" y="368"/>
                    <a:pt x="639" y="368"/>
                  </a:cubicBezTo>
                  <a:cubicBezTo>
                    <a:pt x="638" y="368"/>
                    <a:pt x="636" y="368"/>
                    <a:pt x="631" y="368"/>
                  </a:cubicBezTo>
                  <a:cubicBezTo>
                    <a:pt x="627" y="368"/>
                    <a:pt x="628" y="368"/>
                    <a:pt x="628" y="368"/>
                  </a:cubicBezTo>
                  <a:cubicBezTo>
                    <a:pt x="627" y="369"/>
                    <a:pt x="620" y="370"/>
                    <a:pt x="618" y="370"/>
                  </a:cubicBezTo>
                  <a:cubicBezTo>
                    <a:pt x="617" y="370"/>
                    <a:pt x="618" y="371"/>
                    <a:pt x="617" y="371"/>
                  </a:cubicBezTo>
                  <a:cubicBezTo>
                    <a:pt x="617" y="371"/>
                    <a:pt x="615" y="372"/>
                    <a:pt x="613" y="373"/>
                  </a:cubicBezTo>
                  <a:cubicBezTo>
                    <a:pt x="611" y="374"/>
                    <a:pt x="612" y="375"/>
                    <a:pt x="611" y="376"/>
                  </a:cubicBezTo>
                  <a:cubicBezTo>
                    <a:pt x="610" y="377"/>
                    <a:pt x="607" y="379"/>
                    <a:pt x="606" y="379"/>
                  </a:cubicBezTo>
                  <a:cubicBezTo>
                    <a:pt x="604" y="380"/>
                    <a:pt x="608" y="382"/>
                    <a:pt x="608" y="382"/>
                  </a:cubicBezTo>
                  <a:cubicBezTo>
                    <a:pt x="608" y="382"/>
                    <a:pt x="608" y="382"/>
                    <a:pt x="607" y="382"/>
                  </a:cubicBezTo>
                  <a:cubicBezTo>
                    <a:pt x="606" y="382"/>
                    <a:pt x="605" y="383"/>
                    <a:pt x="604" y="382"/>
                  </a:cubicBezTo>
                  <a:cubicBezTo>
                    <a:pt x="603" y="382"/>
                    <a:pt x="603" y="381"/>
                    <a:pt x="602" y="381"/>
                  </a:cubicBezTo>
                  <a:cubicBezTo>
                    <a:pt x="602" y="380"/>
                    <a:pt x="600" y="381"/>
                    <a:pt x="600" y="381"/>
                  </a:cubicBezTo>
                  <a:cubicBezTo>
                    <a:pt x="600" y="381"/>
                    <a:pt x="599" y="381"/>
                    <a:pt x="598" y="381"/>
                  </a:cubicBezTo>
                  <a:cubicBezTo>
                    <a:pt x="596" y="381"/>
                    <a:pt x="596" y="381"/>
                    <a:pt x="596" y="380"/>
                  </a:cubicBezTo>
                  <a:cubicBezTo>
                    <a:pt x="597" y="379"/>
                    <a:pt x="597" y="379"/>
                    <a:pt x="598" y="378"/>
                  </a:cubicBezTo>
                  <a:cubicBezTo>
                    <a:pt x="599" y="377"/>
                    <a:pt x="601" y="377"/>
                    <a:pt x="602" y="377"/>
                  </a:cubicBezTo>
                  <a:cubicBezTo>
                    <a:pt x="602" y="377"/>
                    <a:pt x="604" y="376"/>
                    <a:pt x="604" y="375"/>
                  </a:cubicBezTo>
                  <a:cubicBezTo>
                    <a:pt x="604" y="374"/>
                    <a:pt x="606" y="372"/>
                    <a:pt x="606" y="371"/>
                  </a:cubicBezTo>
                  <a:cubicBezTo>
                    <a:pt x="606" y="369"/>
                    <a:pt x="608" y="369"/>
                    <a:pt x="610" y="368"/>
                  </a:cubicBezTo>
                  <a:cubicBezTo>
                    <a:pt x="613" y="367"/>
                    <a:pt x="616" y="368"/>
                    <a:pt x="622" y="367"/>
                  </a:cubicBezTo>
                  <a:cubicBezTo>
                    <a:pt x="628" y="367"/>
                    <a:pt x="623" y="367"/>
                    <a:pt x="625" y="367"/>
                  </a:cubicBezTo>
                  <a:cubicBezTo>
                    <a:pt x="626" y="366"/>
                    <a:pt x="628" y="367"/>
                    <a:pt x="629" y="366"/>
                  </a:cubicBezTo>
                  <a:cubicBezTo>
                    <a:pt x="631" y="366"/>
                    <a:pt x="635" y="365"/>
                    <a:pt x="635" y="365"/>
                  </a:cubicBezTo>
                  <a:cubicBezTo>
                    <a:pt x="636" y="364"/>
                    <a:pt x="637" y="364"/>
                    <a:pt x="639" y="363"/>
                  </a:cubicBezTo>
                  <a:cubicBezTo>
                    <a:pt x="640" y="362"/>
                    <a:pt x="640" y="362"/>
                    <a:pt x="640" y="362"/>
                  </a:cubicBezTo>
                  <a:cubicBezTo>
                    <a:pt x="640" y="362"/>
                    <a:pt x="640" y="360"/>
                    <a:pt x="640" y="360"/>
                  </a:cubicBezTo>
                  <a:cubicBezTo>
                    <a:pt x="640" y="359"/>
                    <a:pt x="629" y="355"/>
                    <a:pt x="629" y="355"/>
                  </a:cubicBezTo>
                  <a:cubicBezTo>
                    <a:pt x="629" y="354"/>
                    <a:pt x="626" y="354"/>
                    <a:pt x="626" y="354"/>
                  </a:cubicBezTo>
                  <a:cubicBezTo>
                    <a:pt x="623" y="355"/>
                    <a:pt x="623" y="355"/>
                    <a:pt x="623" y="355"/>
                  </a:cubicBezTo>
                  <a:cubicBezTo>
                    <a:pt x="620" y="354"/>
                    <a:pt x="620" y="354"/>
                    <a:pt x="620" y="354"/>
                  </a:cubicBezTo>
                  <a:cubicBezTo>
                    <a:pt x="618" y="353"/>
                    <a:pt x="618" y="353"/>
                    <a:pt x="618" y="353"/>
                  </a:cubicBezTo>
                  <a:cubicBezTo>
                    <a:pt x="618" y="353"/>
                    <a:pt x="619" y="351"/>
                    <a:pt x="620" y="352"/>
                  </a:cubicBezTo>
                  <a:cubicBezTo>
                    <a:pt x="621" y="352"/>
                    <a:pt x="623" y="352"/>
                    <a:pt x="623" y="352"/>
                  </a:cubicBezTo>
                  <a:cubicBezTo>
                    <a:pt x="626" y="352"/>
                    <a:pt x="625" y="352"/>
                    <a:pt x="626" y="352"/>
                  </a:cubicBezTo>
                  <a:cubicBezTo>
                    <a:pt x="627" y="351"/>
                    <a:pt x="628" y="352"/>
                    <a:pt x="630" y="353"/>
                  </a:cubicBezTo>
                  <a:cubicBezTo>
                    <a:pt x="631" y="353"/>
                    <a:pt x="631" y="354"/>
                    <a:pt x="632" y="354"/>
                  </a:cubicBezTo>
                  <a:cubicBezTo>
                    <a:pt x="634" y="354"/>
                    <a:pt x="634" y="356"/>
                    <a:pt x="635" y="356"/>
                  </a:cubicBezTo>
                  <a:cubicBezTo>
                    <a:pt x="636" y="356"/>
                    <a:pt x="638" y="357"/>
                    <a:pt x="639" y="357"/>
                  </a:cubicBezTo>
                  <a:cubicBezTo>
                    <a:pt x="639" y="357"/>
                    <a:pt x="643" y="359"/>
                    <a:pt x="643" y="359"/>
                  </a:cubicBezTo>
                  <a:cubicBezTo>
                    <a:pt x="648" y="361"/>
                    <a:pt x="646" y="362"/>
                    <a:pt x="648" y="363"/>
                  </a:cubicBezTo>
                  <a:cubicBezTo>
                    <a:pt x="648" y="363"/>
                    <a:pt x="650" y="364"/>
                    <a:pt x="651" y="364"/>
                  </a:cubicBezTo>
                  <a:cubicBezTo>
                    <a:pt x="653" y="364"/>
                    <a:pt x="652" y="366"/>
                    <a:pt x="654" y="366"/>
                  </a:cubicBezTo>
                  <a:cubicBezTo>
                    <a:pt x="655" y="366"/>
                    <a:pt x="656" y="370"/>
                    <a:pt x="656" y="370"/>
                  </a:cubicBezTo>
                  <a:cubicBezTo>
                    <a:pt x="656" y="373"/>
                    <a:pt x="656" y="373"/>
                    <a:pt x="656" y="373"/>
                  </a:cubicBezTo>
                  <a:cubicBezTo>
                    <a:pt x="656" y="373"/>
                    <a:pt x="657" y="376"/>
                    <a:pt x="658" y="377"/>
                  </a:cubicBezTo>
                  <a:cubicBezTo>
                    <a:pt x="659" y="378"/>
                    <a:pt x="661" y="378"/>
                    <a:pt x="662" y="377"/>
                  </a:cubicBezTo>
                  <a:cubicBezTo>
                    <a:pt x="664" y="376"/>
                    <a:pt x="663" y="378"/>
                    <a:pt x="665" y="379"/>
                  </a:cubicBezTo>
                  <a:cubicBezTo>
                    <a:pt x="666" y="379"/>
                    <a:pt x="667" y="380"/>
                    <a:pt x="670" y="380"/>
                  </a:cubicBezTo>
                  <a:cubicBezTo>
                    <a:pt x="672" y="380"/>
                    <a:pt x="674" y="381"/>
                    <a:pt x="674" y="381"/>
                  </a:cubicBezTo>
                  <a:cubicBezTo>
                    <a:pt x="674" y="381"/>
                    <a:pt x="676" y="381"/>
                    <a:pt x="676" y="381"/>
                  </a:cubicBezTo>
                  <a:cubicBezTo>
                    <a:pt x="677" y="380"/>
                    <a:pt x="676" y="379"/>
                    <a:pt x="676" y="377"/>
                  </a:cubicBezTo>
                  <a:cubicBezTo>
                    <a:pt x="675" y="375"/>
                    <a:pt x="676" y="377"/>
                    <a:pt x="676" y="375"/>
                  </a:cubicBezTo>
                  <a:cubicBezTo>
                    <a:pt x="677" y="374"/>
                    <a:pt x="679" y="375"/>
                    <a:pt x="679" y="375"/>
                  </a:cubicBezTo>
                  <a:cubicBezTo>
                    <a:pt x="679" y="378"/>
                    <a:pt x="679" y="378"/>
                    <a:pt x="679" y="378"/>
                  </a:cubicBezTo>
                  <a:cubicBezTo>
                    <a:pt x="679" y="378"/>
                    <a:pt x="679" y="381"/>
                    <a:pt x="680" y="381"/>
                  </a:cubicBezTo>
                  <a:cubicBezTo>
                    <a:pt x="681" y="381"/>
                    <a:pt x="683" y="382"/>
                    <a:pt x="683" y="382"/>
                  </a:cubicBezTo>
                  <a:cubicBezTo>
                    <a:pt x="683" y="382"/>
                    <a:pt x="687" y="382"/>
                    <a:pt x="688" y="381"/>
                  </a:cubicBezTo>
                  <a:cubicBezTo>
                    <a:pt x="689" y="379"/>
                    <a:pt x="690" y="379"/>
                    <a:pt x="690" y="377"/>
                  </a:cubicBezTo>
                  <a:cubicBezTo>
                    <a:pt x="691" y="376"/>
                    <a:pt x="691" y="374"/>
                    <a:pt x="691" y="373"/>
                  </a:cubicBezTo>
                  <a:cubicBezTo>
                    <a:pt x="691" y="372"/>
                    <a:pt x="690" y="371"/>
                    <a:pt x="690" y="371"/>
                  </a:cubicBezTo>
                  <a:cubicBezTo>
                    <a:pt x="689" y="370"/>
                    <a:pt x="687" y="370"/>
                    <a:pt x="686" y="369"/>
                  </a:cubicBezTo>
                  <a:cubicBezTo>
                    <a:pt x="685" y="368"/>
                    <a:pt x="685" y="368"/>
                    <a:pt x="685" y="368"/>
                  </a:cubicBezTo>
                  <a:cubicBezTo>
                    <a:pt x="685" y="367"/>
                    <a:pt x="689" y="368"/>
                    <a:pt x="689" y="368"/>
                  </a:cubicBezTo>
                  <a:cubicBezTo>
                    <a:pt x="690" y="366"/>
                    <a:pt x="690" y="366"/>
                    <a:pt x="690" y="366"/>
                  </a:cubicBezTo>
                  <a:cubicBezTo>
                    <a:pt x="693" y="364"/>
                    <a:pt x="693" y="364"/>
                    <a:pt x="693" y="364"/>
                  </a:cubicBezTo>
                  <a:cubicBezTo>
                    <a:pt x="693" y="364"/>
                    <a:pt x="693" y="362"/>
                    <a:pt x="694" y="362"/>
                  </a:cubicBezTo>
                  <a:cubicBezTo>
                    <a:pt x="694" y="361"/>
                    <a:pt x="692" y="359"/>
                    <a:pt x="692" y="359"/>
                  </a:cubicBezTo>
                  <a:cubicBezTo>
                    <a:pt x="692" y="359"/>
                    <a:pt x="687" y="355"/>
                    <a:pt x="685" y="355"/>
                  </a:cubicBezTo>
                  <a:cubicBezTo>
                    <a:pt x="682" y="358"/>
                    <a:pt x="682" y="358"/>
                    <a:pt x="682" y="358"/>
                  </a:cubicBezTo>
                  <a:cubicBezTo>
                    <a:pt x="682" y="358"/>
                    <a:pt x="680" y="356"/>
                    <a:pt x="681" y="355"/>
                  </a:cubicBezTo>
                  <a:cubicBezTo>
                    <a:pt x="682" y="354"/>
                    <a:pt x="680" y="352"/>
                    <a:pt x="680" y="351"/>
                  </a:cubicBezTo>
                  <a:cubicBezTo>
                    <a:pt x="680" y="351"/>
                    <a:pt x="678" y="352"/>
                    <a:pt x="678" y="351"/>
                  </a:cubicBezTo>
                  <a:cubicBezTo>
                    <a:pt x="679" y="350"/>
                    <a:pt x="678" y="350"/>
                    <a:pt x="678" y="349"/>
                  </a:cubicBezTo>
                  <a:cubicBezTo>
                    <a:pt x="679" y="348"/>
                    <a:pt x="677" y="348"/>
                    <a:pt x="677" y="347"/>
                  </a:cubicBezTo>
                  <a:cubicBezTo>
                    <a:pt x="677" y="347"/>
                    <a:pt x="674" y="346"/>
                    <a:pt x="674" y="346"/>
                  </a:cubicBezTo>
                  <a:cubicBezTo>
                    <a:pt x="674" y="346"/>
                    <a:pt x="672" y="344"/>
                    <a:pt x="672" y="344"/>
                  </a:cubicBezTo>
                  <a:cubicBezTo>
                    <a:pt x="672" y="343"/>
                    <a:pt x="670" y="342"/>
                    <a:pt x="670" y="341"/>
                  </a:cubicBezTo>
                  <a:cubicBezTo>
                    <a:pt x="671" y="340"/>
                    <a:pt x="667" y="341"/>
                    <a:pt x="667" y="341"/>
                  </a:cubicBezTo>
                  <a:cubicBezTo>
                    <a:pt x="665" y="339"/>
                    <a:pt x="665" y="339"/>
                    <a:pt x="665" y="339"/>
                  </a:cubicBezTo>
                  <a:cubicBezTo>
                    <a:pt x="661" y="336"/>
                    <a:pt x="661" y="336"/>
                    <a:pt x="661" y="336"/>
                  </a:cubicBezTo>
                  <a:cubicBezTo>
                    <a:pt x="661" y="336"/>
                    <a:pt x="659" y="336"/>
                    <a:pt x="658" y="335"/>
                  </a:cubicBezTo>
                  <a:cubicBezTo>
                    <a:pt x="657" y="334"/>
                    <a:pt x="654" y="333"/>
                    <a:pt x="654" y="333"/>
                  </a:cubicBezTo>
                  <a:cubicBezTo>
                    <a:pt x="651" y="332"/>
                    <a:pt x="651" y="332"/>
                    <a:pt x="651" y="332"/>
                  </a:cubicBezTo>
                  <a:cubicBezTo>
                    <a:pt x="649" y="331"/>
                    <a:pt x="649" y="331"/>
                    <a:pt x="649" y="331"/>
                  </a:cubicBezTo>
                  <a:cubicBezTo>
                    <a:pt x="649" y="331"/>
                    <a:pt x="650" y="328"/>
                    <a:pt x="650" y="327"/>
                  </a:cubicBezTo>
                  <a:cubicBezTo>
                    <a:pt x="650" y="326"/>
                    <a:pt x="648" y="325"/>
                    <a:pt x="648" y="325"/>
                  </a:cubicBezTo>
                  <a:cubicBezTo>
                    <a:pt x="648" y="325"/>
                    <a:pt x="648" y="323"/>
                    <a:pt x="648" y="322"/>
                  </a:cubicBezTo>
                  <a:cubicBezTo>
                    <a:pt x="649" y="321"/>
                    <a:pt x="647" y="321"/>
                    <a:pt x="646" y="320"/>
                  </a:cubicBezTo>
                  <a:cubicBezTo>
                    <a:pt x="645" y="320"/>
                    <a:pt x="642" y="320"/>
                    <a:pt x="643" y="319"/>
                  </a:cubicBezTo>
                  <a:cubicBezTo>
                    <a:pt x="645" y="318"/>
                    <a:pt x="645" y="319"/>
                    <a:pt x="646" y="318"/>
                  </a:cubicBezTo>
                  <a:cubicBezTo>
                    <a:pt x="646" y="317"/>
                    <a:pt x="645" y="316"/>
                    <a:pt x="645" y="315"/>
                  </a:cubicBezTo>
                  <a:cubicBezTo>
                    <a:pt x="646" y="313"/>
                    <a:pt x="643" y="315"/>
                    <a:pt x="643" y="314"/>
                  </a:cubicBezTo>
                  <a:cubicBezTo>
                    <a:pt x="642" y="313"/>
                    <a:pt x="641" y="314"/>
                    <a:pt x="640" y="313"/>
                  </a:cubicBezTo>
                  <a:cubicBezTo>
                    <a:pt x="639" y="313"/>
                    <a:pt x="637" y="312"/>
                    <a:pt x="637" y="312"/>
                  </a:cubicBezTo>
                  <a:cubicBezTo>
                    <a:pt x="637" y="312"/>
                    <a:pt x="634" y="312"/>
                    <a:pt x="632" y="312"/>
                  </a:cubicBezTo>
                  <a:cubicBezTo>
                    <a:pt x="631" y="312"/>
                    <a:pt x="629" y="312"/>
                    <a:pt x="629" y="312"/>
                  </a:cubicBezTo>
                  <a:cubicBezTo>
                    <a:pt x="628" y="312"/>
                    <a:pt x="625" y="311"/>
                    <a:pt x="625" y="311"/>
                  </a:cubicBezTo>
                  <a:cubicBezTo>
                    <a:pt x="625" y="311"/>
                    <a:pt x="623" y="311"/>
                    <a:pt x="623" y="311"/>
                  </a:cubicBezTo>
                  <a:cubicBezTo>
                    <a:pt x="622" y="310"/>
                    <a:pt x="621" y="308"/>
                    <a:pt x="622" y="308"/>
                  </a:cubicBezTo>
                  <a:cubicBezTo>
                    <a:pt x="623" y="307"/>
                    <a:pt x="623" y="309"/>
                    <a:pt x="623" y="309"/>
                  </a:cubicBezTo>
                  <a:cubicBezTo>
                    <a:pt x="624" y="308"/>
                    <a:pt x="624" y="309"/>
                    <a:pt x="626" y="308"/>
                  </a:cubicBezTo>
                  <a:cubicBezTo>
                    <a:pt x="627" y="308"/>
                    <a:pt x="627" y="310"/>
                    <a:pt x="628" y="309"/>
                  </a:cubicBezTo>
                  <a:cubicBezTo>
                    <a:pt x="629" y="308"/>
                    <a:pt x="629" y="310"/>
                    <a:pt x="630" y="310"/>
                  </a:cubicBezTo>
                  <a:cubicBezTo>
                    <a:pt x="632" y="310"/>
                    <a:pt x="632" y="311"/>
                    <a:pt x="634" y="310"/>
                  </a:cubicBezTo>
                  <a:cubicBezTo>
                    <a:pt x="634" y="310"/>
                    <a:pt x="636" y="311"/>
                    <a:pt x="638" y="309"/>
                  </a:cubicBezTo>
                  <a:cubicBezTo>
                    <a:pt x="639" y="309"/>
                    <a:pt x="638" y="308"/>
                    <a:pt x="639" y="307"/>
                  </a:cubicBezTo>
                  <a:cubicBezTo>
                    <a:pt x="639" y="307"/>
                    <a:pt x="640" y="307"/>
                    <a:pt x="641" y="306"/>
                  </a:cubicBezTo>
                  <a:cubicBezTo>
                    <a:pt x="642" y="305"/>
                    <a:pt x="643" y="307"/>
                    <a:pt x="644" y="307"/>
                  </a:cubicBezTo>
                  <a:cubicBezTo>
                    <a:pt x="644" y="306"/>
                    <a:pt x="644" y="306"/>
                    <a:pt x="645" y="306"/>
                  </a:cubicBezTo>
                  <a:cubicBezTo>
                    <a:pt x="645" y="308"/>
                    <a:pt x="642" y="308"/>
                    <a:pt x="646" y="309"/>
                  </a:cubicBezTo>
                  <a:cubicBezTo>
                    <a:pt x="650" y="310"/>
                    <a:pt x="651" y="309"/>
                    <a:pt x="653" y="309"/>
                  </a:cubicBezTo>
                  <a:cubicBezTo>
                    <a:pt x="655" y="309"/>
                    <a:pt x="654" y="311"/>
                    <a:pt x="658" y="311"/>
                  </a:cubicBezTo>
                  <a:cubicBezTo>
                    <a:pt x="662" y="311"/>
                    <a:pt x="665" y="315"/>
                    <a:pt x="664" y="312"/>
                  </a:cubicBezTo>
                  <a:cubicBezTo>
                    <a:pt x="663" y="309"/>
                    <a:pt x="663" y="308"/>
                    <a:pt x="660" y="307"/>
                  </a:cubicBezTo>
                  <a:cubicBezTo>
                    <a:pt x="656" y="307"/>
                    <a:pt x="653" y="305"/>
                    <a:pt x="652" y="305"/>
                  </a:cubicBezTo>
                  <a:cubicBezTo>
                    <a:pt x="651" y="306"/>
                    <a:pt x="649" y="304"/>
                    <a:pt x="651" y="304"/>
                  </a:cubicBezTo>
                  <a:cubicBezTo>
                    <a:pt x="652" y="304"/>
                    <a:pt x="651" y="301"/>
                    <a:pt x="649" y="303"/>
                  </a:cubicBezTo>
                  <a:cubicBezTo>
                    <a:pt x="647" y="304"/>
                    <a:pt x="646" y="303"/>
                    <a:pt x="645" y="304"/>
                  </a:cubicBezTo>
                  <a:cubicBezTo>
                    <a:pt x="644" y="304"/>
                    <a:pt x="644" y="304"/>
                    <a:pt x="644" y="302"/>
                  </a:cubicBezTo>
                  <a:cubicBezTo>
                    <a:pt x="644" y="302"/>
                    <a:pt x="645" y="301"/>
                    <a:pt x="645" y="301"/>
                  </a:cubicBezTo>
                  <a:cubicBezTo>
                    <a:pt x="647" y="301"/>
                    <a:pt x="647" y="301"/>
                    <a:pt x="647" y="301"/>
                  </a:cubicBezTo>
                  <a:cubicBezTo>
                    <a:pt x="649" y="302"/>
                    <a:pt x="649" y="302"/>
                    <a:pt x="649" y="302"/>
                  </a:cubicBezTo>
                  <a:cubicBezTo>
                    <a:pt x="650" y="302"/>
                    <a:pt x="651" y="302"/>
                    <a:pt x="651" y="302"/>
                  </a:cubicBezTo>
                  <a:cubicBezTo>
                    <a:pt x="651" y="302"/>
                    <a:pt x="653" y="302"/>
                    <a:pt x="654" y="300"/>
                  </a:cubicBezTo>
                  <a:cubicBezTo>
                    <a:pt x="654" y="300"/>
                    <a:pt x="656" y="298"/>
                    <a:pt x="658" y="297"/>
                  </a:cubicBezTo>
                  <a:cubicBezTo>
                    <a:pt x="661" y="297"/>
                    <a:pt x="661" y="297"/>
                    <a:pt x="661" y="297"/>
                  </a:cubicBezTo>
                  <a:cubicBezTo>
                    <a:pt x="661" y="297"/>
                    <a:pt x="664" y="298"/>
                    <a:pt x="665" y="297"/>
                  </a:cubicBezTo>
                  <a:cubicBezTo>
                    <a:pt x="666" y="296"/>
                    <a:pt x="667" y="297"/>
                    <a:pt x="668" y="297"/>
                  </a:cubicBezTo>
                  <a:cubicBezTo>
                    <a:pt x="669" y="297"/>
                    <a:pt x="670" y="298"/>
                    <a:pt x="671" y="299"/>
                  </a:cubicBezTo>
                  <a:cubicBezTo>
                    <a:pt x="672" y="299"/>
                    <a:pt x="673" y="300"/>
                    <a:pt x="673" y="300"/>
                  </a:cubicBezTo>
                  <a:cubicBezTo>
                    <a:pt x="674" y="301"/>
                    <a:pt x="676" y="302"/>
                    <a:pt x="676" y="302"/>
                  </a:cubicBezTo>
                  <a:cubicBezTo>
                    <a:pt x="675" y="302"/>
                    <a:pt x="674" y="302"/>
                    <a:pt x="673" y="302"/>
                  </a:cubicBezTo>
                  <a:cubicBezTo>
                    <a:pt x="672" y="301"/>
                    <a:pt x="671" y="302"/>
                    <a:pt x="669" y="300"/>
                  </a:cubicBezTo>
                  <a:cubicBezTo>
                    <a:pt x="668" y="297"/>
                    <a:pt x="666" y="300"/>
                    <a:pt x="665" y="300"/>
                  </a:cubicBezTo>
                  <a:cubicBezTo>
                    <a:pt x="664" y="300"/>
                    <a:pt x="662" y="299"/>
                    <a:pt x="661" y="299"/>
                  </a:cubicBezTo>
                  <a:cubicBezTo>
                    <a:pt x="661" y="299"/>
                    <a:pt x="661" y="301"/>
                    <a:pt x="661" y="301"/>
                  </a:cubicBezTo>
                  <a:cubicBezTo>
                    <a:pt x="661" y="305"/>
                    <a:pt x="661" y="305"/>
                    <a:pt x="661" y="305"/>
                  </a:cubicBezTo>
                  <a:cubicBezTo>
                    <a:pt x="662" y="305"/>
                    <a:pt x="663" y="307"/>
                    <a:pt x="664" y="307"/>
                  </a:cubicBezTo>
                  <a:cubicBezTo>
                    <a:pt x="664" y="307"/>
                    <a:pt x="665" y="308"/>
                    <a:pt x="666" y="308"/>
                  </a:cubicBezTo>
                  <a:cubicBezTo>
                    <a:pt x="667" y="308"/>
                    <a:pt x="671" y="309"/>
                    <a:pt x="672" y="309"/>
                  </a:cubicBezTo>
                  <a:cubicBezTo>
                    <a:pt x="673" y="309"/>
                    <a:pt x="675" y="312"/>
                    <a:pt x="675" y="312"/>
                  </a:cubicBezTo>
                  <a:cubicBezTo>
                    <a:pt x="676" y="312"/>
                    <a:pt x="682" y="312"/>
                    <a:pt x="682" y="311"/>
                  </a:cubicBezTo>
                  <a:cubicBezTo>
                    <a:pt x="683" y="311"/>
                    <a:pt x="685" y="310"/>
                    <a:pt x="687" y="310"/>
                  </a:cubicBezTo>
                  <a:cubicBezTo>
                    <a:pt x="688" y="309"/>
                    <a:pt x="691" y="309"/>
                    <a:pt x="692" y="308"/>
                  </a:cubicBezTo>
                  <a:cubicBezTo>
                    <a:pt x="693" y="307"/>
                    <a:pt x="693" y="307"/>
                    <a:pt x="693" y="307"/>
                  </a:cubicBezTo>
                  <a:cubicBezTo>
                    <a:pt x="693" y="307"/>
                    <a:pt x="695" y="306"/>
                    <a:pt x="698" y="305"/>
                  </a:cubicBezTo>
                  <a:cubicBezTo>
                    <a:pt x="700" y="305"/>
                    <a:pt x="703" y="305"/>
                    <a:pt x="704" y="305"/>
                  </a:cubicBezTo>
                  <a:cubicBezTo>
                    <a:pt x="704" y="304"/>
                    <a:pt x="704" y="305"/>
                    <a:pt x="704" y="305"/>
                  </a:cubicBezTo>
                  <a:cubicBezTo>
                    <a:pt x="704" y="305"/>
                    <a:pt x="707" y="304"/>
                    <a:pt x="708" y="303"/>
                  </a:cubicBezTo>
                  <a:cubicBezTo>
                    <a:pt x="708" y="302"/>
                    <a:pt x="708" y="302"/>
                    <a:pt x="708" y="301"/>
                  </a:cubicBezTo>
                  <a:cubicBezTo>
                    <a:pt x="707" y="300"/>
                    <a:pt x="708" y="298"/>
                    <a:pt x="709" y="296"/>
                  </a:cubicBezTo>
                  <a:cubicBezTo>
                    <a:pt x="709" y="294"/>
                    <a:pt x="709" y="296"/>
                    <a:pt x="708" y="295"/>
                  </a:cubicBezTo>
                  <a:cubicBezTo>
                    <a:pt x="708" y="294"/>
                    <a:pt x="707" y="295"/>
                    <a:pt x="705" y="293"/>
                  </a:cubicBezTo>
                  <a:cubicBezTo>
                    <a:pt x="703" y="291"/>
                    <a:pt x="704" y="293"/>
                    <a:pt x="701" y="294"/>
                  </a:cubicBezTo>
                  <a:cubicBezTo>
                    <a:pt x="698" y="294"/>
                    <a:pt x="700" y="294"/>
                    <a:pt x="698" y="294"/>
                  </a:cubicBezTo>
                  <a:cubicBezTo>
                    <a:pt x="696" y="293"/>
                    <a:pt x="696" y="293"/>
                    <a:pt x="695" y="292"/>
                  </a:cubicBezTo>
                  <a:cubicBezTo>
                    <a:pt x="693" y="291"/>
                    <a:pt x="693" y="291"/>
                    <a:pt x="693" y="291"/>
                  </a:cubicBezTo>
                  <a:cubicBezTo>
                    <a:pt x="693" y="291"/>
                    <a:pt x="692" y="291"/>
                    <a:pt x="690" y="291"/>
                  </a:cubicBezTo>
                  <a:cubicBezTo>
                    <a:pt x="689" y="290"/>
                    <a:pt x="690" y="291"/>
                    <a:pt x="689" y="291"/>
                  </a:cubicBezTo>
                  <a:cubicBezTo>
                    <a:pt x="688" y="291"/>
                    <a:pt x="687" y="291"/>
                    <a:pt x="686" y="292"/>
                  </a:cubicBezTo>
                  <a:cubicBezTo>
                    <a:pt x="685" y="292"/>
                    <a:pt x="684" y="291"/>
                    <a:pt x="683" y="291"/>
                  </a:cubicBezTo>
                  <a:cubicBezTo>
                    <a:pt x="683" y="290"/>
                    <a:pt x="683" y="289"/>
                    <a:pt x="683" y="288"/>
                  </a:cubicBezTo>
                  <a:cubicBezTo>
                    <a:pt x="684" y="288"/>
                    <a:pt x="685" y="287"/>
                    <a:pt x="686" y="287"/>
                  </a:cubicBezTo>
                  <a:cubicBezTo>
                    <a:pt x="687" y="286"/>
                    <a:pt x="688" y="287"/>
                    <a:pt x="688" y="287"/>
                  </a:cubicBezTo>
                  <a:cubicBezTo>
                    <a:pt x="688" y="287"/>
                    <a:pt x="691" y="287"/>
                    <a:pt x="692" y="287"/>
                  </a:cubicBezTo>
                  <a:cubicBezTo>
                    <a:pt x="693" y="286"/>
                    <a:pt x="694" y="289"/>
                    <a:pt x="695" y="289"/>
                  </a:cubicBezTo>
                  <a:cubicBezTo>
                    <a:pt x="696" y="289"/>
                    <a:pt x="697" y="290"/>
                    <a:pt x="697" y="290"/>
                  </a:cubicBezTo>
                  <a:cubicBezTo>
                    <a:pt x="698" y="290"/>
                    <a:pt x="700" y="289"/>
                    <a:pt x="701" y="288"/>
                  </a:cubicBezTo>
                  <a:cubicBezTo>
                    <a:pt x="702" y="288"/>
                    <a:pt x="703" y="288"/>
                    <a:pt x="704" y="288"/>
                  </a:cubicBezTo>
                  <a:cubicBezTo>
                    <a:pt x="704" y="288"/>
                    <a:pt x="706" y="289"/>
                    <a:pt x="706" y="288"/>
                  </a:cubicBezTo>
                  <a:cubicBezTo>
                    <a:pt x="707" y="288"/>
                    <a:pt x="709" y="287"/>
                    <a:pt x="709" y="287"/>
                  </a:cubicBezTo>
                  <a:cubicBezTo>
                    <a:pt x="712" y="285"/>
                    <a:pt x="712" y="285"/>
                    <a:pt x="712" y="285"/>
                  </a:cubicBezTo>
                  <a:cubicBezTo>
                    <a:pt x="713" y="285"/>
                    <a:pt x="713" y="285"/>
                    <a:pt x="713" y="285"/>
                  </a:cubicBezTo>
                  <a:cubicBezTo>
                    <a:pt x="713" y="285"/>
                    <a:pt x="715" y="285"/>
                    <a:pt x="717" y="285"/>
                  </a:cubicBezTo>
                  <a:cubicBezTo>
                    <a:pt x="719" y="285"/>
                    <a:pt x="719" y="285"/>
                    <a:pt x="720" y="285"/>
                  </a:cubicBezTo>
                  <a:cubicBezTo>
                    <a:pt x="721" y="285"/>
                    <a:pt x="721" y="284"/>
                    <a:pt x="722" y="282"/>
                  </a:cubicBezTo>
                  <a:cubicBezTo>
                    <a:pt x="724" y="281"/>
                    <a:pt x="728" y="279"/>
                    <a:pt x="728" y="279"/>
                  </a:cubicBezTo>
                  <a:cubicBezTo>
                    <a:pt x="728" y="279"/>
                    <a:pt x="731" y="277"/>
                    <a:pt x="732" y="276"/>
                  </a:cubicBezTo>
                  <a:cubicBezTo>
                    <a:pt x="732" y="275"/>
                    <a:pt x="731" y="275"/>
                    <a:pt x="730" y="274"/>
                  </a:cubicBezTo>
                  <a:cubicBezTo>
                    <a:pt x="729" y="274"/>
                    <a:pt x="728" y="274"/>
                    <a:pt x="728" y="274"/>
                  </a:cubicBezTo>
                  <a:cubicBezTo>
                    <a:pt x="728" y="274"/>
                    <a:pt x="727" y="275"/>
                    <a:pt x="726" y="275"/>
                  </a:cubicBezTo>
                  <a:cubicBezTo>
                    <a:pt x="725" y="275"/>
                    <a:pt x="725" y="276"/>
                    <a:pt x="724" y="275"/>
                  </a:cubicBezTo>
                  <a:cubicBezTo>
                    <a:pt x="723" y="274"/>
                    <a:pt x="724" y="274"/>
                    <a:pt x="723" y="273"/>
                  </a:cubicBezTo>
                  <a:cubicBezTo>
                    <a:pt x="722" y="272"/>
                    <a:pt x="722" y="273"/>
                    <a:pt x="722" y="273"/>
                  </a:cubicBezTo>
                  <a:cubicBezTo>
                    <a:pt x="722" y="272"/>
                    <a:pt x="721" y="273"/>
                    <a:pt x="720" y="273"/>
                  </a:cubicBezTo>
                  <a:cubicBezTo>
                    <a:pt x="720" y="273"/>
                    <a:pt x="719" y="274"/>
                    <a:pt x="719" y="274"/>
                  </a:cubicBezTo>
                  <a:cubicBezTo>
                    <a:pt x="718" y="274"/>
                    <a:pt x="716" y="274"/>
                    <a:pt x="716" y="274"/>
                  </a:cubicBezTo>
                  <a:cubicBezTo>
                    <a:pt x="715" y="273"/>
                    <a:pt x="714" y="273"/>
                    <a:pt x="715" y="272"/>
                  </a:cubicBezTo>
                  <a:cubicBezTo>
                    <a:pt x="716" y="271"/>
                    <a:pt x="716" y="271"/>
                    <a:pt x="717" y="270"/>
                  </a:cubicBezTo>
                  <a:cubicBezTo>
                    <a:pt x="718" y="269"/>
                    <a:pt x="719" y="269"/>
                    <a:pt x="719" y="269"/>
                  </a:cubicBezTo>
                  <a:cubicBezTo>
                    <a:pt x="719" y="269"/>
                    <a:pt x="718" y="268"/>
                    <a:pt x="718" y="267"/>
                  </a:cubicBezTo>
                  <a:cubicBezTo>
                    <a:pt x="718" y="267"/>
                    <a:pt x="711" y="264"/>
                    <a:pt x="711" y="264"/>
                  </a:cubicBezTo>
                  <a:cubicBezTo>
                    <a:pt x="711" y="264"/>
                    <a:pt x="709" y="264"/>
                    <a:pt x="709" y="264"/>
                  </a:cubicBezTo>
                  <a:cubicBezTo>
                    <a:pt x="708" y="263"/>
                    <a:pt x="707" y="263"/>
                    <a:pt x="707" y="262"/>
                  </a:cubicBezTo>
                  <a:cubicBezTo>
                    <a:pt x="707" y="262"/>
                    <a:pt x="706" y="261"/>
                    <a:pt x="706" y="260"/>
                  </a:cubicBezTo>
                  <a:cubicBezTo>
                    <a:pt x="707" y="259"/>
                    <a:pt x="706" y="259"/>
                    <a:pt x="706" y="257"/>
                  </a:cubicBezTo>
                  <a:cubicBezTo>
                    <a:pt x="707" y="256"/>
                    <a:pt x="708" y="256"/>
                    <a:pt x="709" y="256"/>
                  </a:cubicBezTo>
                  <a:cubicBezTo>
                    <a:pt x="709" y="256"/>
                    <a:pt x="710" y="256"/>
                    <a:pt x="710" y="256"/>
                  </a:cubicBezTo>
                  <a:cubicBezTo>
                    <a:pt x="711" y="256"/>
                    <a:pt x="711" y="257"/>
                    <a:pt x="711" y="258"/>
                  </a:cubicBezTo>
                  <a:cubicBezTo>
                    <a:pt x="712" y="258"/>
                    <a:pt x="712" y="259"/>
                    <a:pt x="714" y="259"/>
                  </a:cubicBezTo>
                  <a:cubicBezTo>
                    <a:pt x="715" y="259"/>
                    <a:pt x="715" y="260"/>
                    <a:pt x="716" y="260"/>
                  </a:cubicBezTo>
                  <a:cubicBezTo>
                    <a:pt x="717" y="261"/>
                    <a:pt x="717" y="260"/>
                    <a:pt x="719" y="260"/>
                  </a:cubicBezTo>
                  <a:cubicBezTo>
                    <a:pt x="720" y="260"/>
                    <a:pt x="720" y="259"/>
                    <a:pt x="721" y="259"/>
                  </a:cubicBezTo>
                  <a:cubicBezTo>
                    <a:pt x="722" y="258"/>
                    <a:pt x="722" y="258"/>
                    <a:pt x="722" y="256"/>
                  </a:cubicBezTo>
                  <a:cubicBezTo>
                    <a:pt x="723" y="254"/>
                    <a:pt x="722" y="254"/>
                    <a:pt x="723" y="253"/>
                  </a:cubicBezTo>
                  <a:cubicBezTo>
                    <a:pt x="723" y="252"/>
                    <a:pt x="723" y="251"/>
                    <a:pt x="724" y="251"/>
                  </a:cubicBezTo>
                  <a:cubicBezTo>
                    <a:pt x="724" y="250"/>
                    <a:pt x="725" y="250"/>
                    <a:pt x="726" y="249"/>
                  </a:cubicBezTo>
                  <a:cubicBezTo>
                    <a:pt x="727" y="248"/>
                    <a:pt x="727" y="248"/>
                    <a:pt x="727" y="248"/>
                  </a:cubicBezTo>
                  <a:cubicBezTo>
                    <a:pt x="727" y="246"/>
                    <a:pt x="727" y="246"/>
                    <a:pt x="727" y="246"/>
                  </a:cubicBezTo>
                  <a:cubicBezTo>
                    <a:pt x="727" y="244"/>
                    <a:pt x="727" y="244"/>
                    <a:pt x="727" y="244"/>
                  </a:cubicBezTo>
                  <a:cubicBezTo>
                    <a:pt x="723" y="236"/>
                    <a:pt x="723" y="236"/>
                    <a:pt x="723" y="236"/>
                  </a:cubicBezTo>
                  <a:cubicBezTo>
                    <a:pt x="723" y="236"/>
                    <a:pt x="722" y="235"/>
                    <a:pt x="720" y="235"/>
                  </a:cubicBezTo>
                  <a:cubicBezTo>
                    <a:pt x="719" y="235"/>
                    <a:pt x="719" y="235"/>
                    <a:pt x="718" y="234"/>
                  </a:cubicBezTo>
                  <a:cubicBezTo>
                    <a:pt x="718" y="234"/>
                    <a:pt x="717" y="233"/>
                    <a:pt x="717" y="232"/>
                  </a:cubicBezTo>
                  <a:cubicBezTo>
                    <a:pt x="717" y="232"/>
                    <a:pt x="716" y="230"/>
                    <a:pt x="716" y="230"/>
                  </a:cubicBezTo>
                  <a:cubicBezTo>
                    <a:pt x="715" y="230"/>
                    <a:pt x="715" y="229"/>
                    <a:pt x="715" y="229"/>
                  </a:cubicBezTo>
                  <a:cubicBezTo>
                    <a:pt x="712" y="229"/>
                    <a:pt x="712" y="229"/>
                    <a:pt x="712" y="229"/>
                  </a:cubicBezTo>
                  <a:cubicBezTo>
                    <a:pt x="709" y="229"/>
                    <a:pt x="709" y="229"/>
                    <a:pt x="709" y="229"/>
                  </a:cubicBezTo>
                  <a:cubicBezTo>
                    <a:pt x="707" y="229"/>
                    <a:pt x="707" y="229"/>
                    <a:pt x="707" y="229"/>
                  </a:cubicBezTo>
                  <a:cubicBezTo>
                    <a:pt x="707" y="229"/>
                    <a:pt x="701" y="229"/>
                    <a:pt x="700" y="229"/>
                  </a:cubicBezTo>
                  <a:cubicBezTo>
                    <a:pt x="698" y="228"/>
                    <a:pt x="698" y="228"/>
                    <a:pt x="698" y="228"/>
                  </a:cubicBezTo>
                  <a:cubicBezTo>
                    <a:pt x="697" y="228"/>
                    <a:pt x="696" y="228"/>
                    <a:pt x="696" y="228"/>
                  </a:cubicBezTo>
                  <a:cubicBezTo>
                    <a:pt x="696" y="228"/>
                    <a:pt x="693" y="228"/>
                    <a:pt x="693" y="228"/>
                  </a:cubicBezTo>
                  <a:cubicBezTo>
                    <a:pt x="692" y="227"/>
                    <a:pt x="691" y="227"/>
                    <a:pt x="691" y="227"/>
                  </a:cubicBezTo>
                  <a:cubicBezTo>
                    <a:pt x="690" y="223"/>
                    <a:pt x="690" y="223"/>
                    <a:pt x="690" y="223"/>
                  </a:cubicBezTo>
                  <a:cubicBezTo>
                    <a:pt x="690" y="223"/>
                    <a:pt x="687" y="221"/>
                    <a:pt x="687" y="220"/>
                  </a:cubicBezTo>
                  <a:cubicBezTo>
                    <a:pt x="686" y="220"/>
                    <a:pt x="685" y="220"/>
                    <a:pt x="685" y="220"/>
                  </a:cubicBezTo>
                  <a:cubicBezTo>
                    <a:pt x="684" y="220"/>
                    <a:pt x="683" y="220"/>
                    <a:pt x="683" y="220"/>
                  </a:cubicBezTo>
                  <a:cubicBezTo>
                    <a:pt x="682" y="220"/>
                    <a:pt x="681" y="219"/>
                    <a:pt x="681" y="219"/>
                  </a:cubicBezTo>
                  <a:cubicBezTo>
                    <a:pt x="680" y="218"/>
                    <a:pt x="680" y="217"/>
                    <a:pt x="681" y="216"/>
                  </a:cubicBezTo>
                  <a:cubicBezTo>
                    <a:pt x="681" y="215"/>
                    <a:pt x="681" y="215"/>
                    <a:pt x="682" y="214"/>
                  </a:cubicBezTo>
                  <a:cubicBezTo>
                    <a:pt x="683" y="214"/>
                    <a:pt x="684" y="214"/>
                    <a:pt x="685" y="214"/>
                  </a:cubicBezTo>
                  <a:cubicBezTo>
                    <a:pt x="686" y="214"/>
                    <a:pt x="686" y="215"/>
                    <a:pt x="687" y="215"/>
                  </a:cubicBezTo>
                  <a:cubicBezTo>
                    <a:pt x="687" y="216"/>
                    <a:pt x="687" y="216"/>
                    <a:pt x="688" y="218"/>
                  </a:cubicBezTo>
                  <a:cubicBezTo>
                    <a:pt x="689" y="219"/>
                    <a:pt x="689" y="219"/>
                    <a:pt x="690" y="220"/>
                  </a:cubicBezTo>
                  <a:cubicBezTo>
                    <a:pt x="691" y="220"/>
                    <a:pt x="692" y="220"/>
                    <a:pt x="692" y="219"/>
                  </a:cubicBezTo>
                  <a:cubicBezTo>
                    <a:pt x="693" y="219"/>
                    <a:pt x="694" y="218"/>
                    <a:pt x="695" y="218"/>
                  </a:cubicBezTo>
                  <a:cubicBezTo>
                    <a:pt x="696" y="217"/>
                    <a:pt x="699" y="216"/>
                    <a:pt x="699" y="215"/>
                  </a:cubicBezTo>
                  <a:cubicBezTo>
                    <a:pt x="700" y="215"/>
                    <a:pt x="701" y="214"/>
                    <a:pt x="702" y="214"/>
                  </a:cubicBezTo>
                  <a:cubicBezTo>
                    <a:pt x="704" y="213"/>
                    <a:pt x="705" y="213"/>
                    <a:pt x="706" y="213"/>
                  </a:cubicBezTo>
                  <a:cubicBezTo>
                    <a:pt x="706" y="213"/>
                    <a:pt x="708" y="213"/>
                    <a:pt x="710" y="213"/>
                  </a:cubicBezTo>
                  <a:cubicBezTo>
                    <a:pt x="711" y="212"/>
                    <a:pt x="710" y="213"/>
                    <a:pt x="711" y="212"/>
                  </a:cubicBezTo>
                  <a:cubicBezTo>
                    <a:pt x="712" y="212"/>
                    <a:pt x="713" y="211"/>
                    <a:pt x="714" y="211"/>
                  </a:cubicBezTo>
                  <a:cubicBezTo>
                    <a:pt x="714" y="211"/>
                    <a:pt x="715" y="213"/>
                    <a:pt x="716" y="213"/>
                  </a:cubicBezTo>
                  <a:cubicBezTo>
                    <a:pt x="716" y="212"/>
                    <a:pt x="716" y="213"/>
                    <a:pt x="716" y="212"/>
                  </a:cubicBezTo>
                  <a:cubicBezTo>
                    <a:pt x="717" y="212"/>
                    <a:pt x="717" y="213"/>
                    <a:pt x="719" y="213"/>
                  </a:cubicBezTo>
                  <a:cubicBezTo>
                    <a:pt x="721" y="213"/>
                    <a:pt x="721" y="214"/>
                    <a:pt x="722" y="214"/>
                  </a:cubicBezTo>
                  <a:cubicBezTo>
                    <a:pt x="723" y="214"/>
                    <a:pt x="724" y="215"/>
                    <a:pt x="725" y="215"/>
                  </a:cubicBezTo>
                  <a:cubicBezTo>
                    <a:pt x="725" y="215"/>
                    <a:pt x="729" y="214"/>
                    <a:pt x="729" y="214"/>
                  </a:cubicBezTo>
                  <a:cubicBezTo>
                    <a:pt x="730" y="214"/>
                    <a:pt x="730" y="215"/>
                    <a:pt x="731" y="215"/>
                  </a:cubicBezTo>
                  <a:cubicBezTo>
                    <a:pt x="732" y="215"/>
                    <a:pt x="733" y="216"/>
                    <a:pt x="735" y="215"/>
                  </a:cubicBezTo>
                  <a:cubicBezTo>
                    <a:pt x="738" y="214"/>
                    <a:pt x="737" y="215"/>
                    <a:pt x="737" y="214"/>
                  </a:cubicBezTo>
                  <a:cubicBezTo>
                    <a:pt x="738" y="214"/>
                    <a:pt x="738" y="214"/>
                    <a:pt x="739" y="212"/>
                  </a:cubicBezTo>
                  <a:cubicBezTo>
                    <a:pt x="740" y="211"/>
                    <a:pt x="740" y="211"/>
                    <a:pt x="740" y="210"/>
                  </a:cubicBezTo>
                  <a:cubicBezTo>
                    <a:pt x="740" y="209"/>
                    <a:pt x="740" y="207"/>
                    <a:pt x="740" y="207"/>
                  </a:cubicBezTo>
                  <a:cubicBezTo>
                    <a:pt x="740" y="206"/>
                    <a:pt x="739" y="204"/>
                    <a:pt x="739" y="203"/>
                  </a:cubicBezTo>
                  <a:cubicBezTo>
                    <a:pt x="739" y="203"/>
                    <a:pt x="738" y="201"/>
                    <a:pt x="737" y="200"/>
                  </a:cubicBezTo>
                  <a:cubicBezTo>
                    <a:pt x="737" y="200"/>
                    <a:pt x="736" y="202"/>
                    <a:pt x="736" y="202"/>
                  </a:cubicBezTo>
                  <a:cubicBezTo>
                    <a:pt x="736" y="202"/>
                    <a:pt x="731" y="198"/>
                    <a:pt x="731" y="198"/>
                  </a:cubicBezTo>
                  <a:cubicBezTo>
                    <a:pt x="730" y="198"/>
                    <a:pt x="728" y="199"/>
                    <a:pt x="728" y="199"/>
                  </a:cubicBezTo>
                  <a:cubicBezTo>
                    <a:pt x="725" y="200"/>
                    <a:pt x="725" y="200"/>
                    <a:pt x="725" y="200"/>
                  </a:cubicBezTo>
                  <a:cubicBezTo>
                    <a:pt x="725" y="200"/>
                    <a:pt x="722" y="201"/>
                    <a:pt x="722" y="199"/>
                  </a:cubicBezTo>
                  <a:cubicBezTo>
                    <a:pt x="721" y="198"/>
                    <a:pt x="720" y="199"/>
                    <a:pt x="720" y="199"/>
                  </a:cubicBezTo>
                  <a:cubicBezTo>
                    <a:pt x="720" y="198"/>
                    <a:pt x="718" y="197"/>
                    <a:pt x="718" y="197"/>
                  </a:cubicBezTo>
                  <a:cubicBezTo>
                    <a:pt x="717" y="197"/>
                    <a:pt x="716" y="197"/>
                    <a:pt x="715" y="196"/>
                  </a:cubicBezTo>
                  <a:cubicBezTo>
                    <a:pt x="715" y="196"/>
                    <a:pt x="714" y="196"/>
                    <a:pt x="713" y="196"/>
                  </a:cubicBezTo>
                  <a:cubicBezTo>
                    <a:pt x="713" y="196"/>
                    <a:pt x="710" y="196"/>
                    <a:pt x="710" y="196"/>
                  </a:cubicBezTo>
                  <a:cubicBezTo>
                    <a:pt x="709" y="195"/>
                    <a:pt x="709" y="195"/>
                    <a:pt x="709" y="194"/>
                  </a:cubicBezTo>
                  <a:cubicBezTo>
                    <a:pt x="709" y="193"/>
                    <a:pt x="708" y="193"/>
                    <a:pt x="708" y="193"/>
                  </a:cubicBezTo>
                  <a:cubicBezTo>
                    <a:pt x="707" y="193"/>
                    <a:pt x="707" y="192"/>
                    <a:pt x="706" y="192"/>
                  </a:cubicBezTo>
                  <a:cubicBezTo>
                    <a:pt x="706" y="191"/>
                    <a:pt x="705" y="190"/>
                    <a:pt x="706" y="189"/>
                  </a:cubicBezTo>
                  <a:cubicBezTo>
                    <a:pt x="707" y="188"/>
                    <a:pt x="707" y="189"/>
                    <a:pt x="708" y="189"/>
                  </a:cubicBezTo>
                  <a:cubicBezTo>
                    <a:pt x="708" y="189"/>
                    <a:pt x="709" y="188"/>
                    <a:pt x="711" y="188"/>
                  </a:cubicBezTo>
                  <a:cubicBezTo>
                    <a:pt x="713" y="188"/>
                    <a:pt x="712" y="188"/>
                    <a:pt x="713" y="188"/>
                  </a:cubicBezTo>
                  <a:cubicBezTo>
                    <a:pt x="714" y="189"/>
                    <a:pt x="715" y="189"/>
                    <a:pt x="716" y="190"/>
                  </a:cubicBezTo>
                  <a:cubicBezTo>
                    <a:pt x="716" y="190"/>
                    <a:pt x="717" y="191"/>
                    <a:pt x="718" y="191"/>
                  </a:cubicBezTo>
                  <a:cubicBezTo>
                    <a:pt x="718" y="192"/>
                    <a:pt x="720" y="193"/>
                    <a:pt x="720" y="193"/>
                  </a:cubicBezTo>
                  <a:cubicBezTo>
                    <a:pt x="723" y="193"/>
                    <a:pt x="723" y="193"/>
                    <a:pt x="723" y="193"/>
                  </a:cubicBezTo>
                  <a:cubicBezTo>
                    <a:pt x="724" y="192"/>
                    <a:pt x="724" y="192"/>
                    <a:pt x="724" y="192"/>
                  </a:cubicBezTo>
                  <a:cubicBezTo>
                    <a:pt x="726" y="192"/>
                    <a:pt x="726" y="192"/>
                    <a:pt x="726" y="192"/>
                  </a:cubicBezTo>
                  <a:cubicBezTo>
                    <a:pt x="729" y="191"/>
                    <a:pt x="729" y="191"/>
                    <a:pt x="729" y="191"/>
                  </a:cubicBezTo>
                  <a:cubicBezTo>
                    <a:pt x="729" y="190"/>
                    <a:pt x="729" y="190"/>
                    <a:pt x="729" y="190"/>
                  </a:cubicBezTo>
                  <a:cubicBezTo>
                    <a:pt x="726" y="188"/>
                    <a:pt x="726" y="188"/>
                    <a:pt x="726" y="188"/>
                  </a:cubicBezTo>
                  <a:cubicBezTo>
                    <a:pt x="724" y="187"/>
                    <a:pt x="724" y="187"/>
                    <a:pt x="724" y="187"/>
                  </a:cubicBezTo>
                  <a:cubicBezTo>
                    <a:pt x="722" y="186"/>
                    <a:pt x="722" y="186"/>
                    <a:pt x="722" y="186"/>
                  </a:cubicBezTo>
                  <a:cubicBezTo>
                    <a:pt x="720" y="185"/>
                    <a:pt x="720" y="185"/>
                    <a:pt x="720" y="185"/>
                  </a:cubicBezTo>
                  <a:cubicBezTo>
                    <a:pt x="720" y="184"/>
                    <a:pt x="719" y="184"/>
                    <a:pt x="718" y="184"/>
                  </a:cubicBezTo>
                  <a:cubicBezTo>
                    <a:pt x="718" y="184"/>
                    <a:pt x="717" y="183"/>
                    <a:pt x="716" y="183"/>
                  </a:cubicBezTo>
                  <a:cubicBezTo>
                    <a:pt x="716" y="184"/>
                    <a:pt x="714" y="184"/>
                    <a:pt x="713" y="184"/>
                  </a:cubicBezTo>
                  <a:cubicBezTo>
                    <a:pt x="712" y="183"/>
                    <a:pt x="711" y="184"/>
                    <a:pt x="711" y="184"/>
                  </a:cubicBezTo>
                  <a:cubicBezTo>
                    <a:pt x="711" y="184"/>
                    <a:pt x="710" y="183"/>
                    <a:pt x="709" y="183"/>
                  </a:cubicBezTo>
                  <a:cubicBezTo>
                    <a:pt x="709" y="183"/>
                    <a:pt x="707" y="182"/>
                    <a:pt x="706" y="182"/>
                  </a:cubicBezTo>
                  <a:cubicBezTo>
                    <a:pt x="705" y="181"/>
                    <a:pt x="704" y="181"/>
                    <a:pt x="703" y="181"/>
                  </a:cubicBezTo>
                  <a:cubicBezTo>
                    <a:pt x="701" y="181"/>
                    <a:pt x="701" y="181"/>
                    <a:pt x="701" y="181"/>
                  </a:cubicBezTo>
                  <a:cubicBezTo>
                    <a:pt x="701" y="181"/>
                    <a:pt x="699" y="182"/>
                    <a:pt x="699" y="182"/>
                  </a:cubicBezTo>
                  <a:cubicBezTo>
                    <a:pt x="698" y="182"/>
                    <a:pt x="697" y="183"/>
                    <a:pt x="696" y="184"/>
                  </a:cubicBezTo>
                  <a:cubicBezTo>
                    <a:pt x="696" y="184"/>
                    <a:pt x="695" y="185"/>
                    <a:pt x="694" y="186"/>
                  </a:cubicBezTo>
                  <a:cubicBezTo>
                    <a:pt x="693" y="188"/>
                    <a:pt x="691" y="190"/>
                    <a:pt x="691" y="190"/>
                  </a:cubicBezTo>
                  <a:cubicBezTo>
                    <a:pt x="691" y="190"/>
                    <a:pt x="690" y="189"/>
                    <a:pt x="689" y="189"/>
                  </a:cubicBezTo>
                  <a:cubicBezTo>
                    <a:pt x="689" y="188"/>
                    <a:pt x="689" y="188"/>
                    <a:pt x="689" y="187"/>
                  </a:cubicBezTo>
                  <a:cubicBezTo>
                    <a:pt x="689" y="186"/>
                    <a:pt x="689" y="185"/>
                    <a:pt x="690" y="184"/>
                  </a:cubicBezTo>
                  <a:cubicBezTo>
                    <a:pt x="690" y="182"/>
                    <a:pt x="690" y="183"/>
                    <a:pt x="691" y="182"/>
                  </a:cubicBezTo>
                  <a:cubicBezTo>
                    <a:pt x="692" y="181"/>
                    <a:pt x="692" y="181"/>
                    <a:pt x="693" y="180"/>
                  </a:cubicBezTo>
                  <a:cubicBezTo>
                    <a:pt x="694" y="179"/>
                    <a:pt x="694" y="179"/>
                    <a:pt x="695" y="178"/>
                  </a:cubicBezTo>
                  <a:cubicBezTo>
                    <a:pt x="695" y="177"/>
                    <a:pt x="696" y="175"/>
                    <a:pt x="696" y="175"/>
                  </a:cubicBezTo>
                  <a:cubicBezTo>
                    <a:pt x="696" y="175"/>
                    <a:pt x="695" y="175"/>
                    <a:pt x="695" y="174"/>
                  </a:cubicBezTo>
                  <a:cubicBezTo>
                    <a:pt x="695" y="174"/>
                    <a:pt x="696" y="168"/>
                    <a:pt x="697" y="168"/>
                  </a:cubicBezTo>
                  <a:cubicBezTo>
                    <a:pt x="699" y="167"/>
                    <a:pt x="699" y="167"/>
                    <a:pt x="699" y="166"/>
                  </a:cubicBezTo>
                  <a:cubicBezTo>
                    <a:pt x="700" y="165"/>
                    <a:pt x="700" y="165"/>
                    <a:pt x="700" y="164"/>
                  </a:cubicBezTo>
                  <a:cubicBezTo>
                    <a:pt x="700" y="163"/>
                    <a:pt x="699" y="162"/>
                    <a:pt x="699" y="162"/>
                  </a:cubicBezTo>
                  <a:cubicBezTo>
                    <a:pt x="698" y="162"/>
                    <a:pt x="698" y="160"/>
                    <a:pt x="699" y="159"/>
                  </a:cubicBezTo>
                  <a:cubicBezTo>
                    <a:pt x="700" y="157"/>
                    <a:pt x="700" y="158"/>
                    <a:pt x="702" y="157"/>
                  </a:cubicBezTo>
                  <a:cubicBezTo>
                    <a:pt x="703" y="155"/>
                    <a:pt x="703" y="156"/>
                    <a:pt x="704" y="155"/>
                  </a:cubicBezTo>
                  <a:cubicBezTo>
                    <a:pt x="705" y="155"/>
                    <a:pt x="705" y="155"/>
                    <a:pt x="706" y="155"/>
                  </a:cubicBezTo>
                  <a:cubicBezTo>
                    <a:pt x="706" y="155"/>
                    <a:pt x="710" y="155"/>
                    <a:pt x="710" y="155"/>
                  </a:cubicBezTo>
                  <a:cubicBezTo>
                    <a:pt x="711" y="155"/>
                    <a:pt x="712" y="154"/>
                    <a:pt x="713" y="154"/>
                  </a:cubicBezTo>
                  <a:cubicBezTo>
                    <a:pt x="714" y="153"/>
                    <a:pt x="715" y="152"/>
                    <a:pt x="715" y="152"/>
                  </a:cubicBezTo>
                  <a:cubicBezTo>
                    <a:pt x="716" y="152"/>
                    <a:pt x="713" y="151"/>
                    <a:pt x="714" y="150"/>
                  </a:cubicBezTo>
                  <a:cubicBezTo>
                    <a:pt x="716" y="149"/>
                    <a:pt x="716" y="149"/>
                    <a:pt x="717" y="148"/>
                  </a:cubicBezTo>
                  <a:cubicBezTo>
                    <a:pt x="719" y="147"/>
                    <a:pt x="719" y="146"/>
                    <a:pt x="721" y="145"/>
                  </a:cubicBezTo>
                  <a:cubicBezTo>
                    <a:pt x="722" y="145"/>
                    <a:pt x="724" y="144"/>
                    <a:pt x="724" y="144"/>
                  </a:cubicBezTo>
                  <a:cubicBezTo>
                    <a:pt x="725" y="144"/>
                    <a:pt x="726" y="143"/>
                    <a:pt x="726" y="143"/>
                  </a:cubicBezTo>
                  <a:cubicBezTo>
                    <a:pt x="727" y="142"/>
                    <a:pt x="726" y="141"/>
                    <a:pt x="726" y="141"/>
                  </a:cubicBezTo>
                  <a:cubicBezTo>
                    <a:pt x="720" y="140"/>
                    <a:pt x="720" y="140"/>
                    <a:pt x="720" y="140"/>
                  </a:cubicBezTo>
                  <a:cubicBezTo>
                    <a:pt x="721" y="139"/>
                    <a:pt x="721" y="139"/>
                    <a:pt x="721" y="139"/>
                  </a:cubicBezTo>
                  <a:cubicBezTo>
                    <a:pt x="721" y="139"/>
                    <a:pt x="719" y="138"/>
                    <a:pt x="720" y="137"/>
                  </a:cubicBezTo>
                  <a:cubicBezTo>
                    <a:pt x="720" y="137"/>
                    <a:pt x="719" y="136"/>
                    <a:pt x="719" y="133"/>
                  </a:cubicBezTo>
                  <a:cubicBezTo>
                    <a:pt x="718" y="131"/>
                    <a:pt x="719" y="133"/>
                    <a:pt x="720" y="131"/>
                  </a:cubicBezTo>
                  <a:cubicBezTo>
                    <a:pt x="720" y="129"/>
                    <a:pt x="721" y="130"/>
                    <a:pt x="722" y="129"/>
                  </a:cubicBezTo>
                  <a:cubicBezTo>
                    <a:pt x="723" y="127"/>
                    <a:pt x="724" y="128"/>
                    <a:pt x="725" y="127"/>
                  </a:cubicBezTo>
                  <a:cubicBezTo>
                    <a:pt x="726" y="127"/>
                    <a:pt x="727" y="129"/>
                    <a:pt x="727" y="128"/>
                  </a:cubicBezTo>
                  <a:cubicBezTo>
                    <a:pt x="728" y="128"/>
                    <a:pt x="729" y="129"/>
                    <a:pt x="730" y="129"/>
                  </a:cubicBezTo>
                  <a:cubicBezTo>
                    <a:pt x="730" y="129"/>
                    <a:pt x="732" y="129"/>
                    <a:pt x="734" y="129"/>
                  </a:cubicBezTo>
                  <a:cubicBezTo>
                    <a:pt x="736" y="128"/>
                    <a:pt x="736" y="129"/>
                    <a:pt x="737" y="129"/>
                  </a:cubicBezTo>
                  <a:cubicBezTo>
                    <a:pt x="738" y="128"/>
                    <a:pt x="738" y="128"/>
                    <a:pt x="739" y="126"/>
                  </a:cubicBezTo>
                  <a:cubicBezTo>
                    <a:pt x="740" y="124"/>
                    <a:pt x="741" y="125"/>
                    <a:pt x="742" y="124"/>
                  </a:cubicBezTo>
                  <a:cubicBezTo>
                    <a:pt x="744" y="123"/>
                    <a:pt x="745" y="123"/>
                    <a:pt x="746" y="122"/>
                  </a:cubicBezTo>
                  <a:cubicBezTo>
                    <a:pt x="747" y="120"/>
                    <a:pt x="747" y="119"/>
                    <a:pt x="747" y="118"/>
                  </a:cubicBezTo>
                  <a:cubicBezTo>
                    <a:pt x="748" y="118"/>
                    <a:pt x="746" y="118"/>
                    <a:pt x="746" y="117"/>
                  </a:cubicBezTo>
                  <a:cubicBezTo>
                    <a:pt x="746" y="116"/>
                    <a:pt x="745" y="117"/>
                    <a:pt x="745" y="117"/>
                  </a:cubicBezTo>
                  <a:cubicBezTo>
                    <a:pt x="745" y="116"/>
                    <a:pt x="743" y="117"/>
                    <a:pt x="743" y="116"/>
                  </a:cubicBezTo>
                  <a:cubicBezTo>
                    <a:pt x="742" y="115"/>
                    <a:pt x="741" y="116"/>
                    <a:pt x="741" y="116"/>
                  </a:cubicBezTo>
                  <a:cubicBezTo>
                    <a:pt x="741" y="116"/>
                    <a:pt x="740" y="116"/>
                    <a:pt x="740" y="116"/>
                  </a:cubicBezTo>
                  <a:cubicBezTo>
                    <a:pt x="740" y="116"/>
                    <a:pt x="738" y="116"/>
                    <a:pt x="737" y="116"/>
                  </a:cubicBezTo>
                  <a:cubicBezTo>
                    <a:pt x="735" y="116"/>
                    <a:pt x="734" y="116"/>
                    <a:pt x="734" y="116"/>
                  </a:cubicBezTo>
                  <a:cubicBezTo>
                    <a:pt x="733" y="116"/>
                    <a:pt x="733" y="116"/>
                    <a:pt x="733" y="116"/>
                  </a:cubicBezTo>
                  <a:cubicBezTo>
                    <a:pt x="733" y="116"/>
                    <a:pt x="731" y="116"/>
                    <a:pt x="730" y="116"/>
                  </a:cubicBezTo>
                  <a:cubicBezTo>
                    <a:pt x="730" y="116"/>
                    <a:pt x="729" y="116"/>
                    <a:pt x="727" y="116"/>
                  </a:cubicBezTo>
                  <a:cubicBezTo>
                    <a:pt x="726" y="116"/>
                    <a:pt x="726" y="117"/>
                    <a:pt x="725" y="117"/>
                  </a:cubicBezTo>
                  <a:cubicBezTo>
                    <a:pt x="725" y="116"/>
                    <a:pt x="725" y="116"/>
                    <a:pt x="724" y="116"/>
                  </a:cubicBezTo>
                  <a:cubicBezTo>
                    <a:pt x="724" y="115"/>
                    <a:pt x="724" y="115"/>
                    <a:pt x="723" y="114"/>
                  </a:cubicBezTo>
                  <a:cubicBezTo>
                    <a:pt x="723" y="114"/>
                    <a:pt x="721" y="114"/>
                    <a:pt x="720" y="113"/>
                  </a:cubicBezTo>
                  <a:cubicBezTo>
                    <a:pt x="719" y="113"/>
                    <a:pt x="719" y="114"/>
                    <a:pt x="717" y="115"/>
                  </a:cubicBezTo>
                  <a:cubicBezTo>
                    <a:pt x="715" y="115"/>
                    <a:pt x="716" y="115"/>
                    <a:pt x="715" y="115"/>
                  </a:cubicBezTo>
                  <a:cubicBezTo>
                    <a:pt x="714" y="116"/>
                    <a:pt x="714" y="117"/>
                    <a:pt x="714" y="117"/>
                  </a:cubicBezTo>
                  <a:cubicBezTo>
                    <a:pt x="714" y="117"/>
                    <a:pt x="714" y="118"/>
                    <a:pt x="714" y="119"/>
                  </a:cubicBezTo>
                  <a:cubicBezTo>
                    <a:pt x="714" y="119"/>
                    <a:pt x="713" y="121"/>
                    <a:pt x="713" y="121"/>
                  </a:cubicBezTo>
                  <a:cubicBezTo>
                    <a:pt x="713" y="121"/>
                    <a:pt x="712" y="123"/>
                    <a:pt x="711" y="124"/>
                  </a:cubicBezTo>
                  <a:cubicBezTo>
                    <a:pt x="710" y="124"/>
                    <a:pt x="711" y="124"/>
                    <a:pt x="710" y="125"/>
                  </a:cubicBezTo>
                  <a:cubicBezTo>
                    <a:pt x="710" y="125"/>
                    <a:pt x="709" y="125"/>
                    <a:pt x="708" y="125"/>
                  </a:cubicBezTo>
                  <a:cubicBezTo>
                    <a:pt x="707" y="125"/>
                    <a:pt x="708" y="125"/>
                    <a:pt x="708" y="125"/>
                  </a:cubicBezTo>
                  <a:cubicBezTo>
                    <a:pt x="707" y="125"/>
                    <a:pt x="706" y="124"/>
                    <a:pt x="706" y="123"/>
                  </a:cubicBezTo>
                  <a:cubicBezTo>
                    <a:pt x="706" y="121"/>
                    <a:pt x="706" y="121"/>
                    <a:pt x="706" y="120"/>
                  </a:cubicBezTo>
                  <a:cubicBezTo>
                    <a:pt x="706" y="120"/>
                    <a:pt x="709" y="118"/>
                    <a:pt x="709" y="118"/>
                  </a:cubicBezTo>
                  <a:cubicBezTo>
                    <a:pt x="710" y="117"/>
                    <a:pt x="710" y="117"/>
                    <a:pt x="710" y="117"/>
                  </a:cubicBezTo>
                  <a:cubicBezTo>
                    <a:pt x="710" y="117"/>
                    <a:pt x="715" y="113"/>
                    <a:pt x="716" y="113"/>
                  </a:cubicBezTo>
                  <a:cubicBezTo>
                    <a:pt x="716" y="113"/>
                    <a:pt x="716" y="114"/>
                    <a:pt x="717" y="113"/>
                  </a:cubicBezTo>
                  <a:cubicBezTo>
                    <a:pt x="717" y="113"/>
                    <a:pt x="718" y="113"/>
                    <a:pt x="719" y="113"/>
                  </a:cubicBezTo>
                  <a:cubicBezTo>
                    <a:pt x="720" y="112"/>
                    <a:pt x="722" y="113"/>
                    <a:pt x="722" y="113"/>
                  </a:cubicBezTo>
                  <a:cubicBezTo>
                    <a:pt x="723" y="113"/>
                    <a:pt x="724" y="114"/>
                    <a:pt x="724" y="113"/>
                  </a:cubicBezTo>
                  <a:cubicBezTo>
                    <a:pt x="724" y="113"/>
                    <a:pt x="726" y="113"/>
                    <a:pt x="727" y="113"/>
                  </a:cubicBezTo>
                  <a:cubicBezTo>
                    <a:pt x="728" y="113"/>
                    <a:pt x="728" y="113"/>
                    <a:pt x="729" y="113"/>
                  </a:cubicBezTo>
                  <a:cubicBezTo>
                    <a:pt x="730" y="113"/>
                    <a:pt x="733" y="113"/>
                    <a:pt x="734" y="113"/>
                  </a:cubicBezTo>
                  <a:cubicBezTo>
                    <a:pt x="734" y="113"/>
                    <a:pt x="736" y="114"/>
                    <a:pt x="738" y="114"/>
                  </a:cubicBezTo>
                  <a:cubicBezTo>
                    <a:pt x="739" y="114"/>
                    <a:pt x="740" y="114"/>
                    <a:pt x="740" y="114"/>
                  </a:cubicBezTo>
                  <a:cubicBezTo>
                    <a:pt x="743" y="114"/>
                    <a:pt x="743" y="114"/>
                    <a:pt x="743" y="114"/>
                  </a:cubicBezTo>
                  <a:cubicBezTo>
                    <a:pt x="743" y="114"/>
                    <a:pt x="746" y="114"/>
                    <a:pt x="747" y="114"/>
                  </a:cubicBezTo>
                  <a:cubicBezTo>
                    <a:pt x="748" y="114"/>
                    <a:pt x="756" y="111"/>
                    <a:pt x="757" y="111"/>
                  </a:cubicBezTo>
                  <a:cubicBezTo>
                    <a:pt x="757" y="111"/>
                    <a:pt x="758" y="110"/>
                    <a:pt x="759" y="109"/>
                  </a:cubicBezTo>
                  <a:cubicBezTo>
                    <a:pt x="761" y="108"/>
                    <a:pt x="761" y="108"/>
                    <a:pt x="763" y="107"/>
                  </a:cubicBezTo>
                  <a:cubicBezTo>
                    <a:pt x="764" y="106"/>
                    <a:pt x="764" y="106"/>
                    <a:pt x="766" y="103"/>
                  </a:cubicBezTo>
                  <a:cubicBezTo>
                    <a:pt x="767" y="101"/>
                    <a:pt x="765" y="102"/>
                    <a:pt x="764" y="101"/>
                  </a:cubicBezTo>
                  <a:cubicBezTo>
                    <a:pt x="762" y="101"/>
                    <a:pt x="763" y="102"/>
                    <a:pt x="762" y="102"/>
                  </a:cubicBezTo>
                  <a:cubicBezTo>
                    <a:pt x="762" y="102"/>
                    <a:pt x="756" y="102"/>
                    <a:pt x="756" y="102"/>
                  </a:cubicBezTo>
                  <a:cubicBezTo>
                    <a:pt x="755" y="101"/>
                    <a:pt x="755" y="101"/>
                    <a:pt x="755" y="101"/>
                  </a:cubicBezTo>
                  <a:cubicBezTo>
                    <a:pt x="755" y="101"/>
                    <a:pt x="753" y="100"/>
                    <a:pt x="752" y="100"/>
                  </a:cubicBezTo>
                  <a:cubicBezTo>
                    <a:pt x="752" y="100"/>
                    <a:pt x="749" y="100"/>
                    <a:pt x="748" y="100"/>
                  </a:cubicBezTo>
                  <a:cubicBezTo>
                    <a:pt x="746" y="99"/>
                    <a:pt x="746" y="100"/>
                    <a:pt x="746" y="100"/>
                  </a:cubicBezTo>
                  <a:cubicBezTo>
                    <a:pt x="744" y="101"/>
                    <a:pt x="744" y="101"/>
                    <a:pt x="744" y="101"/>
                  </a:cubicBezTo>
                  <a:cubicBezTo>
                    <a:pt x="742" y="102"/>
                    <a:pt x="742" y="102"/>
                    <a:pt x="742" y="102"/>
                  </a:cubicBezTo>
                  <a:cubicBezTo>
                    <a:pt x="742" y="102"/>
                    <a:pt x="738" y="102"/>
                    <a:pt x="737" y="102"/>
                  </a:cubicBezTo>
                  <a:cubicBezTo>
                    <a:pt x="737" y="102"/>
                    <a:pt x="736" y="101"/>
                    <a:pt x="736" y="101"/>
                  </a:cubicBezTo>
                  <a:cubicBezTo>
                    <a:pt x="737" y="100"/>
                    <a:pt x="737" y="100"/>
                    <a:pt x="737" y="100"/>
                  </a:cubicBezTo>
                  <a:cubicBezTo>
                    <a:pt x="741" y="98"/>
                    <a:pt x="741" y="98"/>
                    <a:pt x="741" y="98"/>
                  </a:cubicBezTo>
                  <a:cubicBezTo>
                    <a:pt x="741" y="98"/>
                    <a:pt x="743" y="97"/>
                    <a:pt x="744" y="97"/>
                  </a:cubicBezTo>
                  <a:cubicBezTo>
                    <a:pt x="745" y="97"/>
                    <a:pt x="745" y="98"/>
                    <a:pt x="745" y="98"/>
                  </a:cubicBezTo>
                  <a:cubicBezTo>
                    <a:pt x="746" y="98"/>
                    <a:pt x="747" y="98"/>
                    <a:pt x="747" y="98"/>
                  </a:cubicBezTo>
                  <a:cubicBezTo>
                    <a:pt x="748" y="99"/>
                    <a:pt x="751" y="97"/>
                    <a:pt x="751" y="97"/>
                  </a:cubicBezTo>
                  <a:cubicBezTo>
                    <a:pt x="761" y="98"/>
                    <a:pt x="761" y="98"/>
                    <a:pt x="761" y="98"/>
                  </a:cubicBezTo>
                  <a:cubicBezTo>
                    <a:pt x="761" y="98"/>
                    <a:pt x="759" y="99"/>
                    <a:pt x="760" y="98"/>
                  </a:cubicBezTo>
                  <a:cubicBezTo>
                    <a:pt x="762" y="98"/>
                    <a:pt x="761" y="98"/>
                    <a:pt x="763" y="98"/>
                  </a:cubicBezTo>
                  <a:cubicBezTo>
                    <a:pt x="764" y="98"/>
                    <a:pt x="766" y="98"/>
                    <a:pt x="767" y="98"/>
                  </a:cubicBezTo>
                  <a:cubicBezTo>
                    <a:pt x="768" y="98"/>
                    <a:pt x="768" y="97"/>
                    <a:pt x="769" y="96"/>
                  </a:cubicBezTo>
                  <a:cubicBezTo>
                    <a:pt x="770" y="95"/>
                    <a:pt x="772" y="95"/>
                    <a:pt x="772" y="95"/>
                  </a:cubicBezTo>
                  <a:cubicBezTo>
                    <a:pt x="775" y="95"/>
                    <a:pt x="775" y="95"/>
                    <a:pt x="775" y="95"/>
                  </a:cubicBezTo>
                  <a:cubicBezTo>
                    <a:pt x="778" y="95"/>
                    <a:pt x="778" y="95"/>
                    <a:pt x="778" y="95"/>
                  </a:cubicBezTo>
                  <a:cubicBezTo>
                    <a:pt x="778" y="95"/>
                    <a:pt x="782" y="94"/>
                    <a:pt x="782" y="94"/>
                  </a:cubicBezTo>
                  <a:cubicBezTo>
                    <a:pt x="783" y="94"/>
                    <a:pt x="786" y="93"/>
                    <a:pt x="787" y="92"/>
                  </a:cubicBezTo>
                  <a:cubicBezTo>
                    <a:pt x="787" y="91"/>
                    <a:pt x="786" y="90"/>
                    <a:pt x="786" y="89"/>
                  </a:cubicBezTo>
                  <a:cubicBezTo>
                    <a:pt x="786" y="88"/>
                    <a:pt x="785" y="88"/>
                    <a:pt x="785" y="87"/>
                  </a:cubicBezTo>
                  <a:cubicBezTo>
                    <a:pt x="785" y="86"/>
                    <a:pt x="785" y="86"/>
                    <a:pt x="786" y="85"/>
                  </a:cubicBezTo>
                  <a:cubicBezTo>
                    <a:pt x="786" y="85"/>
                    <a:pt x="787" y="85"/>
                    <a:pt x="787" y="85"/>
                  </a:cubicBezTo>
                  <a:cubicBezTo>
                    <a:pt x="788" y="85"/>
                    <a:pt x="789" y="85"/>
                    <a:pt x="790" y="85"/>
                  </a:cubicBezTo>
                  <a:cubicBezTo>
                    <a:pt x="791" y="85"/>
                    <a:pt x="793" y="85"/>
                    <a:pt x="794" y="85"/>
                  </a:cubicBezTo>
                  <a:cubicBezTo>
                    <a:pt x="794" y="85"/>
                    <a:pt x="796" y="85"/>
                    <a:pt x="796" y="85"/>
                  </a:cubicBezTo>
                  <a:cubicBezTo>
                    <a:pt x="797" y="85"/>
                    <a:pt x="798" y="85"/>
                    <a:pt x="798" y="84"/>
                  </a:cubicBezTo>
                  <a:cubicBezTo>
                    <a:pt x="799" y="83"/>
                    <a:pt x="804" y="82"/>
                    <a:pt x="804" y="82"/>
                  </a:cubicBezTo>
                  <a:cubicBezTo>
                    <a:pt x="805" y="82"/>
                    <a:pt x="807" y="80"/>
                    <a:pt x="808" y="80"/>
                  </a:cubicBezTo>
                  <a:cubicBezTo>
                    <a:pt x="808" y="80"/>
                    <a:pt x="817" y="72"/>
                    <a:pt x="818" y="71"/>
                  </a:cubicBezTo>
                  <a:cubicBezTo>
                    <a:pt x="820" y="69"/>
                    <a:pt x="819" y="69"/>
                    <a:pt x="820" y="69"/>
                  </a:cubicBezTo>
                  <a:cubicBezTo>
                    <a:pt x="820" y="69"/>
                    <a:pt x="818" y="68"/>
                    <a:pt x="817" y="67"/>
                  </a:cubicBezTo>
                  <a:cubicBezTo>
                    <a:pt x="815" y="66"/>
                    <a:pt x="815" y="66"/>
                    <a:pt x="814" y="65"/>
                  </a:cubicBezTo>
                  <a:cubicBezTo>
                    <a:pt x="814" y="65"/>
                    <a:pt x="812" y="63"/>
                    <a:pt x="811" y="62"/>
                  </a:cubicBezTo>
                  <a:cubicBezTo>
                    <a:pt x="809" y="62"/>
                    <a:pt x="808" y="62"/>
                    <a:pt x="806" y="62"/>
                  </a:cubicBezTo>
                  <a:cubicBezTo>
                    <a:pt x="805" y="63"/>
                    <a:pt x="803" y="62"/>
                    <a:pt x="803" y="62"/>
                  </a:cubicBezTo>
                  <a:cubicBezTo>
                    <a:pt x="802" y="62"/>
                    <a:pt x="800" y="61"/>
                    <a:pt x="799" y="61"/>
                  </a:cubicBezTo>
                  <a:cubicBezTo>
                    <a:pt x="799" y="61"/>
                    <a:pt x="790" y="59"/>
                    <a:pt x="787" y="58"/>
                  </a:cubicBezTo>
                  <a:cubicBezTo>
                    <a:pt x="784" y="56"/>
                    <a:pt x="785" y="57"/>
                    <a:pt x="784" y="57"/>
                  </a:cubicBezTo>
                  <a:cubicBezTo>
                    <a:pt x="783" y="56"/>
                    <a:pt x="781" y="57"/>
                    <a:pt x="780" y="57"/>
                  </a:cubicBezTo>
                  <a:cubicBezTo>
                    <a:pt x="780" y="58"/>
                    <a:pt x="777" y="58"/>
                    <a:pt x="777" y="58"/>
                  </a:cubicBezTo>
                  <a:cubicBezTo>
                    <a:pt x="776" y="58"/>
                    <a:pt x="767" y="57"/>
                    <a:pt x="766" y="57"/>
                  </a:cubicBezTo>
                  <a:cubicBezTo>
                    <a:pt x="765" y="58"/>
                    <a:pt x="763" y="57"/>
                    <a:pt x="762" y="57"/>
                  </a:cubicBezTo>
                  <a:cubicBezTo>
                    <a:pt x="761" y="57"/>
                    <a:pt x="760" y="58"/>
                    <a:pt x="760" y="59"/>
                  </a:cubicBezTo>
                  <a:cubicBezTo>
                    <a:pt x="759" y="59"/>
                    <a:pt x="757" y="60"/>
                    <a:pt x="757" y="60"/>
                  </a:cubicBezTo>
                  <a:cubicBezTo>
                    <a:pt x="756" y="60"/>
                    <a:pt x="749" y="63"/>
                    <a:pt x="748" y="64"/>
                  </a:cubicBezTo>
                  <a:cubicBezTo>
                    <a:pt x="747" y="65"/>
                    <a:pt x="746" y="66"/>
                    <a:pt x="746" y="67"/>
                  </a:cubicBezTo>
                  <a:cubicBezTo>
                    <a:pt x="745" y="67"/>
                    <a:pt x="744" y="69"/>
                    <a:pt x="743" y="69"/>
                  </a:cubicBezTo>
                  <a:cubicBezTo>
                    <a:pt x="743" y="69"/>
                    <a:pt x="741" y="71"/>
                    <a:pt x="741" y="72"/>
                  </a:cubicBezTo>
                  <a:cubicBezTo>
                    <a:pt x="741" y="73"/>
                    <a:pt x="739" y="74"/>
                    <a:pt x="739" y="74"/>
                  </a:cubicBezTo>
                  <a:cubicBezTo>
                    <a:pt x="739" y="74"/>
                    <a:pt x="736" y="73"/>
                    <a:pt x="736" y="73"/>
                  </a:cubicBezTo>
                  <a:cubicBezTo>
                    <a:pt x="735" y="73"/>
                    <a:pt x="734" y="73"/>
                    <a:pt x="733" y="73"/>
                  </a:cubicBezTo>
                  <a:cubicBezTo>
                    <a:pt x="733" y="73"/>
                    <a:pt x="731" y="72"/>
                    <a:pt x="731" y="72"/>
                  </a:cubicBezTo>
                  <a:cubicBezTo>
                    <a:pt x="731" y="72"/>
                    <a:pt x="730" y="71"/>
                    <a:pt x="729" y="71"/>
                  </a:cubicBezTo>
                  <a:cubicBezTo>
                    <a:pt x="729" y="71"/>
                    <a:pt x="722" y="71"/>
                    <a:pt x="720" y="71"/>
                  </a:cubicBezTo>
                  <a:cubicBezTo>
                    <a:pt x="719" y="71"/>
                    <a:pt x="718" y="71"/>
                    <a:pt x="718" y="71"/>
                  </a:cubicBezTo>
                  <a:cubicBezTo>
                    <a:pt x="718" y="71"/>
                    <a:pt x="717" y="72"/>
                    <a:pt x="717" y="72"/>
                  </a:cubicBezTo>
                  <a:cubicBezTo>
                    <a:pt x="716" y="72"/>
                    <a:pt x="715" y="73"/>
                    <a:pt x="714" y="74"/>
                  </a:cubicBezTo>
                  <a:cubicBezTo>
                    <a:pt x="712" y="75"/>
                    <a:pt x="712" y="75"/>
                    <a:pt x="712" y="75"/>
                  </a:cubicBezTo>
                  <a:cubicBezTo>
                    <a:pt x="711" y="74"/>
                    <a:pt x="711" y="73"/>
                    <a:pt x="712" y="73"/>
                  </a:cubicBezTo>
                  <a:cubicBezTo>
                    <a:pt x="712" y="72"/>
                    <a:pt x="713" y="71"/>
                    <a:pt x="713" y="70"/>
                  </a:cubicBezTo>
                  <a:cubicBezTo>
                    <a:pt x="714" y="69"/>
                    <a:pt x="713" y="68"/>
                    <a:pt x="713" y="68"/>
                  </a:cubicBezTo>
                  <a:cubicBezTo>
                    <a:pt x="713" y="67"/>
                    <a:pt x="712" y="68"/>
                    <a:pt x="710" y="68"/>
                  </a:cubicBezTo>
                  <a:cubicBezTo>
                    <a:pt x="709" y="68"/>
                    <a:pt x="708" y="68"/>
                    <a:pt x="707" y="68"/>
                  </a:cubicBezTo>
                  <a:cubicBezTo>
                    <a:pt x="706" y="68"/>
                    <a:pt x="706" y="69"/>
                    <a:pt x="706" y="69"/>
                  </a:cubicBezTo>
                  <a:cubicBezTo>
                    <a:pt x="705" y="69"/>
                    <a:pt x="704" y="69"/>
                    <a:pt x="703" y="70"/>
                  </a:cubicBezTo>
                  <a:cubicBezTo>
                    <a:pt x="702" y="71"/>
                    <a:pt x="702" y="71"/>
                    <a:pt x="702" y="72"/>
                  </a:cubicBezTo>
                  <a:cubicBezTo>
                    <a:pt x="701" y="72"/>
                    <a:pt x="700" y="73"/>
                    <a:pt x="700" y="73"/>
                  </a:cubicBezTo>
                  <a:cubicBezTo>
                    <a:pt x="690" y="79"/>
                    <a:pt x="690" y="79"/>
                    <a:pt x="690" y="79"/>
                  </a:cubicBezTo>
                  <a:cubicBezTo>
                    <a:pt x="690" y="79"/>
                    <a:pt x="688" y="80"/>
                    <a:pt x="687" y="81"/>
                  </a:cubicBezTo>
                  <a:cubicBezTo>
                    <a:pt x="686" y="81"/>
                    <a:pt x="685" y="82"/>
                    <a:pt x="685" y="82"/>
                  </a:cubicBezTo>
                  <a:cubicBezTo>
                    <a:pt x="685" y="82"/>
                    <a:pt x="683" y="83"/>
                    <a:pt x="683" y="83"/>
                  </a:cubicBezTo>
                  <a:cubicBezTo>
                    <a:pt x="682" y="83"/>
                    <a:pt x="679" y="85"/>
                    <a:pt x="679" y="86"/>
                  </a:cubicBezTo>
                  <a:cubicBezTo>
                    <a:pt x="679" y="86"/>
                    <a:pt x="675" y="87"/>
                    <a:pt x="675" y="88"/>
                  </a:cubicBezTo>
                  <a:cubicBezTo>
                    <a:pt x="675" y="88"/>
                    <a:pt x="669" y="91"/>
                    <a:pt x="667" y="92"/>
                  </a:cubicBezTo>
                  <a:cubicBezTo>
                    <a:pt x="665" y="93"/>
                    <a:pt x="666" y="93"/>
                    <a:pt x="666" y="94"/>
                  </a:cubicBezTo>
                  <a:cubicBezTo>
                    <a:pt x="665" y="94"/>
                    <a:pt x="665" y="95"/>
                    <a:pt x="664" y="95"/>
                  </a:cubicBezTo>
                  <a:cubicBezTo>
                    <a:pt x="663" y="98"/>
                    <a:pt x="663" y="98"/>
                    <a:pt x="663" y="98"/>
                  </a:cubicBezTo>
                  <a:cubicBezTo>
                    <a:pt x="659" y="99"/>
                    <a:pt x="659" y="99"/>
                    <a:pt x="659" y="99"/>
                  </a:cubicBezTo>
                  <a:cubicBezTo>
                    <a:pt x="659" y="99"/>
                    <a:pt x="660" y="98"/>
                    <a:pt x="661" y="97"/>
                  </a:cubicBezTo>
                  <a:cubicBezTo>
                    <a:pt x="662" y="97"/>
                    <a:pt x="661" y="96"/>
                    <a:pt x="661" y="96"/>
                  </a:cubicBezTo>
                  <a:cubicBezTo>
                    <a:pt x="662" y="95"/>
                    <a:pt x="662" y="94"/>
                    <a:pt x="662" y="94"/>
                  </a:cubicBezTo>
                  <a:cubicBezTo>
                    <a:pt x="662" y="94"/>
                    <a:pt x="662" y="93"/>
                    <a:pt x="663" y="92"/>
                  </a:cubicBezTo>
                  <a:cubicBezTo>
                    <a:pt x="663" y="92"/>
                    <a:pt x="666" y="90"/>
                    <a:pt x="668" y="88"/>
                  </a:cubicBezTo>
                  <a:cubicBezTo>
                    <a:pt x="671" y="85"/>
                    <a:pt x="669" y="87"/>
                    <a:pt x="670" y="87"/>
                  </a:cubicBezTo>
                  <a:cubicBezTo>
                    <a:pt x="673" y="84"/>
                    <a:pt x="673" y="84"/>
                    <a:pt x="673" y="84"/>
                  </a:cubicBezTo>
                  <a:cubicBezTo>
                    <a:pt x="673" y="84"/>
                    <a:pt x="673" y="84"/>
                    <a:pt x="673" y="84"/>
                  </a:cubicBezTo>
                  <a:cubicBezTo>
                    <a:pt x="673" y="84"/>
                    <a:pt x="675" y="83"/>
                    <a:pt x="676" y="82"/>
                  </a:cubicBezTo>
                  <a:cubicBezTo>
                    <a:pt x="677" y="81"/>
                    <a:pt x="677" y="81"/>
                    <a:pt x="678" y="80"/>
                  </a:cubicBezTo>
                  <a:cubicBezTo>
                    <a:pt x="678" y="79"/>
                    <a:pt x="686" y="71"/>
                    <a:pt x="688" y="66"/>
                  </a:cubicBezTo>
                  <a:cubicBezTo>
                    <a:pt x="690" y="61"/>
                    <a:pt x="688" y="63"/>
                    <a:pt x="688" y="62"/>
                  </a:cubicBezTo>
                  <a:cubicBezTo>
                    <a:pt x="688" y="61"/>
                    <a:pt x="688" y="60"/>
                    <a:pt x="687" y="59"/>
                  </a:cubicBezTo>
                  <a:cubicBezTo>
                    <a:pt x="687" y="57"/>
                    <a:pt x="686" y="56"/>
                    <a:pt x="686" y="55"/>
                  </a:cubicBezTo>
                  <a:cubicBezTo>
                    <a:pt x="685" y="53"/>
                    <a:pt x="684" y="54"/>
                    <a:pt x="681" y="54"/>
                  </a:cubicBezTo>
                  <a:cubicBezTo>
                    <a:pt x="678" y="53"/>
                    <a:pt x="679" y="54"/>
                    <a:pt x="678" y="54"/>
                  </a:cubicBezTo>
                  <a:cubicBezTo>
                    <a:pt x="676" y="54"/>
                    <a:pt x="675" y="54"/>
                    <a:pt x="674" y="55"/>
                  </a:cubicBezTo>
                  <a:cubicBezTo>
                    <a:pt x="672" y="55"/>
                    <a:pt x="671" y="55"/>
                    <a:pt x="671" y="55"/>
                  </a:cubicBezTo>
                  <a:cubicBezTo>
                    <a:pt x="671" y="55"/>
                    <a:pt x="666" y="56"/>
                    <a:pt x="665" y="56"/>
                  </a:cubicBezTo>
                  <a:cubicBezTo>
                    <a:pt x="664" y="56"/>
                    <a:pt x="662" y="57"/>
                    <a:pt x="660" y="57"/>
                  </a:cubicBezTo>
                  <a:cubicBezTo>
                    <a:pt x="659" y="57"/>
                    <a:pt x="658" y="58"/>
                    <a:pt x="658" y="58"/>
                  </a:cubicBezTo>
                  <a:cubicBezTo>
                    <a:pt x="657" y="59"/>
                    <a:pt x="657" y="61"/>
                    <a:pt x="657" y="61"/>
                  </a:cubicBezTo>
                  <a:cubicBezTo>
                    <a:pt x="657" y="61"/>
                    <a:pt x="657" y="64"/>
                    <a:pt x="657" y="64"/>
                  </a:cubicBezTo>
                  <a:cubicBezTo>
                    <a:pt x="656" y="65"/>
                    <a:pt x="656" y="65"/>
                    <a:pt x="656" y="65"/>
                  </a:cubicBezTo>
                  <a:cubicBezTo>
                    <a:pt x="656" y="65"/>
                    <a:pt x="653" y="66"/>
                    <a:pt x="651" y="66"/>
                  </a:cubicBezTo>
                  <a:cubicBezTo>
                    <a:pt x="649" y="66"/>
                    <a:pt x="650" y="66"/>
                    <a:pt x="650" y="66"/>
                  </a:cubicBezTo>
                  <a:cubicBezTo>
                    <a:pt x="649" y="66"/>
                    <a:pt x="648" y="67"/>
                    <a:pt x="648" y="67"/>
                  </a:cubicBezTo>
                  <a:cubicBezTo>
                    <a:pt x="647" y="67"/>
                    <a:pt x="645" y="68"/>
                    <a:pt x="645" y="68"/>
                  </a:cubicBezTo>
                  <a:cubicBezTo>
                    <a:pt x="645" y="68"/>
                    <a:pt x="643" y="68"/>
                    <a:pt x="643" y="67"/>
                  </a:cubicBezTo>
                  <a:cubicBezTo>
                    <a:pt x="642" y="67"/>
                    <a:pt x="639" y="68"/>
                    <a:pt x="639" y="68"/>
                  </a:cubicBezTo>
                  <a:cubicBezTo>
                    <a:pt x="634" y="70"/>
                    <a:pt x="634" y="70"/>
                    <a:pt x="634" y="70"/>
                  </a:cubicBezTo>
                  <a:cubicBezTo>
                    <a:pt x="634" y="70"/>
                    <a:pt x="632" y="71"/>
                    <a:pt x="632" y="71"/>
                  </a:cubicBezTo>
                  <a:cubicBezTo>
                    <a:pt x="631" y="71"/>
                    <a:pt x="629" y="72"/>
                    <a:pt x="629" y="72"/>
                  </a:cubicBezTo>
                  <a:cubicBezTo>
                    <a:pt x="629" y="72"/>
                    <a:pt x="628" y="73"/>
                    <a:pt x="626" y="74"/>
                  </a:cubicBezTo>
                  <a:cubicBezTo>
                    <a:pt x="624" y="74"/>
                    <a:pt x="624" y="74"/>
                    <a:pt x="621" y="75"/>
                  </a:cubicBezTo>
                  <a:cubicBezTo>
                    <a:pt x="617" y="76"/>
                    <a:pt x="620" y="76"/>
                    <a:pt x="618" y="75"/>
                  </a:cubicBezTo>
                  <a:cubicBezTo>
                    <a:pt x="617" y="75"/>
                    <a:pt x="616" y="76"/>
                    <a:pt x="616" y="76"/>
                  </a:cubicBezTo>
                  <a:cubicBezTo>
                    <a:pt x="616" y="76"/>
                    <a:pt x="614" y="76"/>
                    <a:pt x="615" y="74"/>
                  </a:cubicBezTo>
                  <a:cubicBezTo>
                    <a:pt x="617" y="71"/>
                    <a:pt x="617" y="73"/>
                    <a:pt x="618" y="73"/>
                  </a:cubicBezTo>
                  <a:cubicBezTo>
                    <a:pt x="619" y="72"/>
                    <a:pt x="621" y="72"/>
                    <a:pt x="622" y="72"/>
                  </a:cubicBezTo>
                  <a:cubicBezTo>
                    <a:pt x="623" y="71"/>
                    <a:pt x="627" y="70"/>
                    <a:pt x="629" y="69"/>
                  </a:cubicBezTo>
                  <a:cubicBezTo>
                    <a:pt x="630" y="69"/>
                    <a:pt x="632" y="69"/>
                    <a:pt x="634" y="68"/>
                  </a:cubicBezTo>
                  <a:cubicBezTo>
                    <a:pt x="635" y="66"/>
                    <a:pt x="636" y="66"/>
                    <a:pt x="638" y="66"/>
                  </a:cubicBezTo>
                  <a:cubicBezTo>
                    <a:pt x="639" y="65"/>
                    <a:pt x="640" y="64"/>
                    <a:pt x="641" y="64"/>
                  </a:cubicBezTo>
                  <a:cubicBezTo>
                    <a:pt x="642" y="63"/>
                    <a:pt x="643" y="62"/>
                    <a:pt x="643" y="62"/>
                  </a:cubicBezTo>
                  <a:cubicBezTo>
                    <a:pt x="644" y="61"/>
                    <a:pt x="643" y="59"/>
                    <a:pt x="643" y="59"/>
                  </a:cubicBezTo>
                  <a:cubicBezTo>
                    <a:pt x="643" y="58"/>
                    <a:pt x="642" y="57"/>
                    <a:pt x="640" y="56"/>
                  </a:cubicBezTo>
                  <a:cubicBezTo>
                    <a:pt x="639" y="54"/>
                    <a:pt x="639" y="55"/>
                    <a:pt x="639" y="55"/>
                  </a:cubicBezTo>
                  <a:cubicBezTo>
                    <a:pt x="639" y="55"/>
                    <a:pt x="637" y="55"/>
                    <a:pt x="634" y="54"/>
                  </a:cubicBezTo>
                  <a:cubicBezTo>
                    <a:pt x="631" y="54"/>
                    <a:pt x="631" y="55"/>
                    <a:pt x="628" y="55"/>
                  </a:cubicBezTo>
                  <a:cubicBezTo>
                    <a:pt x="626" y="55"/>
                    <a:pt x="627" y="56"/>
                    <a:pt x="626" y="55"/>
                  </a:cubicBezTo>
                  <a:cubicBezTo>
                    <a:pt x="625" y="55"/>
                    <a:pt x="623" y="56"/>
                    <a:pt x="622" y="56"/>
                  </a:cubicBezTo>
                  <a:cubicBezTo>
                    <a:pt x="621" y="56"/>
                    <a:pt x="617" y="57"/>
                    <a:pt x="617" y="57"/>
                  </a:cubicBezTo>
                  <a:cubicBezTo>
                    <a:pt x="616" y="57"/>
                    <a:pt x="608" y="56"/>
                    <a:pt x="607" y="56"/>
                  </a:cubicBezTo>
                  <a:cubicBezTo>
                    <a:pt x="605" y="55"/>
                    <a:pt x="603" y="56"/>
                    <a:pt x="602" y="55"/>
                  </a:cubicBezTo>
                  <a:cubicBezTo>
                    <a:pt x="600" y="55"/>
                    <a:pt x="596" y="56"/>
                    <a:pt x="595" y="55"/>
                  </a:cubicBezTo>
                  <a:cubicBezTo>
                    <a:pt x="594" y="55"/>
                    <a:pt x="593" y="56"/>
                    <a:pt x="592" y="55"/>
                  </a:cubicBezTo>
                  <a:cubicBezTo>
                    <a:pt x="591" y="54"/>
                    <a:pt x="590" y="56"/>
                    <a:pt x="590" y="56"/>
                  </a:cubicBezTo>
                  <a:cubicBezTo>
                    <a:pt x="589" y="56"/>
                    <a:pt x="587" y="58"/>
                    <a:pt x="586" y="58"/>
                  </a:cubicBezTo>
                  <a:cubicBezTo>
                    <a:pt x="585" y="58"/>
                    <a:pt x="585" y="59"/>
                    <a:pt x="585" y="59"/>
                  </a:cubicBezTo>
                  <a:cubicBezTo>
                    <a:pt x="585" y="59"/>
                    <a:pt x="583" y="57"/>
                    <a:pt x="582" y="57"/>
                  </a:cubicBezTo>
                  <a:cubicBezTo>
                    <a:pt x="581" y="57"/>
                    <a:pt x="581" y="58"/>
                    <a:pt x="580" y="58"/>
                  </a:cubicBezTo>
                  <a:cubicBezTo>
                    <a:pt x="580" y="58"/>
                    <a:pt x="573" y="59"/>
                    <a:pt x="572" y="59"/>
                  </a:cubicBezTo>
                  <a:cubicBezTo>
                    <a:pt x="571" y="59"/>
                    <a:pt x="570" y="60"/>
                    <a:pt x="570" y="60"/>
                  </a:cubicBezTo>
                  <a:cubicBezTo>
                    <a:pt x="569" y="60"/>
                    <a:pt x="567" y="61"/>
                    <a:pt x="565" y="61"/>
                  </a:cubicBezTo>
                  <a:cubicBezTo>
                    <a:pt x="563" y="61"/>
                    <a:pt x="562" y="62"/>
                    <a:pt x="561" y="61"/>
                  </a:cubicBezTo>
                  <a:cubicBezTo>
                    <a:pt x="560" y="60"/>
                    <a:pt x="559" y="61"/>
                    <a:pt x="558" y="61"/>
                  </a:cubicBezTo>
                  <a:cubicBezTo>
                    <a:pt x="557" y="61"/>
                    <a:pt x="555" y="62"/>
                    <a:pt x="554" y="62"/>
                  </a:cubicBezTo>
                  <a:cubicBezTo>
                    <a:pt x="554" y="62"/>
                    <a:pt x="552" y="62"/>
                    <a:pt x="552" y="62"/>
                  </a:cubicBezTo>
                  <a:cubicBezTo>
                    <a:pt x="551" y="62"/>
                    <a:pt x="550" y="64"/>
                    <a:pt x="550" y="64"/>
                  </a:cubicBezTo>
                  <a:cubicBezTo>
                    <a:pt x="550" y="64"/>
                    <a:pt x="549" y="64"/>
                    <a:pt x="548" y="64"/>
                  </a:cubicBezTo>
                  <a:cubicBezTo>
                    <a:pt x="547" y="64"/>
                    <a:pt x="543" y="65"/>
                    <a:pt x="543" y="65"/>
                  </a:cubicBezTo>
                  <a:cubicBezTo>
                    <a:pt x="542" y="65"/>
                    <a:pt x="541" y="65"/>
                    <a:pt x="541" y="63"/>
                  </a:cubicBezTo>
                  <a:cubicBezTo>
                    <a:pt x="541" y="62"/>
                    <a:pt x="542" y="62"/>
                    <a:pt x="542" y="62"/>
                  </a:cubicBezTo>
                  <a:cubicBezTo>
                    <a:pt x="542" y="62"/>
                    <a:pt x="544" y="62"/>
                    <a:pt x="545" y="62"/>
                  </a:cubicBezTo>
                  <a:cubicBezTo>
                    <a:pt x="545" y="61"/>
                    <a:pt x="548" y="63"/>
                    <a:pt x="549" y="63"/>
                  </a:cubicBezTo>
                  <a:cubicBezTo>
                    <a:pt x="549" y="63"/>
                    <a:pt x="550" y="61"/>
                    <a:pt x="551" y="60"/>
                  </a:cubicBezTo>
                  <a:cubicBezTo>
                    <a:pt x="551" y="60"/>
                    <a:pt x="553" y="60"/>
                    <a:pt x="554" y="59"/>
                  </a:cubicBezTo>
                  <a:cubicBezTo>
                    <a:pt x="556" y="58"/>
                    <a:pt x="558" y="59"/>
                    <a:pt x="559" y="58"/>
                  </a:cubicBezTo>
                  <a:cubicBezTo>
                    <a:pt x="560" y="58"/>
                    <a:pt x="563" y="58"/>
                    <a:pt x="564" y="57"/>
                  </a:cubicBezTo>
                  <a:cubicBezTo>
                    <a:pt x="565" y="57"/>
                    <a:pt x="567" y="58"/>
                    <a:pt x="567" y="57"/>
                  </a:cubicBezTo>
                  <a:cubicBezTo>
                    <a:pt x="568" y="57"/>
                    <a:pt x="570" y="58"/>
                    <a:pt x="572" y="56"/>
                  </a:cubicBezTo>
                  <a:cubicBezTo>
                    <a:pt x="574" y="54"/>
                    <a:pt x="576" y="56"/>
                    <a:pt x="578" y="54"/>
                  </a:cubicBezTo>
                  <a:cubicBezTo>
                    <a:pt x="579" y="53"/>
                    <a:pt x="580" y="54"/>
                    <a:pt x="581" y="54"/>
                  </a:cubicBezTo>
                  <a:cubicBezTo>
                    <a:pt x="582" y="53"/>
                    <a:pt x="584" y="54"/>
                    <a:pt x="586" y="53"/>
                  </a:cubicBezTo>
                  <a:cubicBezTo>
                    <a:pt x="587" y="52"/>
                    <a:pt x="589" y="53"/>
                    <a:pt x="592" y="52"/>
                  </a:cubicBezTo>
                  <a:cubicBezTo>
                    <a:pt x="595" y="52"/>
                    <a:pt x="595" y="53"/>
                    <a:pt x="596" y="52"/>
                  </a:cubicBezTo>
                  <a:cubicBezTo>
                    <a:pt x="597" y="52"/>
                    <a:pt x="599" y="52"/>
                    <a:pt x="599" y="52"/>
                  </a:cubicBezTo>
                  <a:cubicBezTo>
                    <a:pt x="599" y="52"/>
                    <a:pt x="603" y="52"/>
                    <a:pt x="604" y="52"/>
                  </a:cubicBezTo>
                  <a:cubicBezTo>
                    <a:pt x="605" y="52"/>
                    <a:pt x="608" y="52"/>
                    <a:pt x="608" y="52"/>
                  </a:cubicBezTo>
                  <a:cubicBezTo>
                    <a:pt x="608" y="52"/>
                    <a:pt x="618" y="54"/>
                    <a:pt x="621" y="53"/>
                  </a:cubicBezTo>
                  <a:cubicBezTo>
                    <a:pt x="623" y="53"/>
                    <a:pt x="626" y="53"/>
                    <a:pt x="628" y="52"/>
                  </a:cubicBezTo>
                  <a:cubicBezTo>
                    <a:pt x="631" y="51"/>
                    <a:pt x="633" y="52"/>
                    <a:pt x="634" y="52"/>
                  </a:cubicBezTo>
                  <a:cubicBezTo>
                    <a:pt x="635" y="52"/>
                    <a:pt x="637" y="52"/>
                    <a:pt x="637" y="52"/>
                  </a:cubicBezTo>
                  <a:cubicBezTo>
                    <a:pt x="638" y="51"/>
                    <a:pt x="639" y="52"/>
                    <a:pt x="639" y="52"/>
                  </a:cubicBezTo>
                  <a:cubicBezTo>
                    <a:pt x="640" y="52"/>
                    <a:pt x="653" y="51"/>
                    <a:pt x="653" y="51"/>
                  </a:cubicBezTo>
                  <a:cubicBezTo>
                    <a:pt x="653" y="51"/>
                    <a:pt x="654" y="50"/>
                    <a:pt x="655" y="50"/>
                  </a:cubicBezTo>
                  <a:cubicBezTo>
                    <a:pt x="655" y="50"/>
                    <a:pt x="657" y="50"/>
                    <a:pt x="658" y="49"/>
                  </a:cubicBezTo>
                  <a:cubicBezTo>
                    <a:pt x="659" y="49"/>
                    <a:pt x="663" y="48"/>
                    <a:pt x="664" y="48"/>
                  </a:cubicBezTo>
                  <a:cubicBezTo>
                    <a:pt x="664" y="48"/>
                    <a:pt x="679" y="46"/>
                    <a:pt x="681" y="44"/>
                  </a:cubicBezTo>
                  <a:cubicBezTo>
                    <a:pt x="682" y="43"/>
                    <a:pt x="682" y="43"/>
                    <a:pt x="684" y="42"/>
                  </a:cubicBezTo>
                  <a:cubicBezTo>
                    <a:pt x="687" y="41"/>
                    <a:pt x="686" y="42"/>
                    <a:pt x="686" y="42"/>
                  </a:cubicBezTo>
                  <a:cubicBezTo>
                    <a:pt x="686" y="42"/>
                    <a:pt x="689" y="41"/>
                    <a:pt x="690" y="40"/>
                  </a:cubicBezTo>
                  <a:cubicBezTo>
                    <a:pt x="690" y="40"/>
                    <a:pt x="693" y="38"/>
                    <a:pt x="693" y="37"/>
                  </a:cubicBezTo>
                  <a:cubicBezTo>
                    <a:pt x="694" y="35"/>
                    <a:pt x="693" y="36"/>
                    <a:pt x="693" y="35"/>
                  </a:cubicBezTo>
                  <a:cubicBezTo>
                    <a:pt x="692" y="34"/>
                    <a:pt x="691" y="35"/>
                    <a:pt x="691" y="35"/>
                  </a:cubicBezTo>
                  <a:cubicBezTo>
                    <a:pt x="691" y="35"/>
                    <a:pt x="689" y="34"/>
                    <a:pt x="689" y="34"/>
                  </a:cubicBezTo>
                  <a:cubicBezTo>
                    <a:pt x="689" y="34"/>
                    <a:pt x="687" y="33"/>
                    <a:pt x="686" y="32"/>
                  </a:cubicBezTo>
                  <a:cubicBezTo>
                    <a:pt x="685" y="31"/>
                    <a:pt x="684" y="30"/>
                    <a:pt x="684" y="30"/>
                  </a:cubicBezTo>
                  <a:cubicBezTo>
                    <a:pt x="684" y="30"/>
                    <a:pt x="683" y="31"/>
                    <a:pt x="681" y="31"/>
                  </a:cubicBezTo>
                  <a:cubicBezTo>
                    <a:pt x="679" y="31"/>
                    <a:pt x="676" y="30"/>
                    <a:pt x="676" y="30"/>
                  </a:cubicBezTo>
                  <a:cubicBezTo>
                    <a:pt x="673" y="29"/>
                    <a:pt x="673" y="29"/>
                    <a:pt x="673" y="29"/>
                  </a:cubicBezTo>
                  <a:cubicBezTo>
                    <a:pt x="670" y="29"/>
                    <a:pt x="670" y="29"/>
                    <a:pt x="670" y="29"/>
                  </a:cubicBezTo>
                  <a:cubicBezTo>
                    <a:pt x="668" y="28"/>
                    <a:pt x="668" y="28"/>
                    <a:pt x="668" y="28"/>
                  </a:cubicBezTo>
                  <a:cubicBezTo>
                    <a:pt x="667" y="28"/>
                    <a:pt x="665" y="29"/>
                    <a:pt x="664" y="29"/>
                  </a:cubicBezTo>
                  <a:cubicBezTo>
                    <a:pt x="664" y="30"/>
                    <a:pt x="662" y="30"/>
                    <a:pt x="661" y="29"/>
                  </a:cubicBezTo>
                  <a:cubicBezTo>
                    <a:pt x="660" y="28"/>
                    <a:pt x="660" y="29"/>
                    <a:pt x="660" y="28"/>
                  </a:cubicBezTo>
                  <a:cubicBezTo>
                    <a:pt x="660" y="28"/>
                    <a:pt x="653" y="27"/>
                    <a:pt x="653" y="27"/>
                  </a:cubicBezTo>
                  <a:cubicBezTo>
                    <a:pt x="652" y="27"/>
                    <a:pt x="650" y="27"/>
                    <a:pt x="650" y="27"/>
                  </a:cubicBezTo>
                  <a:cubicBezTo>
                    <a:pt x="649" y="28"/>
                    <a:pt x="647" y="28"/>
                    <a:pt x="643" y="30"/>
                  </a:cubicBezTo>
                  <a:cubicBezTo>
                    <a:pt x="640" y="31"/>
                    <a:pt x="639" y="30"/>
                    <a:pt x="639" y="30"/>
                  </a:cubicBezTo>
                  <a:cubicBezTo>
                    <a:pt x="639" y="30"/>
                    <a:pt x="642" y="28"/>
                    <a:pt x="643" y="27"/>
                  </a:cubicBezTo>
                  <a:cubicBezTo>
                    <a:pt x="643" y="27"/>
                    <a:pt x="644" y="26"/>
                    <a:pt x="645" y="26"/>
                  </a:cubicBezTo>
                  <a:cubicBezTo>
                    <a:pt x="645" y="26"/>
                    <a:pt x="647" y="24"/>
                    <a:pt x="648" y="24"/>
                  </a:cubicBezTo>
                  <a:cubicBezTo>
                    <a:pt x="648" y="24"/>
                    <a:pt x="649" y="23"/>
                    <a:pt x="649" y="22"/>
                  </a:cubicBezTo>
                  <a:cubicBezTo>
                    <a:pt x="649" y="22"/>
                    <a:pt x="648" y="20"/>
                    <a:pt x="648" y="19"/>
                  </a:cubicBezTo>
                  <a:cubicBezTo>
                    <a:pt x="648" y="19"/>
                    <a:pt x="647" y="18"/>
                    <a:pt x="646" y="18"/>
                  </a:cubicBezTo>
                  <a:cubicBezTo>
                    <a:pt x="646" y="17"/>
                    <a:pt x="644" y="17"/>
                    <a:pt x="643" y="17"/>
                  </a:cubicBezTo>
                  <a:cubicBezTo>
                    <a:pt x="643" y="17"/>
                    <a:pt x="641" y="17"/>
                    <a:pt x="640" y="17"/>
                  </a:cubicBezTo>
                  <a:cubicBezTo>
                    <a:pt x="640" y="17"/>
                    <a:pt x="640" y="18"/>
                    <a:pt x="640" y="18"/>
                  </a:cubicBezTo>
                  <a:cubicBezTo>
                    <a:pt x="640" y="18"/>
                    <a:pt x="636" y="17"/>
                    <a:pt x="636" y="17"/>
                  </a:cubicBezTo>
                  <a:cubicBezTo>
                    <a:pt x="635" y="17"/>
                    <a:pt x="634" y="17"/>
                    <a:pt x="633" y="17"/>
                  </a:cubicBezTo>
                  <a:cubicBezTo>
                    <a:pt x="631" y="18"/>
                    <a:pt x="632" y="18"/>
                    <a:pt x="632" y="18"/>
                  </a:cubicBezTo>
                  <a:cubicBezTo>
                    <a:pt x="632" y="19"/>
                    <a:pt x="626" y="20"/>
                    <a:pt x="625" y="20"/>
                  </a:cubicBezTo>
                  <a:cubicBezTo>
                    <a:pt x="624" y="20"/>
                    <a:pt x="624" y="20"/>
                    <a:pt x="624" y="20"/>
                  </a:cubicBezTo>
                  <a:cubicBezTo>
                    <a:pt x="624" y="20"/>
                    <a:pt x="621" y="21"/>
                    <a:pt x="620" y="21"/>
                  </a:cubicBezTo>
                  <a:cubicBezTo>
                    <a:pt x="618" y="21"/>
                    <a:pt x="618" y="22"/>
                    <a:pt x="612" y="22"/>
                  </a:cubicBezTo>
                  <a:cubicBezTo>
                    <a:pt x="607" y="22"/>
                    <a:pt x="610" y="22"/>
                    <a:pt x="607" y="22"/>
                  </a:cubicBezTo>
                  <a:cubicBezTo>
                    <a:pt x="604" y="22"/>
                    <a:pt x="606" y="22"/>
                    <a:pt x="606" y="22"/>
                  </a:cubicBezTo>
                  <a:cubicBezTo>
                    <a:pt x="605" y="22"/>
                    <a:pt x="604" y="21"/>
                    <a:pt x="601" y="21"/>
                  </a:cubicBezTo>
                  <a:cubicBezTo>
                    <a:pt x="598" y="20"/>
                    <a:pt x="599" y="20"/>
                    <a:pt x="598" y="21"/>
                  </a:cubicBezTo>
                  <a:cubicBezTo>
                    <a:pt x="597" y="21"/>
                    <a:pt x="594" y="21"/>
                    <a:pt x="601" y="19"/>
                  </a:cubicBezTo>
                  <a:cubicBezTo>
                    <a:pt x="609" y="17"/>
                    <a:pt x="603" y="19"/>
                    <a:pt x="606" y="19"/>
                  </a:cubicBezTo>
                  <a:cubicBezTo>
                    <a:pt x="608" y="19"/>
                    <a:pt x="608" y="20"/>
                    <a:pt x="609" y="20"/>
                  </a:cubicBezTo>
                  <a:cubicBezTo>
                    <a:pt x="611" y="20"/>
                    <a:pt x="613" y="19"/>
                    <a:pt x="615" y="19"/>
                  </a:cubicBezTo>
                  <a:cubicBezTo>
                    <a:pt x="617" y="18"/>
                    <a:pt x="622" y="18"/>
                    <a:pt x="624" y="17"/>
                  </a:cubicBezTo>
                  <a:cubicBezTo>
                    <a:pt x="627" y="16"/>
                    <a:pt x="629" y="16"/>
                    <a:pt x="631" y="15"/>
                  </a:cubicBezTo>
                  <a:cubicBezTo>
                    <a:pt x="633" y="14"/>
                    <a:pt x="633" y="15"/>
                    <a:pt x="635" y="13"/>
                  </a:cubicBezTo>
                  <a:cubicBezTo>
                    <a:pt x="638" y="11"/>
                    <a:pt x="636" y="13"/>
                    <a:pt x="632" y="11"/>
                  </a:cubicBezTo>
                  <a:cubicBezTo>
                    <a:pt x="629" y="9"/>
                    <a:pt x="631" y="11"/>
                    <a:pt x="630" y="10"/>
                  </a:cubicBezTo>
                  <a:cubicBezTo>
                    <a:pt x="630" y="10"/>
                    <a:pt x="628" y="10"/>
                    <a:pt x="628" y="10"/>
                  </a:cubicBezTo>
                  <a:cubicBezTo>
                    <a:pt x="627" y="9"/>
                    <a:pt x="626" y="10"/>
                    <a:pt x="626" y="10"/>
                  </a:cubicBezTo>
                  <a:cubicBezTo>
                    <a:pt x="625" y="10"/>
                    <a:pt x="622" y="9"/>
                    <a:pt x="621" y="9"/>
                  </a:cubicBezTo>
                  <a:cubicBezTo>
                    <a:pt x="620" y="8"/>
                    <a:pt x="618" y="7"/>
                    <a:pt x="616" y="7"/>
                  </a:cubicBezTo>
                  <a:cubicBezTo>
                    <a:pt x="614" y="7"/>
                    <a:pt x="612" y="8"/>
                    <a:pt x="611" y="8"/>
                  </a:cubicBezTo>
                  <a:cubicBezTo>
                    <a:pt x="610" y="9"/>
                    <a:pt x="597" y="7"/>
                    <a:pt x="597" y="7"/>
                  </a:cubicBezTo>
                  <a:cubicBezTo>
                    <a:pt x="597" y="7"/>
                    <a:pt x="596" y="7"/>
                    <a:pt x="595" y="7"/>
                  </a:cubicBezTo>
                  <a:cubicBezTo>
                    <a:pt x="594" y="6"/>
                    <a:pt x="592" y="5"/>
                    <a:pt x="592" y="5"/>
                  </a:cubicBezTo>
                  <a:cubicBezTo>
                    <a:pt x="592" y="5"/>
                    <a:pt x="589" y="5"/>
                    <a:pt x="587" y="4"/>
                  </a:cubicBezTo>
                  <a:cubicBezTo>
                    <a:pt x="586" y="3"/>
                    <a:pt x="583" y="3"/>
                    <a:pt x="582" y="3"/>
                  </a:cubicBezTo>
                  <a:cubicBezTo>
                    <a:pt x="582" y="4"/>
                    <a:pt x="581" y="4"/>
                    <a:pt x="580" y="4"/>
                  </a:cubicBezTo>
                  <a:cubicBezTo>
                    <a:pt x="580" y="5"/>
                    <a:pt x="579" y="5"/>
                    <a:pt x="579" y="5"/>
                  </a:cubicBezTo>
                  <a:cubicBezTo>
                    <a:pt x="578" y="6"/>
                    <a:pt x="572" y="6"/>
                    <a:pt x="571" y="6"/>
                  </a:cubicBezTo>
                  <a:cubicBezTo>
                    <a:pt x="570" y="5"/>
                    <a:pt x="569" y="6"/>
                    <a:pt x="568" y="5"/>
                  </a:cubicBezTo>
                  <a:cubicBezTo>
                    <a:pt x="567" y="5"/>
                    <a:pt x="566" y="5"/>
                    <a:pt x="564" y="3"/>
                  </a:cubicBezTo>
                  <a:cubicBezTo>
                    <a:pt x="562" y="2"/>
                    <a:pt x="562" y="3"/>
                    <a:pt x="560" y="2"/>
                  </a:cubicBezTo>
                  <a:cubicBezTo>
                    <a:pt x="558" y="1"/>
                    <a:pt x="558" y="2"/>
                    <a:pt x="557" y="1"/>
                  </a:cubicBezTo>
                  <a:cubicBezTo>
                    <a:pt x="556" y="0"/>
                    <a:pt x="536" y="1"/>
                    <a:pt x="536" y="1"/>
                  </a:cubicBezTo>
                  <a:cubicBezTo>
                    <a:pt x="536" y="1"/>
                    <a:pt x="533" y="1"/>
                    <a:pt x="532" y="1"/>
                  </a:cubicBezTo>
                  <a:cubicBezTo>
                    <a:pt x="530" y="2"/>
                    <a:pt x="529" y="2"/>
                    <a:pt x="528" y="2"/>
                  </a:cubicBezTo>
                  <a:cubicBezTo>
                    <a:pt x="527" y="3"/>
                    <a:pt x="528" y="4"/>
                    <a:pt x="528" y="4"/>
                  </a:cubicBezTo>
                  <a:cubicBezTo>
                    <a:pt x="528" y="4"/>
                    <a:pt x="527" y="6"/>
                    <a:pt x="526" y="7"/>
                  </a:cubicBezTo>
                  <a:cubicBezTo>
                    <a:pt x="526" y="8"/>
                    <a:pt x="525" y="7"/>
                    <a:pt x="524" y="6"/>
                  </a:cubicBezTo>
                  <a:cubicBezTo>
                    <a:pt x="522" y="5"/>
                    <a:pt x="523" y="5"/>
                    <a:pt x="522" y="4"/>
                  </a:cubicBezTo>
                  <a:cubicBezTo>
                    <a:pt x="522" y="3"/>
                    <a:pt x="520" y="3"/>
                    <a:pt x="519" y="3"/>
                  </a:cubicBezTo>
                  <a:cubicBezTo>
                    <a:pt x="518" y="3"/>
                    <a:pt x="502" y="3"/>
                    <a:pt x="500" y="3"/>
                  </a:cubicBezTo>
                  <a:cubicBezTo>
                    <a:pt x="499" y="3"/>
                    <a:pt x="496" y="3"/>
                    <a:pt x="495" y="3"/>
                  </a:cubicBezTo>
                  <a:cubicBezTo>
                    <a:pt x="494" y="3"/>
                    <a:pt x="491" y="3"/>
                    <a:pt x="491" y="3"/>
                  </a:cubicBezTo>
                  <a:cubicBezTo>
                    <a:pt x="490" y="3"/>
                    <a:pt x="489" y="6"/>
                    <a:pt x="489" y="6"/>
                  </a:cubicBezTo>
                  <a:cubicBezTo>
                    <a:pt x="489" y="6"/>
                    <a:pt x="487" y="8"/>
                    <a:pt x="486" y="9"/>
                  </a:cubicBezTo>
                  <a:cubicBezTo>
                    <a:pt x="486" y="9"/>
                    <a:pt x="486" y="8"/>
                    <a:pt x="485" y="8"/>
                  </a:cubicBezTo>
                  <a:cubicBezTo>
                    <a:pt x="485" y="7"/>
                    <a:pt x="484" y="7"/>
                    <a:pt x="484" y="7"/>
                  </a:cubicBezTo>
                  <a:cubicBezTo>
                    <a:pt x="483" y="7"/>
                    <a:pt x="481" y="6"/>
                    <a:pt x="481" y="6"/>
                  </a:cubicBezTo>
                  <a:cubicBezTo>
                    <a:pt x="481" y="6"/>
                    <a:pt x="475" y="7"/>
                    <a:pt x="474" y="8"/>
                  </a:cubicBezTo>
                  <a:cubicBezTo>
                    <a:pt x="472" y="9"/>
                    <a:pt x="471" y="9"/>
                    <a:pt x="470" y="9"/>
                  </a:cubicBezTo>
                  <a:cubicBezTo>
                    <a:pt x="469" y="10"/>
                    <a:pt x="468" y="9"/>
                    <a:pt x="467" y="9"/>
                  </a:cubicBezTo>
                  <a:cubicBezTo>
                    <a:pt x="466" y="9"/>
                    <a:pt x="464" y="9"/>
                    <a:pt x="462" y="9"/>
                  </a:cubicBezTo>
                  <a:cubicBezTo>
                    <a:pt x="460" y="10"/>
                    <a:pt x="460" y="11"/>
                    <a:pt x="460" y="11"/>
                  </a:cubicBezTo>
                  <a:cubicBezTo>
                    <a:pt x="460" y="12"/>
                    <a:pt x="460" y="14"/>
                    <a:pt x="461" y="14"/>
                  </a:cubicBezTo>
                  <a:cubicBezTo>
                    <a:pt x="462" y="15"/>
                    <a:pt x="463" y="16"/>
                    <a:pt x="464" y="16"/>
                  </a:cubicBezTo>
                  <a:cubicBezTo>
                    <a:pt x="466" y="17"/>
                    <a:pt x="467" y="17"/>
                    <a:pt x="468" y="17"/>
                  </a:cubicBezTo>
                  <a:cubicBezTo>
                    <a:pt x="470" y="16"/>
                    <a:pt x="472" y="17"/>
                    <a:pt x="472" y="17"/>
                  </a:cubicBezTo>
                  <a:cubicBezTo>
                    <a:pt x="472" y="17"/>
                    <a:pt x="476" y="18"/>
                    <a:pt x="476" y="18"/>
                  </a:cubicBezTo>
                  <a:cubicBezTo>
                    <a:pt x="475" y="18"/>
                    <a:pt x="474" y="19"/>
                    <a:pt x="472" y="18"/>
                  </a:cubicBezTo>
                  <a:cubicBezTo>
                    <a:pt x="470" y="18"/>
                    <a:pt x="470" y="18"/>
                    <a:pt x="470" y="19"/>
                  </a:cubicBezTo>
                  <a:cubicBezTo>
                    <a:pt x="469" y="20"/>
                    <a:pt x="466" y="19"/>
                    <a:pt x="465" y="19"/>
                  </a:cubicBezTo>
                  <a:cubicBezTo>
                    <a:pt x="464" y="20"/>
                    <a:pt x="465" y="21"/>
                    <a:pt x="465" y="21"/>
                  </a:cubicBezTo>
                  <a:cubicBezTo>
                    <a:pt x="465" y="22"/>
                    <a:pt x="463" y="22"/>
                    <a:pt x="463" y="23"/>
                  </a:cubicBezTo>
                  <a:cubicBezTo>
                    <a:pt x="463" y="23"/>
                    <a:pt x="459" y="23"/>
                    <a:pt x="458" y="24"/>
                  </a:cubicBezTo>
                  <a:cubicBezTo>
                    <a:pt x="457" y="24"/>
                    <a:pt x="458" y="25"/>
                    <a:pt x="459" y="25"/>
                  </a:cubicBezTo>
                  <a:cubicBezTo>
                    <a:pt x="459" y="26"/>
                    <a:pt x="462" y="27"/>
                    <a:pt x="462" y="28"/>
                  </a:cubicBezTo>
                  <a:cubicBezTo>
                    <a:pt x="463" y="28"/>
                    <a:pt x="462" y="29"/>
                    <a:pt x="462" y="30"/>
                  </a:cubicBezTo>
                  <a:cubicBezTo>
                    <a:pt x="461" y="30"/>
                    <a:pt x="457" y="29"/>
                    <a:pt x="456" y="28"/>
                  </a:cubicBezTo>
                  <a:cubicBezTo>
                    <a:pt x="455" y="27"/>
                    <a:pt x="454" y="27"/>
                    <a:pt x="454" y="26"/>
                  </a:cubicBezTo>
                  <a:cubicBezTo>
                    <a:pt x="453" y="25"/>
                    <a:pt x="451" y="24"/>
                    <a:pt x="451" y="23"/>
                  </a:cubicBezTo>
                  <a:cubicBezTo>
                    <a:pt x="451" y="22"/>
                    <a:pt x="451" y="22"/>
                    <a:pt x="453" y="21"/>
                  </a:cubicBezTo>
                  <a:cubicBezTo>
                    <a:pt x="455" y="19"/>
                    <a:pt x="454" y="19"/>
                    <a:pt x="454" y="19"/>
                  </a:cubicBezTo>
                  <a:cubicBezTo>
                    <a:pt x="454" y="18"/>
                    <a:pt x="452" y="17"/>
                    <a:pt x="451" y="17"/>
                  </a:cubicBezTo>
                  <a:cubicBezTo>
                    <a:pt x="451" y="17"/>
                    <a:pt x="448" y="16"/>
                    <a:pt x="448" y="16"/>
                  </a:cubicBezTo>
                  <a:cubicBezTo>
                    <a:pt x="447" y="16"/>
                    <a:pt x="443" y="16"/>
                    <a:pt x="442" y="17"/>
                  </a:cubicBezTo>
                  <a:cubicBezTo>
                    <a:pt x="441" y="17"/>
                    <a:pt x="443" y="18"/>
                    <a:pt x="443" y="18"/>
                  </a:cubicBezTo>
                  <a:cubicBezTo>
                    <a:pt x="444" y="19"/>
                    <a:pt x="444" y="21"/>
                    <a:pt x="444" y="21"/>
                  </a:cubicBezTo>
                  <a:cubicBezTo>
                    <a:pt x="444" y="21"/>
                    <a:pt x="443" y="22"/>
                    <a:pt x="442" y="23"/>
                  </a:cubicBezTo>
                  <a:cubicBezTo>
                    <a:pt x="441" y="23"/>
                    <a:pt x="441" y="24"/>
                    <a:pt x="439" y="23"/>
                  </a:cubicBezTo>
                  <a:cubicBezTo>
                    <a:pt x="437" y="22"/>
                    <a:pt x="437" y="23"/>
                    <a:pt x="436" y="22"/>
                  </a:cubicBezTo>
                  <a:cubicBezTo>
                    <a:pt x="434" y="21"/>
                    <a:pt x="435" y="22"/>
                    <a:pt x="433" y="21"/>
                  </a:cubicBezTo>
                  <a:cubicBezTo>
                    <a:pt x="432" y="21"/>
                    <a:pt x="432" y="21"/>
                    <a:pt x="431" y="21"/>
                  </a:cubicBezTo>
                  <a:cubicBezTo>
                    <a:pt x="431" y="21"/>
                    <a:pt x="428" y="21"/>
                    <a:pt x="427" y="21"/>
                  </a:cubicBezTo>
                  <a:cubicBezTo>
                    <a:pt x="426" y="21"/>
                    <a:pt x="424" y="20"/>
                    <a:pt x="424" y="19"/>
                  </a:cubicBezTo>
                  <a:cubicBezTo>
                    <a:pt x="423" y="19"/>
                    <a:pt x="423" y="19"/>
                    <a:pt x="422" y="18"/>
                  </a:cubicBezTo>
                  <a:cubicBezTo>
                    <a:pt x="421" y="18"/>
                    <a:pt x="418" y="17"/>
                    <a:pt x="418" y="17"/>
                  </a:cubicBezTo>
                  <a:cubicBezTo>
                    <a:pt x="418" y="17"/>
                    <a:pt x="409" y="14"/>
                    <a:pt x="407" y="14"/>
                  </a:cubicBezTo>
                  <a:cubicBezTo>
                    <a:pt x="405" y="14"/>
                    <a:pt x="406" y="15"/>
                    <a:pt x="405" y="15"/>
                  </a:cubicBezTo>
                  <a:cubicBezTo>
                    <a:pt x="404" y="14"/>
                    <a:pt x="403" y="15"/>
                    <a:pt x="402" y="15"/>
                  </a:cubicBezTo>
                  <a:cubicBezTo>
                    <a:pt x="402" y="15"/>
                    <a:pt x="401" y="15"/>
                    <a:pt x="401" y="16"/>
                  </a:cubicBezTo>
                  <a:cubicBezTo>
                    <a:pt x="400" y="16"/>
                    <a:pt x="400" y="17"/>
                    <a:pt x="399" y="17"/>
                  </a:cubicBezTo>
                  <a:cubicBezTo>
                    <a:pt x="398" y="17"/>
                    <a:pt x="398" y="18"/>
                    <a:pt x="397" y="18"/>
                  </a:cubicBezTo>
                  <a:cubicBezTo>
                    <a:pt x="397" y="18"/>
                    <a:pt x="394" y="18"/>
                    <a:pt x="394" y="18"/>
                  </a:cubicBezTo>
                  <a:cubicBezTo>
                    <a:pt x="393" y="18"/>
                    <a:pt x="392" y="18"/>
                    <a:pt x="392" y="18"/>
                  </a:cubicBezTo>
                  <a:cubicBezTo>
                    <a:pt x="389" y="18"/>
                    <a:pt x="389" y="18"/>
                    <a:pt x="389" y="18"/>
                  </a:cubicBezTo>
                  <a:cubicBezTo>
                    <a:pt x="386" y="19"/>
                    <a:pt x="386" y="19"/>
                    <a:pt x="386" y="19"/>
                  </a:cubicBezTo>
                  <a:cubicBezTo>
                    <a:pt x="386" y="19"/>
                    <a:pt x="379" y="19"/>
                    <a:pt x="377" y="19"/>
                  </a:cubicBezTo>
                  <a:cubicBezTo>
                    <a:pt x="375" y="18"/>
                    <a:pt x="376" y="19"/>
                    <a:pt x="376" y="19"/>
                  </a:cubicBezTo>
                  <a:cubicBezTo>
                    <a:pt x="376" y="19"/>
                    <a:pt x="370" y="19"/>
                    <a:pt x="370" y="19"/>
                  </a:cubicBezTo>
                  <a:cubicBezTo>
                    <a:pt x="369" y="19"/>
                    <a:pt x="370" y="20"/>
                    <a:pt x="371" y="20"/>
                  </a:cubicBezTo>
                  <a:cubicBezTo>
                    <a:pt x="371" y="21"/>
                    <a:pt x="372" y="22"/>
                    <a:pt x="372" y="22"/>
                  </a:cubicBezTo>
                  <a:cubicBezTo>
                    <a:pt x="372" y="23"/>
                    <a:pt x="372" y="26"/>
                    <a:pt x="371" y="25"/>
                  </a:cubicBezTo>
                  <a:cubicBezTo>
                    <a:pt x="370" y="24"/>
                    <a:pt x="370" y="25"/>
                    <a:pt x="369" y="24"/>
                  </a:cubicBezTo>
                  <a:cubicBezTo>
                    <a:pt x="368" y="23"/>
                    <a:pt x="368" y="24"/>
                    <a:pt x="367" y="23"/>
                  </a:cubicBezTo>
                  <a:cubicBezTo>
                    <a:pt x="366" y="22"/>
                    <a:pt x="365" y="22"/>
                    <a:pt x="365" y="22"/>
                  </a:cubicBezTo>
                  <a:cubicBezTo>
                    <a:pt x="365" y="22"/>
                    <a:pt x="363" y="20"/>
                    <a:pt x="361" y="20"/>
                  </a:cubicBezTo>
                  <a:cubicBezTo>
                    <a:pt x="359" y="20"/>
                    <a:pt x="358" y="20"/>
                    <a:pt x="356" y="20"/>
                  </a:cubicBezTo>
                  <a:cubicBezTo>
                    <a:pt x="354" y="21"/>
                    <a:pt x="355" y="21"/>
                    <a:pt x="354" y="22"/>
                  </a:cubicBezTo>
                  <a:cubicBezTo>
                    <a:pt x="353" y="22"/>
                    <a:pt x="354" y="24"/>
                    <a:pt x="354" y="25"/>
                  </a:cubicBezTo>
                  <a:cubicBezTo>
                    <a:pt x="354" y="26"/>
                    <a:pt x="355" y="27"/>
                    <a:pt x="356" y="26"/>
                  </a:cubicBezTo>
                  <a:cubicBezTo>
                    <a:pt x="357" y="26"/>
                    <a:pt x="359" y="28"/>
                    <a:pt x="360" y="28"/>
                  </a:cubicBezTo>
                  <a:cubicBezTo>
                    <a:pt x="361" y="28"/>
                    <a:pt x="362" y="28"/>
                    <a:pt x="363" y="28"/>
                  </a:cubicBezTo>
                  <a:cubicBezTo>
                    <a:pt x="363" y="28"/>
                    <a:pt x="370" y="28"/>
                    <a:pt x="371" y="28"/>
                  </a:cubicBezTo>
                  <a:cubicBezTo>
                    <a:pt x="373" y="28"/>
                    <a:pt x="374" y="29"/>
                    <a:pt x="374" y="29"/>
                  </a:cubicBezTo>
                  <a:cubicBezTo>
                    <a:pt x="375" y="29"/>
                    <a:pt x="379" y="29"/>
                    <a:pt x="380" y="29"/>
                  </a:cubicBezTo>
                  <a:cubicBezTo>
                    <a:pt x="381" y="30"/>
                    <a:pt x="381" y="31"/>
                    <a:pt x="381" y="31"/>
                  </a:cubicBezTo>
                  <a:cubicBezTo>
                    <a:pt x="381" y="31"/>
                    <a:pt x="378" y="31"/>
                    <a:pt x="376" y="31"/>
                  </a:cubicBezTo>
                  <a:cubicBezTo>
                    <a:pt x="374" y="32"/>
                    <a:pt x="375" y="31"/>
                    <a:pt x="374" y="32"/>
                  </a:cubicBezTo>
                  <a:cubicBezTo>
                    <a:pt x="372" y="32"/>
                    <a:pt x="369" y="32"/>
                    <a:pt x="369" y="33"/>
                  </a:cubicBezTo>
                  <a:cubicBezTo>
                    <a:pt x="369" y="33"/>
                    <a:pt x="369" y="33"/>
                    <a:pt x="370" y="34"/>
                  </a:cubicBezTo>
                  <a:cubicBezTo>
                    <a:pt x="371" y="34"/>
                    <a:pt x="372" y="35"/>
                    <a:pt x="372" y="35"/>
                  </a:cubicBezTo>
                  <a:cubicBezTo>
                    <a:pt x="373" y="35"/>
                    <a:pt x="375" y="36"/>
                    <a:pt x="376" y="36"/>
                  </a:cubicBezTo>
                  <a:cubicBezTo>
                    <a:pt x="376" y="36"/>
                    <a:pt x="378" y="38"/>
                    <a:pt x="378" y="38"/>
                  </a:cubicBezTo>
                  <a:cubicBezTo>
                    <a:pt x="380" y="38"/>
                    <a:pt x="380" y="38"/>
                    <a:pt x="380" y="38"/>
                  </a:cubicBezTo>
                  <a:cubicBezTo>
                    <a:pt x="380" y="38"/>
                    <a:pt x="382" y="40"/>
                    <a:pt x="383" y="40"/>
                  </a:cubicBezTo>
                  <a:cubicBezTo>
                    <a:pt x="383" y="40"/>
                    <a:pt x="384" y="42"/>
                    <a:pt x="384" y="42"/>
                  </a:cubicBezTo>
                  <a:cubicBezTo>
                    <a:pt x="384" y="42"/>
                    <a:pt x="386" y="42"/>
                    <a:pt x="386" y="42"/>
                  </a:cubicBezTo>
                  <a:cubicBezTo>
                    <a:pt x="387" y="42"/>
                    <a:pt x="388" y="43"/>
                    <a:pt x="389" y="43"/>
                  </a:cubicBezTo>
                  <a:cubicBezTo>
                    <a:pt x="390" y="43"/>
                    <a:pt x="391" y="44"/>
                    <a:pt x="392" y="44"/>
                  </a:cubicBezTo>
                  <a:cubicBezTo>
                    <a:pt x="393" y="44"/>
                    <a:pt x="393" y="46"/>
                    <a:pt x="393" y="46"/>
                  </a:cubicBezTo>
                  <a:cubicBezTo>
                    <a:pt x="393" y="46"/>
                    <a:pt x="392" y="46"/>
                    <a:pt x="391" y="46"/>
                  </a:cubicBezTo>
                  <a:cubicBezTo>
                    <a:pt x="390" y="45"/>
                    <a:pt x="389" y="46"/>
                    <a:pt x="386" y="45"/>
                  </a:cubicBezTo>
                  <a:cubicBezTo>
                    <a:pt x="382" y="44"/>
                    <a:pt x="384" y="45"/>
                    <a:pt x="382" y="42"/>
                  </a:cubicBezTo>
                  <a:cubicBezTo>
                    <a:pt x="381" y="40"/>
                    <a:pt x="380" y="41"/>
                    <a:pt x="380" y="41"/>
                  </a:cubicBezTo>
                  <a:cubicBezTo>
                    <a:pt x="379" y="41"/>
                    <a:pt x="371" y="39"/>
                    <a:pt x="371" y="39"/>
                  </a:cubicBezTo>
                  <a:cubicBezTo>
                    <a:pt x="370" y="39"/>
                    <a:pt x="369" y="38"/>
                    <a:pt x="368" y="37"/>
                  </a:cubicBezTo>
                  <a:cubicBezTo>
                    <a:pt x="367" y="37"/>
                    <a:pt x="366" y="37"/>
                    <a:pt x="364" y="35"/>
                  </a:cubicBezTo>
                  <a:cubicBezTo>
                    <a:pt x="362" y="34"/>
                    <a:pt x="363" y="35"/>
                    <a:pt x="362" y="34"/>
                  </a:cubicBezTo>
                  <a:cubicBezTo>
                    <a:pt x="361" y="34"/>
                    <a:pt x="361" y="35"/>
                    <a:pt x="356" y="34"/>
                  </a:cubicBezTo>
                  <a:cubicBezTo>
                    <a:pt x="351" y="34"/>
                    <a:pt x="355" y="34"/>
                    <a:pt x="354" y="34"/>
                  </a:cubicBezTo>
                  <a:cubicBezTo>
                    <a:pt x="352" y="34"/>
                    <a:pt x="352" y="34"/>
                    <a:pt x="351" y="34"/>
                  </a:cubicBezTo>
                  <a:cubicBezTo>
                    <a:pt x="350" y="34"/>
                    <a:pt x="349" y="34"/>
                    <a:pt x="349" y="35"/>
                  </a:cubicBezTo>
                  <a:cubicBezTo>
                    <a:pt x="348" y="35"/>
                    <a:pt x="346" y="35"/>
                    <a:pt x="343" y="36"/>
                  </a:cubicBezTo>
                  <a:cubicBezTo>
                    <a:pt x="340" y="37"/>
                    <a:pt x="340" y="36"/>
                    <a:pt x="340" y="36"/>
                  </a:cubicBezTo>
                  <a:cubicBezTo>
                    <a:pt x="340" y="36"/>
                    <a:pt x="340" y="37"/>
                    <a:pt x="341" y="37"/>
                  </a:cubicBezTo>
                  <a:cubicBezTo>
                    <a:pt x="341" y="38"/>
                    <a:pt x="342" y="39"/>
                    <a:pt x="342" y="39"/>
                  </a:cubicBezTo>
                  <a:cubicBezTo>
                    <a:pt x="343" y="39"/>
                    <a:pt x="344" y="40"/>
                    <a:pt x="345" y="40"/>
                  </a:cubicBezTo>
                  <a:cubicBezTo>
                    <a:pt x="345" y="41"/>
                    <a:pt x="346" y="42"/>
                    <a:pt x="347" y="43"/>
                  </a:cubicBezTo>
                  <a:cubicBezTo>
                    <a:pt x="348" y="43"/>
                    <a:pt x="349" y="45"/>
                    <a:pt x="349" y="44"/>
                  </a:cubicBezTo>
                  <a:cubicBezTo>
                    <a:pt x="350" y="44"/>
                    <a:pt x="350" y="45"/>
                    <a:pt x="352" y="45"/>
                  </a:cubicBezTo>
                  <a:cubicBezTo>
                    <a:pt x="353" y="45"/>
                    <a:pt x="353" y="46"/>
                    <a:pt x="355" y="47"/>
                  </a:cubicBezTo>
                  <a:cubicBezTo>
                    <a:pt x="357" y="47"/>
                    <a:pt x="356" y="47"/>
                    <a:pt x="357" y="46"/>
                  </a:cubicBezTo>
                  <a:cubicBezTo>
                    <a:pt x="357" y="46"/>
                    <a:pt x="359" y="48"/>
                    <a:pt x="360" y="48"/>
                  </a:cubicBezTo>
                  <a:cubicBezTo>
                    <a:pt x="361" y="48"/>
                    <a:pt x="361" y="48"/>
                    <a:pt x="363" y="49"/>
                  </a:cubicBezTo>
                  <a:cubicBezTo>
                    <a:pt x="365" y="49"/>
                    <a:pt x="364" y="49"/>
                    <a:pt x="365" y="50"/>
                  </a:cubicBezTo>
                  <a:cubicBezTo>
                    <a:pt x="365" y="50"/>
                    <a:pt x="366" y="50"/>
                    <a:pt x="367" y="50"/>
                  </a:cubicBezTo>
                  <a:cubicBezTo>
                    <a:pt x="368" y="50"/>
                    <a:pt x="368" y="51"/>
                    <a:pt x="370" y="52"/>
                  </a:cubicBezTo>
                  <a:cubicBezTo>
                    <a:pt x="371" y="53"/>
                    <a:pt x="370" y="53"/>
                    <a:pt x="371" y="53"/>
                  </a:cubicBezTo>
                  <a:cubicBezTo>
                    <a:pt x="371" y="54"/>
                    <a:pt x="372" y="55"/>
                    <a:pt x="374" y="56"/>
                  </a:cubicBezTo>
                  <a:cubicBezTo>
                    <a:pt x="376" y="57"/>
                    <a:pt x="377" y="58"/>
                    <a:pt x="377" y="58"/>
                  </a:cubicBezTo>
                  <a:cubicBezTo>
                    <a:pt x="378" y="58"/>
                    <a:pt x="378" y="60"/>
                    <a:pt x="379" y="60"/>
                  </a:cubicBezTo>
                  <a:cubicBezTo>
                    <a:pt x="379" y="60"/>
                    <a:pt x="381" y="62"/>
                    <a:pt x="381" y="62"/>
                  </a:cubicBezTo>
                  <a:cubicBezTo>
                    <a:pt x="382" y="62"/>
                    <a:pt x="381" y="63"/>
                    <a:pt x="381" y="63"/>
                  </a:cubicBezTo>
                  <a:cubicBezTo>
                    <a:pt x="381" y="63"/>
                    <a:pt x="380" y="63"/>
                    <a:pt x="379" y="63"/>
                  </a:cubicBezTo>
                  <a:cubicBezTo>
                    <a:pt x="378" y="63"/>
                    <a:pt x="376" y="64"/>
                    <a:pt x="376" y="64"/>
                  </a:cubicBezTo>
                  <a:cubicBezTo>
                    <a:pt x="374" y="63"/>
                    <a:pt x="374" y="63"/>
                    <a:pt x="374" y="63"/>
                  </a:cubicBezTo>
                  <a:cubicBezTo>
                    <a:pt x="374" y="63"/>
                    <a:pt x="371" y="62"/>
                    <a:pt x="371" y="62"/>
                  </a:cubicBezTo>
                  <a:cubicBezTo>
                    <a:pt x="371" y="61"/>
                    <a:pt x="369" y="61"/>
                    <a:pt x="369" y="60"/>
                  </a:cubicBezTo>
                  <a:cubicBezTo>
                    <a:pt x="367" y="59"/>
                    <a:pt x="367" y="59"/>
                    <a:pt x="367" y="59"/>
                  </a:cubicBezTo>
                  <a:cubicBezTo>
                    <a:pt x="364" y="58"/>
                    <a:pt x="364" y="58"/>
                    <a:pt x="364" y="58"/>
                  </a:cubicBezTo>
                  <a:cubicBezTo>
                    <a:pt x="361" y="57"/>
                    <a:pt x="361" y="57"/>
                    <a:pt x="361" y="57"/>
                  </a:cubicBezTo>
                  <a:cubicBezTo>
                    <a:pt x="357" y="54"/>
                    <a:pt x="357" y="54"/>
                    <a:pt x="357" y="54"/>
                  </a:cubicBezTo>
                  <a:cubicBezTo>
                    <a:pt x="357" y="54"/>
                    <a:pt x="356" y="54"/>
                    <a:pt x="355" y="54"/>
                  </a:cubicBezTo>
                  <a:cubicBezTo>
                    <a:pt x="354" y="54"/>
                    <a:pt x="353" y="53"/>
                    <a:pt x="352" y="52"/>
                  </a:cubicBezTo>
                  <a:cubicBezTo>
                    <a:pt x="352" y="52"/>
                    <a:pt x="349" y="52"/>
                    <a:pt x="349" y="52"/>
                  </a:cubicBezTo>
                  <a:cubicBezTo>
                    <a:pt x="349" y="52"/>
                    <a:pt x="347" y="52"/>
                    <a:pt x="347" y="52"/>
                  </a:cubicBezTo>
                  <a:cubicBezTo>
                    <a:pt x="347" y="52"/>
                    <a:pt x="345" y="50"/>
                    <a:pt x="344" y="50"/>
                  </a:cubicBezTo>
                  <a:cubicBezTo>
                    <a:pt x="343" y="50"/>
                    <a:pt x="344" y="50"/>
                    <a:pt x="343" y="50"/>
                  </a:cubicBezTo>
                  <a:cubicBezTo>
                    <a:pt x="342" y="50"/>
                    <a:pt x="342" y="50"/>
                    <a:pt x="341" y="50"/>
                  </a:cubicBezTo>
                  <a:cubicBezTo>
                    <a:pt x="340" y="50"/>
                    <a:pt x="339" y="49"/>
                    <a:pt x="338" y="49"/>
                  </a:cubicBezTo>
                  <a:cubicBezTo>
                    <a:pt x="338" y="49"/>
                    <a:pt x="332" y="46"/>
                    <a:pt x="332" y="46"/>
                  </a:cubicBezTo>
                  <a:cubicBezTo>
                    <a:pt x="331" y="46"/>
                    <a:pt x="329" y="46"/>
                    <a:pt x="329" y="46"/>
                  </a:cubicBezTo>
                  <a:cubicBezTo>
                    <a:pt x="328" y="45"/>
                    <a:pt x="328" y="46"/>
                    <a:pt x="327" y="45"/>
                  </a:cubicBezTo>
                  <a:cubicBezTo>
                    <a:pt x="327" y="45"/>
                    <a:pt x="326" y="44"/>
                    <a:pt x="326" y="44"/>
                  </a:cubicBezTo>
                  <a:cubicBezTo>
                    <a:pt x="326" y="44"/>
                    <a:pt x="325" y="44"/>
                    <a:pt x="324" y="44"/>
                  </a:cubicBezTo>
                  <a:cubicBezTo>
                    <a:pt x="324" y="44"/>
                    <a:pt x="323" y="43"/>
                    <a:pt x="323" y="43"/>
                  </a:cubicBezTo>
                  <a:cubicBezTo>
                    <a:pt x="323" y="43"/>
                    <a:pt x="322" y="43"/>
                    <a:pt x="321" y="43"/>
                  </a:cubicBezTo>
                  <a:cubicBezTo>
                    <a:pt x="320" y="42"/>
                    <a:pt x="321" y="42"/>
                    <a:pt x="320" y="41"/>
                  </a:cubicBezTo>
                  <a:cubicBezTo>
                    <a:pt x="320" y="40"/>
                    <a:pt x="320" y="41"/>
                    <a:pt x="319" y="40"/>
                  </a:cubicBezTo>
                  <a:cubicBezTo>
                    <a:pt x="319" y="40"/>
                    <a:pt x="318" y="40"/>
                    <a:pt x="318" y="40"/>
                  </a:cubicBezTo>
                  <a:cubicBezTo>
                    <a:pt x="317" y="39"/>
                    <a:pt x="317" y="40"/>
                    <a:pt x="316" y="40"/>
                  </a:cubicBezTo>
                  <a:cubicBezTo>
                    <a:pt x="316" y="40"/>
                    <a:pt x="315" y="40"/>
                    <a:pt x="313" y="40"/>
                  </a:cubicBezTo>
                  <a:cubicBezTo>
                    <a:pt x="310" y="40"/>
                    <a:pt x="311" y="39"/>
                    <a:pt x="311" y="39"/>
                  </a:cubicBezTo>
                  <a:cubicBezTo>
                    <a:pt x="311" y="39"/>
                    <a:pt x="309" y="39"/>
                    <a:pt x="308" y="39"/>
                  </a:cubicBezTo>
                  <a:cubicBezTo>
                    <a:pt x="308" y="39"/>
                    <a:pt x="307" y="39"/>
                    <a:pt x="306" y="39"/>
                  </a:cubicBezTo>
                  <a:cubicBezTo>
                    <a:pt x="305" y="39"/>
                    <a:pt x="305" y="39"/>
                    <a:pt x="303" y="39"/>
                  </a:cubicBezTo>
                  <a:cubicBezTo>
                    <a:pt x="301" y="39"/>
                    <a:pt x="298" y="39"/>
                    <a:pt x="298" y="39"/>
                  </a:cubicBezTo>
                  <a:cubicBezTo>
                    <a:pt x="298" y="39"/>
                    <a:pt x="296" y="41"/>
                    <a:pt x="296" y="42"/>
                  </a:cubicBezTo>
                  <a:cubicBezTo>
                    <a:pt x="296" y="43"/>
                    <a:pt x="296" y="44"/>
                    <a:pt x="296" y="45"/>
                  </a:cubicBezTo>
                  <a:cubicBezTo>
                    <a:pt x="297" y="48"/>
                    <a:pt x="297" y="48"/>
                    <a:pt x="297" y="48"/>
                  </a:cubicBezTo>
                  <a:cubicBezTo>
                    <a:pt x="297" y="48"/>
                    <a:pt x="298" y="49"/>
                    <a:pt x="298" y="50"/>
                  </a:cubicBezTo>
                  <a:cubicBezTo>
                    <a:pt x="298" y="50"/>
                    <a:pt x="300" y="51"/>
                    <a:pt x="300" y="52"/>
                  </a:cubicBezTo>
                  <a:cubicBezTo>
                    <a:pt x="301" y="52"/>
                    <a:pt x="302" y="53"/>
                    <a:pt x="302" y="53"/>
                  </a:cubicBezTo>
                  <a:cubicBezTo>
                    <a:pt x="302" y="53"/>
                    <a:pt x="304" y="55"/>
                    <a:pt x="304" y="55"/>
                  </a:cubicBezTo>
                  <a:cubicBezTo>
                    <a:pt x="305" y="56"/>
                    <a:pt x="305" y="56"/>
                    <a:pt x="305" y="56"/>
                  </a:cubicBezTo>
                  <a:cubicBezTo>
                    <a:pt x="306" y="57"/>
                    <a:pt x="306" y="57"/>
                    <a:pt x="306" y="57"/>
                  </a:cubicBezTo>
                  <a:cubicBezTo>
                    <a:pt x="309" y="58"/>
                    <a:pt x="309" y="58"/>
                    <a:pt x="309" y="58"/>
                  </a:cubicBezTo>
                  <a:cubicBezTo>
                    <a:pt x="310" y="59"/>
                    <a:pt x="310" y="59"/>
                    <a:pt x="310" y="59"/>
                  </a:cubicBezTo>
                  <a:cubicBezTo>
                    <a:pt x="310" y="60"/>
                    <a:pt x="310" y="60"/>
                    <a:pt x="310" y="60"/>
                  </a:cubicBezTo>
                  <a:cubicBezTo>
                    <a:pt x="310" y="60"/>
                    <a:pt x="309" y="60"/>
                    <a:pt x="308" y="60"/>
                  </a:cubicBezTo>
                  <a:cubicBezTo>
                    <a:pt x="307" y="61"/>
                    <a:pt x="307" y="60"/>
                    <a:pt x="306" y="60"/>
                  </a:cubicBezTo>
                  <a:cubicBezTo>
                    <a:pt x="305" y="60"/>
                    <a:pt x="305" y="60"/>
                    <a:pt x="305" y="60"/>
                  </a:cubicBezTo>
                  <a:cubicBezTo>
                    <a:pt x="304" y="60"/>
                    <a:pt x="303" y="59"/>
                    <a:pt x="303" y="59"/>
                  </a:cubicBezTo>
                  <a:cubicBezTo>
                    <a:pt x="300" y="59"/>
                    <a:pt x="300" y="59"/>
                    <a:pt x="300" y="59"/>
                  </a:cubicBezTo>
                  <a:cubicBezTo>
                    <a:pt x="299" y="59"/>
                    <a:pt x="299" y="59"/>
                    <a:pt x="299" y="59"/>
                  </a:cubicBezTo>
                  <a:cubicBezTo>
                    <a:pt x="299" y="59"/>
                    <a:pt x="297" y="59"/>
                    <a:pt x="297" y="60"/>
                  </a:cubicBezTo>
                  <a:cubicBezTo>
                    <a:pt x="297" y="60"/>
                    <a:pt x="297" y="60"/>
                    <a:pt x="297" y="61"/>
                  </a:cubicBezTo>
                  <a:cubicBezTo>
                    <a:pt x="297" y="61"/>
                    <a:pt x="295" y="63"/>
                    <a:pt x="295" y="63"/>
                  </a:cubicBezTo>
                  <a:cubicBezTo>
                    <a:pt x="294" y="62"/>
                    <a:pt x="294" y="61"/>
                    <a:pt x="294" y="60"/>
                  </a:cubicBezTo>
                  <a:cubicBezTo>
                    <a:pt x="294" y="60"/>
                    <a:pt x="294" y="60"/>
                    <a:pt x="294" y="60"/>
                  </a:cubicBezTo>
                  <a:cubicBezTo>
                    <a:pt x="294" y="60"/>
                    <a:pt x="292" y="58"/>
                    <a:pt x="292" y="57"/>
                  </a:cubicBezTo>
                  <a:cubicBezTo>
                    <a:pt x="292" y="56"/>
                    <a:pt x="291" y="57"/>
                    <a:pt x="290" y="55"/>
                  </a:cubicBezTo>
                  <a:cubicBezTo>
                    <a:pt x="289" y="53"/>
                    <a:pt x="289" y="54"/>
                    <a:pt x="289" y="54"/>
                  </a:cubicBezTo>
                  <a:cubicBezTo>
                    <a:pt x="289" y="54"/>
                    <a:pt x="287" y="53"/>
                    <a:pt x="287" y="52"/>
                  </a:cubicBezTo>
                  <a:cubicBezTo>
                    <a:pt x="286" y="51"/>
                    <a:pt x="286" y="52"/>
                    <a:pt x="285" y="52"/>
                  </a:cubicBezTo>
                  <a:cubicBezTo>
                    <a:pt x="284" y="52"/>
                    <a:pt x="281" y="51"/>
                    <a:pt x="281" y="51"/>
                  </a:cubicBezTo>
                  <a:cubicBezTo>
                    <a:pt x="281" y="51"/>
                    <a:pt x="272" y="48"/>
                    <a:pt x="271" y="48"/>
                  </a:cubicBezTo>
                  <a:cubicBezTo>
                    <a:pt x="271" y="47"/>
                    <a:pt x="268" y="46"/>
                    <a:pt x="267" y="46"/>
                  </a:cubicBezTo>
                  <a:cubicBezTo>
                    <a:pt x="266" y="46"/>
                    <a:pt x="265" y="47"/>
                    <a:pt x="264" y="48"/>
                  </a:cubicBezTo>
                  <a:cubicBezTo>
                    <a:pt x="264" y="48"/>
                    <a:pt x="264" y="49"/>
                    <a:pt x="264" y="49"/>
                  </a:cubicBezTo>
                  <a:cubicBezTo>
                    <a:pt x="263" y="49"/>
                    <a:pt x="264" y="52"/>
                    <a:pt x="265" y="52"/>
                  </a:cubicBezTo>
                  <a:cubicBezTo>
                    <a:pt x="265" y="52"/>
                    <a:pt x="267" y="54"/>
                    <a:pt x="267" y="54"/>
                  </a:cubicBezTo>
                  <a:cubicBezTo>
                    <a:pt x="267" y="55"/>
                    <a:pt x="268" y="56"/>
                    <a:pt x="268" y="58"/>
                  </a:cubicBezTo>
                  <a:cubicBezTo>
                    <a:pt x="268" y="59"/>
                    <a:pt x="269" y="60"/>
                    <a:pt x="268" y="61"/>
                  </a:cubicBezTo>
                  <a:cubicBezTo>
                    <a:pt x="267" y="62"/>
                    <a:pt x="267" y="62"/>
                    <a:pt x="265" y="63"/>
                  </a:cubicBezTo>
                  <a:cubicBezTo>
                    <a:pt x="264" y="63"/>
                    <a:pt x="264" y="64"/>
                    <a:pt x="264" y="64"/>
                  </a:cubicBezTo>
                  <a:cubicBezTo>
                    <a:pt x="263" y="64"/>
                    <a:pt x="262" y="65"/>
                    <a:pt x="262" y="66"/>
                  </a:cubicBezTo>
                  <a:cubicBezTo>
                    <a:pt x="261" y="66"/>
                    <a:pt x="261" y="68"/>
                    <a:pt x="261" y="68"/>
                  </a:cubicBezTo>
                  <a:cubicBezTo>
                    <a:pt x="261" y="69"/>
                    <a:pt x="259" y="70"/>
                    <a:pt x="259" y="70"/>
                  </a:cubicBezTo>
                  <a:cubicBezTo>
                    <a:pt x="259" y="71"/>
                    <a:pt x="258" y="71"/>
                    <a:pt x="258" y="71"/>
                  </a:cubicBezTo>
                  <a:cubicBezTo>
                    <a:pt x="257" y="70"/>
                    <a:pt x="257" y="70"/>
                    <a:pt x="257" y="70"/>
                  </a:cubicBezTo>
                  <a:cubicBezTo>
                    <a:pt x="257" y="69"/>
                    <a:pt x="256" y="67"/>
                    <a:pt x="257" y="66"/>
                  </a:cubicBezTo>
                  <a:cubicBezTo>
                    <a:pt x="258" y="64"/>
                    <a:pt x="259" y="64"/>
                    <a:pt x="259" y="63"/>
                  </a:cubicBezTo>
                  <a:cubicBezTo>
                    <a:pt x="259" y="63"/>
                    <a:pt x="259" y="57"/>
                    <a:pt x="259" y="57"/>
                  </a:cubicBezTo>
                  <a:cubicBezTo>
                    <a:pt x="260" y="56"/>
                    <a:pt x="259" y="55"/>
                    <a:pt x="259" y="53"/>
                  </a:cubicBezTo>
                  <a:cubicBezTo>
                    <a:pt x="260" y="51"/>
                    <a:pt x="258" y="50"/>
                    <a:pt x="258" y="50"/>
                  </a:cubicBezTo>
                  <a:cubicBezTo>
                    <a:pt x="258" y="49"/>
                    <a:pt x="253" y="48"/>
                    <a:pt x="253" y="47"/>
                  </a:cubicBezTo>
                  <a:cubicBezTo>
                    <a:pt x="253" y="46"/>
                    <a:pt x="252" y="47"/>
                    <a:pt x="252" y="46"/>
                  </a:cubicBezTo>
                  <a:cubicBezTo>
                    <a:pt x="252" y="45"/>
                    <a:pt x="247" y="43"/>
                    <a:pt x="247" y="43"/>
                  </a:cubicBezTo>
                  <a:cubicBezTo>
                    <a:pt x="246" y="42"/>
                    <a:pt x="244" y="42"/>
                    <a:pt x="244" y="42"/>
                  </a:cubicBezTo>
                  <a:cubicBezTo>
                    <a:pt x="243" y="43"/>
                    <a:pt x="243" y="43"/>
                    <a:pt x="243" y="43"/>
                  </a:cubicBezTo>
                  <a:cubicBezTo>
                    <a:pt x="243" y="43"/>
                    <a:pt x="240" y="44"/>
                    <a:pt x="240" y="44"/>
                  </a:cubicBezTo>
                  <a:cubicBezTo>
                    <a:pt x="239" y="44"/>
                    <a:pt x="237" y="45"/>
                    <a:pt x="237" y="45"/>
                  </a:cubicBezTo>
                  <a:cubicBezTo>
                    <a:pt x="236" y="45"/>
                    <a:pt x="235" y="46"/>
                    <a:pt x="234" y="46"/>
                  </a:cubicBezTo>
                  <a:cubicBezTo>
                    <a:pt x="234" y="46"/>
                    <a:pt x="232" y="48"/>
                    <a:pt x="232" y="48"/>
                  </a:cubicBezTo>
                  <a:cubicBezTo>
                    <a:pt x="231" y="48"/>
                    <a:pt x="229" y="49"/>
                    <a:pt x="228" y="48"/>
                  </a:cubicBezTo>
                  <a:cubicBezTo>
                    <a:pt x="226" y="48"/>
                    <a:pt x="227" y="49"/>
                    <a:pt x="226" y="49"/>
                  </a:cubicBezTo>
                  <a:cubicBezTo>
                    <a:pt x="226" y="49"/>
                    <a:pt x="225" y="52"/>
                    <a:pt x="225" y="52"/>
                  </a:cubicBezTo>
                  <a:cubicBezTo>
                    <a:pt x="223" y="52"/>
                    <a:pt x="223" y="52"/>
                    <a:pt x="223" y="52"/>
                  </a:cubicBezTo>
                  <a:cubicBezTo>
                    <a:pt x="223" y="52"/>
                    <a:pt x="222" y="52"/>
                    <a:pt x="221" y="50"/>
                  </a:cubicBezTo>
                  <a:cubicBezTo>
                    <a:pt x="221" y="49"/>
                    <a:pt x="221" y="50"/>
                    <a:pt x="220" y="50"/>
                  </a:cubicBezTo>
                  <a:cubicBezTo>
                    <a:pt x="218" y="51"/>
                    <a:pt x="218" y="51"/>
                    <a:pt x="218" y="51"/>
                  </a:cubicBezTo>
                  <a:cubicBezTo>
                    <a:pt x="217" y="52"/>
                    <a:pt x="217" y="52"/>
                    <a:pt x="217" y="52"/>
                  </a:cubicBezTo>
                  <a:cubicBezTo>
                    <a:pt x="214" y="52"/>
                    <a:pt x="214" y="52"/>
                    <a:pt x="214" y="52"/>
                  </a:cubicBezTo>
                  <a:cubicBezTo>
                    <a:pt x="213" y="51"/>
                    <a:pt x="213" y="51"/>
                    <a:pt x="213" y="51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2"/>
                    <a:pt x="207" y="52"/>
                    <a:pt x="207" y="52"/>
                  </a:cubicBezTo>
                  <a:cubicBezTo>
                    <a:pt x="206" y="51"/>
                    <a:pt x="205" y="52"/>
                    <a:pt x="204" y="52"/>
                  </a:cubicBezTo>
                  <a:cubicBezTo>
                    <a:pt x="203" y="52"/>
                    <a:pt x="199" y="53"/>
                    <a:pt x="199" y="53"/>
                  </a:cubicBezTo>
                  <a:cubicBezTo>
                    <a:pt x="198" y="53"/>
                    <a:pt x="197" y="53"/>
                    <a:pt x="196" y="53"/>
                  </a:cubicBezTo>
                  <a:cubicBezTo>
                    <a:pt x="195" y="52"/>
                    <a:pt x="193" y="53"/>
                    <a:pt x="191" y="53"/>
                  </a:cubicBezTo>
                  <a:cubicBezTo>
                    <a:pt x="189" y="53"/>
                    <a:pt x="189" y="54"/>
                    <a:pt x="188" y="54"/>
                  </a:cubicBezTo>
                  <a:cubicBezTo>
                    <a:pt x="187" y="54"/>
                    <a:pt x="186" y="55"/>
                    <a:pt x="185" y="55"/>
                  </a:cubicBezTo>
                  <a:cubicBezTo>
                    <a:pt x="183" y="55"/>
                    <a:pt x="183" y="57"/>
                    <a:pt x="182" y="57"/>
                  </a:cubicBezTo>
                  <a:cubicBezTo>
                    <a:pt x="182" y="58"/>
                    <a:pt x="183" y="58"/>
                    <a:pt x="184" y="59"/>
                  </a:cubicBezTo>
                  <a:cubicBezTo>
                    <a:pt x="185" y="59"/>
                    <a:pt x="185" y="60"/>
                    <a:pt x="186" y="60"/>
                  </a:cubicBezTo>
                  <a:cubicBezTo>
                    <a:pt x="187" y="60"/>
                    <a:pt x="188" y="61"/>
                    <a:pt x="189" y="61"/>
                  </a:cubicBezTo>
                  <a:cubicBezTo>
                    <a:pt x="189" y="61"/>
                    <a:pt x="190" y="62"/>
                    <a:pt x="191" y="63"/>
                  </a:cubicBezTo>
                  <a:cubicBezTo>
                    <a:pt x="191" y="63"/>
                    <a:pt x="192" y="64"/>
                    <a:pt x="192" y="64"/>
                  </a:cubicBezTo>
                  <a:cubicBezTo>
                    <a:pt x="193" y="65"/>
                    <a:pt x="194" y="66"/>
                    <a:pt x="197" y="68"/>
                  </a:cubicBezTo>
                  <a:cubicBezTo>
                    <a:pt x="201" y="69"/>
                    <a:pt x="201" y="67"/>
                    <a:pt x="201" y="67"/>
                  </a:cubicBezTo>
                  <a:cubicBezTo>
                    <a:pt x="202" y="67"/>
                    <a:pt x="203" y="69"/>
                    <a:pt x="204" y="69"/>
                  </a:cubicBezTo>
                  <a:cubicBezTo>
                    <a:pt x="205" y="69"/>
                    <a:pt x="206" y="70"/>
                    <a:pt x="208" y="70"/>
                  </a:cubicBezTo>
                  <a:cubicBezTo>
                    <a:pt x="209" y="70"/>
                    <a:pt x="208" y="70"/>
                    <a:pt x="209" y="71"/>
                  </a:cubicBezTo>
                  <a:cubicBezTo>
                    <a:pt x="210" y="71"/>
                    <a:pt x="211" y="73"/>
                    <a:pt x="212" y="73"/>
                  </a:cubicBezTo>
                  <a:cubicBezTo>
                    <a:pt x="213" y="73"/>
                    <a:pt x="215" y="75"/>
                    <a:pt x="216" y="75"/>
                  </a:cubicBezTo>
                  <a:cubicBezTo>
                    <a:pt x="216" y="75"/>
                    <a:pt x="219" y="76"/>
                    <a:pt x="219" y="77"/>
                  </a:cubicBezTo>
                  <a:cubicBezTo>
                    <a:pt x="219" y="78"/>
                    <a:pt x="218" y="78"/>
                    <a:pt x="218" y="78"/>
                  </a:cubicBezTo>
                  <a:cubicBezTo>
                    <a:pt x="218" y="78"/>
                    <a:pt x="215" y="77"/>
                    <a:pt x="213" y="76"/>
                  </a:cubicBezTo>
                  <a:cubicBezTo>
                    <a:pt x="212" y="76"/>
                    <a:pt x="212" y="76"/>
                    <a:pt x="211" y="75"/>
                  </a:cubicBezTo>
                  <a:cubicBezTo>
                    <a:pt x="210" y="74"/>
                    <a:pt x="210" y="74"/>
                    <a:pt x="210" y="73"/>
                  </a:cubicBezTo>
                  <a:cubicBezTo>
                    <a:pt x="209" y="72"/>
                    <a:pt x="203" y="70"/>
                    <a:pt x="202" y="70"/>
                  </a:cubicBezTo>
                  <a:cubicBezTo>
                    <a:pt x="202" y="70"/>
                    <a:pt x="200" y="70"/>
                    <a:pt x="199" y="70"/>
                  </a:cubicBezTo>
                  <a:cubicBezTo>
                    <a:pt x="199" y="70"/>
                    <a:pt x="196" y="70"/>
                    <a:pt x="196" y="69"/>
                  </a:cubicBezTo>
                  <a:cubicBezTo>
                    <a:pt x="195" y="69"/>
                    <a:pt x="190" y="66"/>
                    <a:pt x="190" y="66"/>
                  </a:cubicBezTo>
                  <a:cubicBezTo>
                    <a:pt x="190" y="66"/>
                    <a:pt x="189" y="65"/>
                    <a:pt x="188" y="62"/>
                  </a:cubicBezTo>
                  <a:cubicBezTo>
                    <a:pt x="187" y="59"/>
                    <a:pt x="188" y="62"/>
                    <a:pt x="187" y="61"/>
                  </a:cubicBezTo>
                  <a:cubicBezTo>
                    <a:pt x="186" y="60"/>
                    <a:pt x="185" y="61"/>
                    <a:pt x="184" y="60"/>
                  </a:cubicBezTo>
                  <a:cubicBezTo>
                    <a:pt x="183" y="59"/>
                    <a:pt x="183" y="60"/>
                    <a:pt x="181" y="59"/>
                  </a:cubicBezTo>
                  <a:cubicBezTo>
                    <a:pt x="178" y="57"/>
                    <a:pt x="179" y="59"/>
                    <a:pt x="176" y="59"/>
                  </a:cubicBezTo>
                  <a:cubicBezTo>
                    <a:pt x="174" y="59"/>
                    <a:pt x="173" y="59"/>
                    <a:pt x="173" y="59"/>
                  </a:cubicBezTo>
                  <a:cubicBezTo>
                    <a:pt x="172" y="58"/>
                    <a:pt x="173" y="59"/>
                    <a:pt x="172" y="58"/>
                  </a:cubicBezTo>
                  <a:cubicBezTo>
                    <a:pt x="171" y="58"/>
                    <a:pt x="169" y="58"/>
                    <a:pt x="169" y="58"/>
                  </a:cubicBezTo>
                  <a:cubicBezTo>
                    <a:pt x="169" y="58"/>
                    <a:pt x="166" y="60"/>
                    <a:pt x="165" y="60"/>
                  </a:cubicBezTo>
                  <a:cubicBezTo>
                    <a:pt x="164" y="60"/>
                    <a:pt x="159" y="61"/>
                    <a:pt x="158" y="61"/>
                  </a:cubicBezTo>
                  <a:cubicBezTo>
                    <a:pt x="156" y="62"/>
                    <a:pt x="155" y="65"/>
                    <a:pt x="154" y="65"/>
                  </a:cubicBezTo>
                  <a:cubicBezTo>
                    <a:pt x="154" y="65"/>
                    <a:pt x="155" y="68"/>
                    <a:pt x="155" y="69"/>
                  </a:cubicBezTo>
                  <a:cubicBezTo>
                    <a:pt x="155" y="69"/>
                    <a:pt x="156" y="67"/>
                    <a:pt x="157" y="69"/>
                  </a:cubicBezTo>
                  <a:cubicBezTo>
                    <a:pt x="157" y="72"/>
                    <a:pt x="158" y="71"/>
                    <a:pt x="159" y="71"/>
                  </a:cubicBezTo>
                  <a:cubicBezTo>
                    <a:pt x="161" y="72"/>
                    <a:pt x="160" y="73"/>
                    <a:pt x="161" y="73"/>
                  </a:cubicBezTo>
                  <a:cubicBezTo>
                    <a:pt x="161" y="73"/>
                    <a:pt x="160" y="74"/>
                    <a:pt x="160" y="74"/>
                  </a:cubicBezTo>
                  <a:cubicBezTo>
                    <a:pt x="160" y="75"/>
                    <a:pt x="159" y="76"/>
                    <a:pt x="158" y="76"/>
                  </a:cubicBezTo>
                  <a:cubicBezTo>
                    <a:pt x="157" y="77"/>
                    <a:pt x="156" y="78"/>
                    <a:pt x="155" y="78"/>
                  </a:cubicBezTo>
                  <a:cubicBezTo>
                    <a:pt x="155" y="79"/>
                    <a:pt x="155" y="81"/>
                    <a:pt x="155" y="81"/>
                  </a:cubicBezTo>
                  <a:cubicBezTo>
                    <a:pt x="156" y="81"/>
                    <a:pt x="157" y="83"/>
                    <a:pt x="158" y="83"/>
                  </a:cubicBezTo>
                  <a:cubicBezTo>
                    <a:pt x="158" y="84"/>
                    <a:pt x="158" y="86"/>
                    <a:pt x="158" y="86"/>
                  </a:cubicBezTo>
                  <a:cubicBezTo>
                    <a:pt x="156" y="87"/>
                    <a:pt x="156" y="87"/>
                    <a:pt x="156" y="87"/>
                  </a:cubicBezTo>
                  <a:cubicBezTo>
                    <a:pt x="155" y="87"/>
                    <a:pt x="155" y="87"/>
                    <a:pt x="155" y="87"/>
                  </a:cubicBezTo>
                  <a:cubicBezTo>
                    <a:pt x="155" y="87"/>
                    <a:pt x="153" y="88"/>
                    <a:pt x="151" y="87"/>
                  </a:cubicBezTo>
                  <a:cubicBezTo>
                    <a:pt x="150" y="86"/>
                    <a:pt x="150" y="87"/>
                    <a:pt x="149" y="86"/>
                  </a:cubicBezTo>
                  <a:cubicBezTo>
                    <a:pt x="147" y="85"/>
                    <a:pt x="148" y="85"/>
                    <a:pt x="147" y="84"/>
                  </a:cubicBezTo>
                  <a:cubicBezTo>
                    <a:pt x="147" y="83"/>
                    <a:pt x="146" y="84"/>
                    <a:pt x="146" y="84"/>
                  </a:cubicBezTo>
                  <a:cubicBezTo>
                    <a:pt x="145" y="83"/>
                    <a:pt x="142" y="82"/>
                    <a:pt x="142" y="82"/>
                  </a:cubicBezTo>
                  <a:cubicBezTo>
                    <a:pt x="141" y="82"/>
                    <a:pt x="138" y="82"/>
                    <a:pt x="137" y="82"/>
                  </a:cubicBezTo>
                  <a:cubicBezTo>
                    <a:pt x="136" y="82"/>
                    <a:pt x="134" y="83"/>
                    <a:pt x="133" y="83"/>
                  </a:cubicBezTo>
                  <a:cubicBezTo>
                    <a:pt x="132" y="82"/>
                    <a:pt x="131" y="84"/>
                    <a:pt x="130" y="83"/>
                  </a:cubicBezTo>
                  <a:cubicBezTo>
                    <a:pt x="129" y="83"/>
                    <a:pt x="128" y="85"/>
                    <a:pt x="128" y="85"/>
                  </a:cubicBezTo>
                  <a:cubicBezTo>
                    <a:pt x="128" y="86"/>
                    <a:pt x="129" y="88"/>
                    <a:pt x="129" y="88"/>
                  </a:cubicBezTo>
                  <a:cubicBezTo>
                    <a:pt x="129" y="88"/>
                    <a:pt x="130" y="91"/>
                    <a:pt x="131" y="92"/>
                  </a:cubicBezTo>
                  <a:cubicBezTo>
                    <a:pt x="131" y="92"/>
                    <a:pt x="131" y="93"/>
                    <a:pt x="130" y="93"/>
                  </a:cubicBezTo>
                  <a:cubicBezTo>
                    <a:pt x="130" y="92"/>
                    <a:pt x="130" y="92"/>
                    <a:pt x="129" y="91"/>
                  </a:cubicBezTo>
                  <a:cubicBezTo>
                    <a:pt x="129" y="91"/>
                    <a:pt x="129" y="91"/>
                    <a:pt x="128" y="89"/>
                  </a:cubicBezTo>
                  <a:cubicBezTo>
                    <a:pt x="128" y="88"/>
                    <a:pt x="128" y="89"/>
                    <a:pt x="128" y="89"/>
                  </a:cubicBezTo>
                  <a:cubicBezTo>
                    <a:pt x="127" y="89"/>
                    <a:pt x="127" y="89"/>
                    <a:pt x="127" y="89"/>
                  </a:cubicBezTo>
                  <a:cubicBezTo>
                    <a:pt x="122" y="86"/>
                    <a:pt x="122" y="86"/>
                    <a:pt x="122" y="86"/>
                  </a:cubicBezTo>
                  <a:cubicBezTo>
                    <a:pt x="122" y="86"/>
                    <a:pt x="121" y="86"/>
                    <a:pt x="120" y="86"/>
                  </a:cubicBezTo>
                  <a:cubicBezTo>
                    <a:pt x="120" y="86"/>
                    <a:pt x="116" y="86"/>
                    <a:pt x="116" y="86"/>
                  </a:cubicBezTo>
                  <a:cubicBezTo>
                    <a:pt x="115" y="86"/>
                    <a:pt x="115" y="86"/>
                    <a:pt x="115" y="86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1"/>
                    <a:pt x="107" y="92"/>
                    <a:pt x="107" y="92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7" y="93"/>
                    <a:pt x="105" y="94"/>
                    <a:pt x="104" y="94"/>
                  </a:cubicBezTo>
                  <a:cubicBezTo>
                    <a:pt x="102" y="94"/>
                    <a:pt x="103" y="94"/>
                    <a:pt x="102" y="94"/>
                  </a:cubicBezTo>
                  <a:cubicBezTo>
                    <a:pt x="101" y="94"/>
                    <a:pt x="101" y="94"/>
                    <a:pt x="101" y="95"/>
                  </a:cubicBezTo>
                  <a:cubicBezTo>
                    <a:pt x="101" y="96"/>
                    <a:pt x="101" y="96"/>
                    <a:pt x="101" y="96"/>
                  </a:cubicBezTo>
                  <a:cubicBezTo>
                    <a:pt x="100" y="98"/>
                    <a:pt x="100" y="98"/>
                    <a:pt x="100" y="98"/>
                  </a:cubicBezTo>
                  <a:cubicBezTo>
                    <a:pt x="98" y="99"/>
                    <a:pt x="98" y="99"/>
                    <a:pt x="98" y="99"/>
                  </a:cubicBezTo>
                  <a:cubicBezTo>
                    <a:pt x="96" y="99"/>
                    <a:pt x="96" y="99"/>
                    <a:pt x="96" y="99"/>
                  </a:cubicBezTo>
                  <a:cubicBezTo>
                    <a:pt x="94" y="99"/>
                    <a:pt x="94" y="99"/>
                    <a:pt x="94" y="99"/>
                  </a:cubicBezTo>
                  <a:cubicBezTo>
                    <a:pt x="93" y="100"/>
                    <a:pt x="93" y="100"/>
                    <a:pt x="93" y="100"/>
                  </a:cubicBezTo>
                  <a:cubicBezTo>
                    <a:pt x="93" y="100"/>
                    <a:pt x="92" y="100"/>
                    <a:pt x="90" y="100"/>
                  </a:cubicBezTo>
                  <a:cubicBezTo>
                    <a:pt x="89" y="100"/>
                    <a:pt x="89" y="101"/>
                    <a:pt x="89" y="101"/>
                  </a:cubicBezTo>
                  <a:cubicBezTo>
                    <a:pt x="88" y="101"/>
                    <a:pt x="84" y="103"/>
                    <a:pt x="84" y="103"/>
                  </a:cubicBezTo>
                  <a:cubicBezTo>
                    <a:pt x="84" y="103"/>
                    <a:pt x="83" y="104"/>
                    <a:pt x="82" y="104"/>
                  </a:cubicBezTo>
                  <a:cubicBezTo>
                    <a:pt x="81" y="104"/>
                    <a:pt x="81" y="106"/>
                    <a:pt x="80" y="106"/>
                  </a:cubicBezTo>
                  <a:cubicBezTo>
                    <a:pt x="80" y="106"/>
                    <a:pt x="77" y="109"/>
                    <a:pt x="76" y="108"/>
                  </a:cubicBezTo>
                  <a:cubicBezTo>
                    <a:pt x="76" y="108"/>
                    <a:pt x="75" y="110"/>
                    <a:pt x="74" y="110"/>
                  </a:cubicBezTo>
                  <a:cubicBezTo>
                    <a:pt x="73" y="111"/>
                    <a:pt x="73" y="111"/>
                    <a:pt x="73" y="112"/>
                  </a:cubicBezTo>
                  <a:cubicBezTo>
                    <a:pt x="73" y="112"/>
                    <a:pt x="72" y="114"/>
                    <a:pt x="73" y="115"/>
                  </a:cubicBezTo>
                  <a:cubicBezTo>
                    <a:pt x="73" y="115"/>
                    <a:pt x="74" y="116"/>
                    <a:pt x="74" y="116"/>
                  </a:cubicBezTo>
                  <a:cubicBezTo>
                    <a:pt x="75" y="116"/>
                    <a:pt x="76" y="117"/>
                    <a:pt x="76" y="117"/>
                  </a:cubicBezTo>
                  <a:cubicBezTo>
                    <a:pt x="77" y="117"/>
                    <a:pt x="78" y="117"/>
                    <a:pt x="79" y="117"/>
                  </a:cubicBezTo>
                  <a:cubicBezTo>
                    <a:pt x="79" y="117"/>
                    <a:pt x="81" y="117"/>
                    <a:pt x="81" y="117"/>
                  </a:cubicBezTo>
                  <a:cubicBezTo>
                    <a:pt x="82" y="117"/>
                    <a:pt x="82" y="117"/>
                    <a:pt x="83" y="117"/>
                  </a:cubicBezTo>
                  <a:cubicBezTo>
                    <a:pt x="83" y="117"/>
                    <a:pt x="85" y="117"/>
                    <a:pt x="86" y="117"/>
                  </a:cubicBezTo>
                  <a:cubicBezTo>
                    <a:pt x="87" y="117"/>
                    <a:pt x="89" y="118"/>
                    <a:pt x="89" y="118"/>
                  </a:cubicBezTo>
                  <a:cubicBezTo>
                    <a:pt x="92" y="120"/>
                    <a:pt x="92" y="120"/>
                    <a:pt x="92" y="120"/>
                  </a:cubicBezTo>
                  <a:cubicBezTo>
                    <a:pt x="92" y="120"/>
                    <a:pt x="93" y="120"/>
                    <a:pt x="94" y="120"/>
                  </a:cubicBezTo>
                  <a:cubicBezTo>
                    <a:pt x="94" y="120"/>
                    <a:pt x="95" y="120"/>
                    <a:pt x="96" y="120"/>
                  </a:cubicBezTo>
                  <a:cubicBezTo>
                    <a:pt x="96" y="119"/>
                    <a:pt x="97" y="119"/>
                    <a:pt x="97" y="119"/>
                  </a:cubicBezTo>
                  <a:cubicBezTo>
                    <a:pt x="98" y="118"/>
                    <a:pt x="99" y="118"/>
                    <a:pt x="99" y="118"/>
                  </a:cubicBezTo>
                  <a:cubicBezTo>
                    <a:pt x="100" y="118"/>
                    <a:pt x="101" y="118"/>
                    <a:pt x="102" y="118"/>
                  </a:cubicBezTo>
                  <a:cubicBezTo>
                    <a:pt x="103" y="117"/>
                    <a:pt x="103" y="118"/>
                    <a:pt x="104" y="118"/>
                  </a:cubicBezTo>
                  <a:cubicBezTo>
                    <a:pt x="104" y="118"/>
                    <a:pt x="106" y="119"/>
                    <a:pt x="107" y="118"/>
                  </a:cubicBezTo>
                  <a:cubicBezTo>
                    <a:pt x="108" y="118"/>
                    <a:pt x="108" y="119"/>
                    <a:pt x="109" y="118"/>
                  </a:cubicBezTo>
                  <a:cubicBezTo>
                    <a:pt x="110" y="118"/>
                    <a:pt x="109" y="118"/>
                    <a:pt x="111" y="117"/>
                  </a:cubicBezTo>
                  <a:cubicBezTo>
                    <a:pt x="112" y="117"/>
                    <a:pt x="113" y="116"/>
                    <a:pt x="113" y="116"/>
                  </a:cubicBezTo>
                  <a:cubicBezTo>
                    <a:pt x="113" y="116"/>
                    <a:pt x="114" y="116"/>
                    <a:pt x="115" y="115"/>
                  </a:cubicBezTo>
                  <a:cubicBezTo>
                    <a:pt x="115" y="115"/>
                    <a:pt x="116" y="115"/>
                    <a:pt x="116" y="115"/>
                  </a:cubicBezTo>
                  <a:cubicBezTo>
                    <a:pt x="116" y="115"/>
                    <a:pt x="116" y="115"/>
                    <a:pt x="117" y="115"/>
                  </a:cubicBezTo>
                  <a:cubicBezTo>
                    <a:pt x="117" y="115"/>
                    <a:pt x="118" y="115"/>
                    <a:pt x="118" y="115"/>
                  </a:cubicBezTo>
                  <a:cubicBezTo>
                    <a:pt x="118" y="115"/>
                    <a:pt x="117" y="116"/>
                    <a:pt x="117" y="116"/>
                  </a:cubicBezTo>
                  <a:cubicBezTo>
                    <a:pt x="116" y="117"/>
                    <a:pt x="115" y="117"/>
                    <a:pt x="115" y="117"/>
                  </a:cubicBezTo>
                  <a:cubicBezTo>
                    <a:pt x="115" y="117"/>
                    <a:pt x="112" y="118"/>
                    <a:pt x="111" y="119"/>
                  </a:cubicBezTo>
                  <a:cubicBezTo>
                    <a:pt x="110" y="119"/>
                    <a:pt x="110" y="119"/>
                    <a:pt x="109" y="119"/>
                  </a:cubicBezTo>
                  <a:cubicBezTo>
                    <a:pt x="109" y="119"/>
                    <a:pt x="107" y="120"/>
                    <a:pt x="107" y="120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5" y="122"/>
                    <a:pt x="104" y="124"/>
                    <a:pt x="104" y="124"/>
                  </a:cubicBezTo>
                  <a:cubicBezTo>
                    <a:pt x="105" y="125"/>
                    <a:pt x="105" y="127"/>
                    <a:pt x="105" y="127"/>
                  </a:cubicBezTo>
                  <a:cubicBezTo>
                    <a:pt x="105" y="129"/>
                    <a:pt x="105" y="129"/>
                    <a:pt x="105" y="129"/>
                  </a:cubicBezTo>
                  <a:cubicBezTo>
                    <a:pt x="106" y="132"/>
                    <a:pt x="106" y="132"/>
                    <a:pt x="106" y="132"/>
                  </a:cubicBezTo>
                  <a:cubicBezTo>
                    <a:pt x="106" y="133"/>
                    <a:pt x="106" y="133"/>
                    <a:pt x="106" y="133"/>
                  </a:cubicBezTo>
                  <a:cubicBezTo>
                    <a:pt x="106" y="135"/>
                    <a:pt x="106" y="135"/>
                    <a:pt x="106" y="135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106" y="136"/>
                    <a:pt x="104" y="136"/>
                    <a:pt x="103" y="136"/>
                  </a:cubicBezTo>
                  <a:cubicBezTo>
                    <a:pt x="103" y="136"/>
                    <a:pt x="103" y="136"/>
                    <a:pt x="103" y="136"/>
                  </a:cubicBezTo>
                  <a:cubicBezTo>
                    <a:pt x="102" y="138"/>
                    <a:pt x="102" y="138"/>
                    <a:pt x="102" y="138"/>
                  </a:cubicBezTo>
                  <a:cubicBezTo>
                    <a:pt x="100" y="139"/>
                    <a:pt x="100" y="139"/>
                    <a:pt x="100" y="139"/>
                  </a:cubicBezTo>
                  <a:cubicBezTo>
                    <a:pt x="99" y="141"/>
                    <a:pt x="99" y="141"/>
                    <a:pt x="99" y="141"/>
                  </a:cubicBezTo>
                  <a:cubicBezTo>
                    <a:pt x="97" y="143"/>
                    <a:pt x="97" y="143"/>
                    <a:pt x="97" y="143"/>
                  </a:cubicBezTo>
                  <a:cubicBezTo>
                    <a:pt x="93" y="144"/>
                    <a:pt x="93" y="144"/>
                    <a:pt x="93" y="144"/>
                  </a:cubicBezTo>
                  <a:cubicBezTo>
                    <a:pt x="93" y="144"/>
                    <a:pt x="93" y="144"/>
                    <a:pt x="91" y="144"/>
                  </a:cubicBezTo>
                  <a:cubicBezTo>
                    <a:pt x="90" y="144"/>
                    <a:pt x="90" y="145"/>
                    <a:pt x="90" y="145"/>
                  </a:cubicBezTo>
                  <a:cubicBezTo>
                    <a:pt x="90" y="145"/>
                    <a:pt x="89" y="145"/>
                    <a:pt x="89" y="145"/>
                  </a:cubicBezTo>
                  <a:cubicBezTo>
                    <a:pt x="88" y="145"/>
                    <a:pt x="87" y="145"/>
                    <a:pt x="87" y="145"/>
                  </a:cubicBezTo>
                  <a:cubicBezTo>
                    <a:pt x="86" y="145"/>
                    <a:pt x="85" y="146"/>
                    <a:pt x="85" y="146"/>
                  </a:cubicBezTo>
                  <a:cubicBezTo>
                    <a:pt x="84" y="146"/>
                    <a:pt x="84" y="146"/>
                    <a:pt x="84" y="146"/>
                  </a:cubicBezTo>
                  <a:cubicBezTo>
                    <a:pt x="84" y="146"/>
                    <a:pt x="83" y="146"/>
                    <a:pt x="82" y="145"/>
                  </a:cubicBezTo>
                  <a:cubicBezTo>
                    <a:pt x="81" y="145"/>
                    <a:pt x="80" y="145"/>
                    <a:pt x="79" y="145"/>
                  </a:cubicBezTo>
                  <a:cubicBezTo>
                    <a:pt x="79" y="145"/>
                    <a:pt x="78" y="145"/>
                    <a:pt x="77" y="146"/>
                  </a:cubicBezTo>
                  <a:cubicBezTo>
                    <a:pt x="76" y="146"/>
                    <a:pt x="74" y="147"/>
                    <a:pt x="74" y="147"/>
                  </a:cubicBezTo>
                  <a:cubicBezTo>
                    <a:pt x="73" y="147"/>
                    <a:pt x="72" y="148"/>
                    <a:pt x="72" y="148"/>
                  </a:cubicBezTo>
                  <a:cubicBezTo>
                    <a:pt x="69" y="149"/>
                    <a:pt x="69" y="149"/>
                    <a:pt x="69" y="149"/>
                  </a:cubicBezTo>
                  <a:cubicBezTo>
                    <a:pt x="69" y="149"/>
                    <a:pt x="68" y="150"/>
                    <a:pt x="66" y="151"/>
                  </a:cubicBezTo>
                  <a:cubicBezTo>
                    <a:pt x="66" y="151"/>
                    <a:pt x="65" y="151"/>
                    <a:pt x="65" y="151"/>
                  </a:cubicBezTo>
                  <a:cubicBezTo>
                    <a:pt x="64" y="151"/>
                    <a:pt x="63" y="150"/>
                    <a:pt x="63" y="149"/>
                  </a:cubicBezTo>
                  <a:cubicBezTo>
                    <a:pt x="63" y="149"/>
                    <a:pt x="60" y="150"/>
                    <a:pt x="59" y="150"/>
                  </a:cubicBezTo>
                  <a:cubicBezTo>
                    <a:pt x="57" y="149"/>
                    <a:pt x="55" y="151"/>
                    <a:pt x="54" y="151"/>
                  </a:cubicBezTo>
                  <a:cubicBezTo>
                    <a:pt x="53" y="152"/>
                    <a:pt x="53" y="152"/>
                    <a:pt x="53" y="152"/>
                  </a:cubicBezTo>
                  <a:cubicBezTo>
                    <a:pt x="52" y="153"/>
                    <a:pt x="52" y="153"/>
                    <a:pt x="52" y="153"/>
                  </a:cubicBezTo>
                  <a:cubicBezTo>
                    <a:pt x="51" y="155"/>
                    <a:pt x="51" y="155"/>
                    <a:pt x="51" y="155"/>
                  </a:cubicBezTo>
                  <a:cubicBezTo>
                    <a:pt x="48" y="157"/>
                    <a:pt x="48" y="157"/>
                    <a:pt x="48" y="157"/>
                  </a:cubicBezTo>
                  <a:cubicBezTo>
                    <a:pt x="48" y="157"/>
                    <a:pt x="41" y="159"/>
                    <a:pt x="41" y="159"/>
                  </a:cubicBezTo>
                  <a:cubicBezTo>
                    <a:pt x="40" y="159"/>
                    <a:pt x="39" y="159"/>
                    <a:pt x="37" y="159"/>
                  </a:cubicBezTo>
                  <a:cubicBezTo>
                    <a:pt x="36" y="158"/>
                    <a:pt x="36" y="159"/>
                    <a:pt x="35" y="159"/>
                  </a:cubicBezTo>
                  <a:cubicBezTo>
                    <a:pt x="35" y="158"/>
                    <a:pt x="33" y="159"/>
                    <a:pt x="33" y="159"/>
                  </a:cubicBezTo>
                  <a:cubicBezTo>
                    <a:pt x="30" y="160"/>
                    <a:pt x="30" y="160"/>
                    <a:pt x="30" y="160"/>
                  </a:cubicBezTo>
                  <a:cubicBezTo>
                    <a:pt x="28" y="161"/>
                    <a:pt x="28" y="161"/>
                    <a:pt x="28" y="161"/>
                  </a:cubicBezTo>
                  <a:cubicBezTo>
                    <a:pt x="26" y="162"/>
                    <a:pt x="26" y="162"/>
                    <a:pt x="26" y="162"/>
                  </a:cubicBezTo>
                  <a:cubicBezTo>
                    <a:pt x="22" y="163"/>
                    <a:pt x="22" y="163"/>
                    <a:pt x="22" y="163"/>
                  </a:cubicBezTo>
                  <a:cubicBezTo>
                    <a:pt x="22" y="163"/>
                    <a:pt x="17" y="163"/>
                    <a:pt x="16" y="162"/>
                  </a:cubicBezTo>
                  <a:cubicBezTo>
                    <a:pt x="16" y="162"/>
                    <a:pt x="15" y="163"/>
                    <a:pt x="15" y="163"/>
                  </a:cubicBezTo>
                  <a:cubicBezTo>
                    <a:pt x="13" y="164"/>
                    <a:pt x="13" y="164"/>
                    <a:pt x="13" y="164"/>
                  </a:cubicBezTo>
                  <a:cubicBezTo>
                    <a:pt x="13" y="165"/>
                    <a:pt x="13" y="165"/>
                    <a:pt x="13" y="165"/>
                  </a:cubicBezTo>
                  <a:cubicBezTo>
                    <a:pt x="12" y="167"/>
                    <a:pt x="12" y="167"/>
                    <a:pt x="12" y="167"/>
                  </a:cubicBezTo>
                  <a:cubicBezTo>
                    <a:pt x="12" y="167"/>
                    <a:pt x="10" y="168"/>
                    <a:pt x="10" y="168"/>
                  </a:cubicBezTo>
                  <a:cubicBezTo>
                    <a:pt x="9" y="167"/>
                    <a:pt x="8" y="168"/>
                    <a:pt x="7" y="167"/>
                  </a:cubicBezTo>
                  <a:cubicBezTo>
                    <a:pt x="6" y="166"/>
                    <a:pt x="6" y="167"/>
                    <a:pt x="5" y="167"/>
                  </a:cubicBezTo>
                  <a:cubicBezTo>
                    <a:pt x="4" y="168"/>
                    <a:pt x="4" y="168"/>
                    <a:pt x="4" y="168"/>
                  </a:cubicBezTo>
                  <a:cubicBezTo>
                    <a:pt x="2" y="169"/>
                    <a:pt x="2" y="169"/>
                    <a:pt x="2" y="169"/>
                  </a:cubicBezTo>
                  <a:cubicBezTo>
                    <a:pt x="2" y="172"/>
                    <a:pt x="2" y="172"/>
                    <a:pt x="2" y="172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75"/>
                    <a:pt x="0" y="176"/>
                    <a:pt x="0" y="176"/>
                  </a:cubicBezTo>
                  <a:cubicBezTo>
                    <a:pt x="0" y="177"/>
                    <a:pt x="3" y="177"/>
                    <a:pt x="4" y="178"/>
                  </a:cubicBezTo>
                  <a:cubicBezTo>
                    <a:pt x="5" y="179"/>
                    <a:pt x="5" y="180"/>
                    <a:pt x="5" y="180"/>
                  </a:cubicBezTo>
                  <a:cubicBezTo>
                    <a:pt x="8" y="181"/>
                    <a:pt x="8" y="181"/>
                    <a:pt x="8" y="181"/>
                  </a:cubicBez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10" y="183"/>
                    <a:pt x="11" y="183"/>
                  </a:cubicBezTo>
                  <a:cubicBezTo>
                    <a:pt x="12" y="183"/>
                    <a:pt x="14" y="184"/>
                    <a:pt x="14" y="184"/>
                  </a:cubicBezTo>
                  <a:cubicBezTo>
                    <a:pt x="14" y="184"/>
                    <a:pt x="16" y="185"/>
                    <a:pt x="16" y="185"/>
                  </a:cubicBezTo>
                  <a:cubicBezTo>
                    <a:pt x="16" y="185"/>
                    <a:pt x="20" y="185"/>
                    <a:pt x="21" y="185"/>
                  </a:cubicBezTo>
                  <a:cubicBezTo>
                    <a:pt x="22" y="185"/>
                    <a:pt x="23" y="186"/>
                    <a:pt x="24" y="185"/>
                  </a:cubicBezTo>
                  <a:cubicBezTo>
                    <a:pt x="25" y="185"/>
                    <a:pt x="26" y="186"/>
                    <a:pt x="26" y="186"/>
                  </a:cubicBezTo>
                  <a:cubicBezTo>
                    <a:pt x="26" y="186"/>
                    <a:pt x="27" y="187"/>
                    <a:pt x="27" y="187"/>
                  </a:cubicBezTo>
                  <a:cubicBezTo>
                    <a:pt x="27" y="187"/>
                    <a:pt x="28" y="188"/>
                    <a:pt x="29" y="188"/>
                  </a:cubicBezTo>
                  <a:cubicBezTo>
                    <a:pt x="29" y="188"/>
                    <a:pt x="31" y="189"/>
                    <a:pt x="31" y="189"/>
                  </a:cubicBezTo>
                  <a:cubicBezTo>
                    <a:pt x="32" y="189"/>
                    <a:pt x="34" y="189"/>
                    <a:pt x="35" y="189"/>
                  </a:cubicBezTo>
                  <a:cubicBezTo>
                    <a:pt x="36" y="189"/>
                    <a:pt x="37" y="189"/>
                    <a:pt x="38" y="189"/>
                  </a:cubicBezTo>
                  <a:cubicBezTo>
                    <a:pt x="39" y="188"/>
                    <a:pt x="39" y="188"/>
                    <a:pt x="39" y="188"/>
                  </a:cubicBezTo>
                  <a:cubicBezTo>
                    <a:pt x="42" y="190"/>
                    <a:pt x="42" y="190"/>
                    <a:pt x="42" y="190"/>
                  </a:cubicBezTo>
                  <a:cubicBezTo>
                    <a:pt x="42" y="191"/>
                    <a:pt x="44" y="192"/>
                    <a:pt x="44" y="191"/>
                  </a:cubicBezTo>
                  <a:cubicBezTo>
                    <a:pt x="44" y="191"/>
                    <a:pt x="44" y="193"/>
                    <a:pt x="44" y="193"/>
                  </a:cubicBezTo>
                  <a:cubicBezTo>
                    <a:pt x="44" y="193"/>
                    <a:pt x="44" y="194"/>
                    <a:pt x="44" y="195"/>
                  </a:cubicBezTo>
                  <a:cubicBezTo>
                    <a:pt x="45" y="195"/>
                    <a:pt x="47" y="195"/>
                    <a:pt x="47" y="195"/>
                  </a:cubicBezTo>
                  <a:cubicBezTo>
                    <a:pt x="48" y="195"/>
                    <a:pt x="49" y="195"/>
                    <a:pt x="49" y="195"/>
                  </a:cubicBezTo>
                  <a:cubicBezTo>
                    <a:pt x="50" y="195"/>
                    <a:pt x="52" y="194"/>
                    <a:pt x="53" y="194"/>
                  </a:cubicBezTo>
                  <a:cubicBezTo>
                    <a:pt x="53" y="193"/>
                    <a:pt x="54" y="192"/>
                    <a:pt x="54" y="192"/>
                  </a:cubicBezTo>
                  <a:cubicBezTo>
                    <a:pt x="55" y="192"/>
                    <a:pt x="57" y="192"/>
                    <a:pt x="57" y="192"/>
                  </a:cubicBezTo>
                  <a:cubicBezTo>
                    <a:pt x="57" y="192"/>
                    <a:pt x="59" y="193"/>
                    <a:pt x="59" y="194"/>
                  </a:cubicBezTo>
                  <a:cubicBezTo>
                    <a:pt x="60" y="194"/>
                    <a:pt x="60" y="194"/>
                    <a:pt x="60" y="194"/>
                  </a:cubicBezTo>
                  <a:cubicBezTo>
                    <a:pt x="60" y="194"/>
                    <a:pt x="65" y="194"/>
                    <a:pt x="65" y="194"/>
                  </a:cubicBezTo>
                  <a:cubicBezTo>
                    <a:pt x="66" y="193"/>
                    <a:pt x="68" y="194"/>
                    <a:pt x="68" y="194"/>
                  </a:cubicBezTo>
                  <a:cubicBezTo>
                    <a:pt x="69" y="193"/>
                    <a:pt x="70" y="194"/>
                    <a:pt x="71" y="194"/>
                  </a:cubicBezTo>
                  <a:cubicBezTo>
                    <a:pt x="71" y="194"/>
                    <a:pt x="73" y="194"/>
                    <a:pt x="74" y="193"/>
                  </a:cubicBezTo>
                  <a:cubicBezTo>
                    <a:pt x="75" y="192"/>
                    <a:pt x="75" y="193"/>
                    <a:pt x="75" y="192"/>
                  </a:cubicBezTo>
                  <a:cubicBezTo>
                    <a:pt x="76" y="191"/>
                    <a:pt x="78" y="190"/>
                    <a:pt x="78" y="189"/>
                  </a:cubicBezTo>
                  <a:cubicBezTo>
                    <a:pt x="79" y="188"/>
                    <a:pt x="80" y="189"/>
                    <a:pt x="81" y="189"/>
                  </a:cubicBezTo>
                  <a:cubicBezTo>
                    <a:pt x="81" y="188"/>
                    <a:pt x="82" y="190"/>
                    <a:pt x="83" y="190"/>
                  </a:cubicBezTo>
                  <a:cubicBezTo>
                    <a:pt x="84" y="190"/>
                    <a:pt x="86" y="191"/>
                    <a:pt x="86" y="191"/>
                  </a:cubicBezTo>
                  <a:cubicBezTo>
                    <a:pt x="87" y="191"/>
                    <a:pt x="88" y="193"/>
                    <a:pt x="89" y="193"/>
                  </a:cubicBezTo>
                  <a:cubicBezTo>
                    <a:pt x="89" y="193"/>
                    <a:pt x="90" y="195"/>
                    <a:pt x="91" y="195"/>
                  </a:cubicBezTo>
                  <a:cubicBezTo>
                    <a:pt x="90" y="195"/>
                    <a:pt x="88" y="197"/>
                    <a:pt x="88" y="197"/>
                  </a:cubicBezTo>
                  <a:cubicBezTo>
                    <a:pt x="88" y="197"/>
                    <a:pt x="87" y="198"/>
                    <a:pt x="86" y="198"/>
                  </a:cubicBezTo>
                  <a:cubicBezTo>
                    <a:pt x="86" y="198"/>
                    <a:pt x="86" y="198"/>
                    <a:pt x="86" y="198"/>
                  </a:cubicBezTo>
                  <a:cubicBezTo>
                    <a:pt x="86" y="198"/>
                    <a:pt x="84" y="199"/>
                    <a:pt x="84" y="199"/>
                  </a:cubicBezTo>
                  <a:cubicBezTo>
                    <a:pt x="83" y="199"/>
                    <a:pt x="83" y="200"/>
                    <a:pt x="82" y="199"/>
                  </a:cubicBezTo>
                  <a:cubicBezTo>
                    <a:pt x="82" y="199"/>
                    <a:pt x="81" y="200"/>
                    <a:pt x="80" y="199"/>
                  </a:cubicBezTo>
                  <a:cubicBezTo>
                    <a:pt x="79" y="198"/>
                    <a:pt x="79" y="199"/>
                    <a:pt x="79" y="198"/>
                  </a:cubicBezTo>
                  <a:cubicBezTo>
                    <a:pt x="78" y="198"/>
                    <a:pt x="77" y="199"/>
                    <a:pt x="76" y="199"/>
                  </a:cubicBezTo>
                  <a:cubicBezTo>
                    <a:pt x="75" y="199"/>
                    <a:pt x="74" y="200"/>
                    <a:pt x="73" y="199"/>
                  </a:cubicBezTo>
                  <a:cubicBezTo>
                    <a:pt x="58" y="199"/>
                    <a:pt x="58" y="199"/>
                    <a:pt x="58" y="199"/>
                  </a:cubicBezTo>
                  <a:cubicBezTo>
                    <a:pt x="58" y="199"/>
                    <a:pt x="58" y="199"/>
                    <a:pt x="56" y="199"/>
                  </a:cubicBezTo>
                  <a:cubicBezTo>
                    <a:pt x="55" y="199"/>
                    <a:pt x="55" y="199"/>
                    <a:pt x="55" y="199"/>
                  </a:cubicBezTo>
                  <a:cubicBezTo>
                    <a:pt x="53" y="200"/>
                    <a:pt x="53" y="200"/>
                    <a:pt x="53" y="200"/>
                  </a:cubicBezTo>
                  <a:cubicBezTo>
                    <a:pt x="53" y="200"/>
                    <a:pt x="53" y="201"/>
                    <a:pt x="52" y="201"/>
                  </a:cubicBezTo>
                  <a:cubicBezTo>
                    <a:pt x="52" y="201"/>
                    <a:pt x="48" y="202"/>
                    <a:pt x="48" y="202"/>
                  </a:cubicBezTo>
                  <a:cubicBezTo>
                    <a:pt x="48" y="202"/>
                    <a:pt x="40" y="203"/>
                    <a:pt x="40" y="203"/>
                  </a:cubicBezTo>
                  <a:cubicBezTo>
                    <a:pt x="40" y="203"/>
                    <a:pt x="37" y="203"/>
                    <a:pt x="36" y="203"/>
                  </a:cubicBezTo>
                  <a:cubicBezTo>
                    <a:pt x="35" y="203"/>
                    <a:pt x="34" y="203"/>
                    <a:pt x="34" y="203"/>
                  </a:cubicBezTo>
                  <a:cubicBezTo>
                    <a:pt x="33" y="203"/>
                    <a:pt x="33" y="203"/>
                    <a:pt x="32" y="203"/>
                  </a:cubicBezTo>
                  <a:cubicBezTo>
                    <a:pt x="31" y="203"/>
                    <a:pt x="30" y="203"/>
                    <a:pt x="29" y="203"/>
                  </a:cubicBezTo>
                  <a:cubicBezTo>
                    <a:pt x="28" y="203"/>
                    <a:pt x="26" y="203"/>
                    <a:pt x="26" y="203"/>
                  </a:cubicBezTo>
                  <a:cubicBezTo>
                    <a:pt x="24" y="204"/>
                    <a:pt x="24" y="204"/>
                    <a:pt x="24" y="204"/>
                  </a:cubicBezTo>
                  <a:cubicBezTo>
                    <a:pt x="24" y="204"/>
                    <a:pt x="22" y="205"/>
                    <a:pt x="21" y="206"/>
                  </a:cubicBezTo>
                  <a:cubicBezTo>
                    <a:pt x="21" y="206"/>
                    <a:pt x="21" y="208"/>
                    <a:pt x="21" y="208"/>
                  </a:cubicBezTo>
                  <a:cubicBezTo>
                    <a:pt x="22" y="209"/>
                    <a:pt x="22" y="209"/>
                    <a:pt x="22" y="209"/>
                  </a:cubicBezTo>
                  <a:cubicBezTo>
                    <a:pt x="23" y="209"/>
                    <a:pt x="24" y="210"/>
                    <a:pt x="24" y="210"/>
                  </a:cubicBezTo>
                  <a:cubicBezTo>
                    <a:pt x="25" y="210"/>
                    <a:pt x="26" y="211"/>
                    <a:pt x="26" y="211"/>
                  </a:cubicBezTo>
                  <a:cubicBezTo>
                    <a:pt x="27" y="212"/>
                    <a:pt x="27" y="212"/>
                    <a:pt x="27" y="212"/>
                  </a:cubicBezTo>
                  <a:cubicBezTo>
                    <a:pt x="29" y="213"/>
                    <a:pt x="29" y="213"/>
                    <a:pt x="29" y="213"/>
                  </a:cubicBezTo>
                  <a:cubicBezTo>
                    <a:pt x="29" y="213"/>
                    <a:pt x="30" y="213"/>
                    <a:pt x="30" y="213"/>
                  </a:cubicBezTo>
                  <a:cubicBezTo>
                    <a:pt x="30" y="213"/>
                    <a:pt x="32" y="213"/>
                    <a:pt x="33" y="213"/>
                  </a:cubicBezTo>
                  <a:cubicBezTo>
                    <a:pt x="33" y="213"/>
                    <a:pt x="34" y="213"/>
                    <a:pt x="35" y="212"/>
                  </a:cubicBezTo>
                  <a:cubicBezTo>
                    <a:pt x="35" y="212"/>
                    <a:pt x="36" y="212"/>
                    <a:pt x="36" y="211"/>
                  </a:cubicBezTo>
                  <a:cubicBezTo>
                    <a:pt x="40" y="210"/>
                    <a:pt x="40" y="210"/>
                    <a:pt x="40" y="210"/>
                  </a:cubicBezTo>
                  <a:cubicBezTo>
                    <a:pt x="40" y="211"/>
                    <a:pt x="40" y="211"/>
                    <a:pt x="40" y="211"/>
                  </a:cubicBezTo>
                  <a:cubicBezTo>
                    <a:pt x="39" y="212"/>
                    <a:pt x="39" y="212"/>
                    <a:pt x="39" y="212"/>
                  </a:cubicBezTo>
                  <a:cubicBezTo>
                    <a:pt x="39" y="214"/>
                    <a:pt x="39" y="214"/>
                    <a:pt x="39" y="214"/>
                  </a:cubicBezTo>
                  <a:cubicBezTo>
                    <a:pt x="40" y="216"/>
                    <a:pt x="40" y="216"/>
                    <a:pt x="40" y="216"/>
                  </a:cubicBezTo>
                  <a:cubicBezTo>
                    <a:pt x="42" y="217"/>
                    <a:pt x="42" y="217"/>
                    <a:pt x="42" y="217"/>
                  </a:cubicBezTo>
                  <a:cubicBezTo>
                    <a:pt x="42" y="217"/>
                    <a:pt x="44" y="217"/>
                    <a:pt x="44" y="217"/>
                  </a:cubicBezTo>
                  <a:cubicBezTo>
                    <a:pt x="45" y="217"/>
                    <a:pt x="46" y="217"/>
                    <a:pt x="46" y="217"/>
                  </a:cubicBezTo>
                  <a:cubicBezTo>
                    <a:pt x="47" y="216"/>
                    <a:pt x="48" y="217"/>
                    <a:pt x="49" y="217"/>
                  </a:cubicBezTo>
                  <a:cubicBezTo>
                    <a:pt x="49" y="217"/>
                    <a:pt x="51" y="217"/>
                    <a:pt x="51" y="217"/>
                  </a:cubicBezTo>
                  <a:cubicBezTo>
                    <a:pt x="53" y="217"/>
                    <a:pt x="53" y="217"/>
                    <a:pt x="53" y="217"/>
                  </a:cubicBezTo>
                  <a:cubicBezTo>
                    <a:pt x="55" y="218"/>
                    <a:pt x="55" y="218"/>
                    <a:pt x="55" y="218"/>
                  </a:cubicBezTo>
                  <a:cubicBezTo>
                    <a:pt x="55" y="218"/>
                    <a:pt x="57" y="218"/>
                    <a:pt x="58" y="218"/>
                  </a:cubicBezTo>
                  <a:cubicBezTo>
                    <a:pt x="58" y="218"/>
                    <a:pt x="59" y="218"/>
                    <a:pt x="59" y="218"/>
                  </a:cubicBezTo>
                  <a:cubicBezTo>
                    <a:pt x="60" y="217"/>
                    <a:pt x="60" y="218"/>
                    <a:pt x="60" y="217"/>
                  </a:cubicBezTo>
                  <a:cubicBezTo>
                    <a:pt x="60" y="217"/>
                    <a:pt x="64" y="219"/>
                    <a:pt x="64" y="219"/>
                  </a:cubicBezTo>
                  <a:cubicBezTo>
                    <a:pt x="64" y="220"/>
                    <a:pt x="64" y="220"/>
                    <a:pt x="64" y="220"/>
                  </a:cubicBezTo>
                  <a:cubicBezTo>
                    <a:pt x="63" y="221"/>
                    <a:pt x="63" y="221"/>
                    <a:pt x="63" y="221"/>
                  </a:cubicBezTo>
                  <a:cubicBezTo>
                    <a:pt x="59" y="222"/>
                    <a:pt x="59" y="222"/>
                    <a:pt x="59" y="222"/>
                  </a:cubicBezTo>
                  <a:cubicBezTo>
                    <a:pt x="57" y="221"/>
                    <a:pt x="57" y="221"/>
                    <a:pt x="57" y="221"/>
                  </a:cubicBezTo>
                  <a:cubicBezTo>
                    <a:pt x="56" y="221"/>
                    <a:pt x="56" y="221"/>
                    <a:pt x="56" y="221"/>
                  </a:cubicBezTo>
                  <a:cubicBezTo>
                    <a:pt x="55" y="221"/>
                    <a:pt x="55" y="221"/>
                    <a:pt x="55" y="221"/>
                  </a:cubicBezTo>
                  <a:cubicBezTo>
                    <a:pt x="55" y="221"/>
                    <a:pt x="54" y="222"/>
                    <a:pt x="53" y="223"/>
                  </a:cubicBezTo>
                  <a:cubicBezTo>
                    <a:pt x="53" y="223"/>
                    <a:pt x="53" y="223"/>
                    <a:pt x="52" y="223"/>
                  </a:cubicBezTo>
                  <a:cubicBezTo>
                    <a:pt x="52" y="223"/>
                    <a:pt x="51" y="223"/>
                    <a:pt x="51" y="223"/>
                  </a:cubicBezTo>
                  <a:cubicBezTo>
                    <a:pt x="49" y="224"/>
                    <a:pt x="49" y="224"/>
                    <a:pt x="49" y="224"/>
                  </a:cubicBezTo>
                  <a:cubicBezTo>
                    <a:pt x="48" y="225"/>
                    <a:pt x="48" y="225"/>
                    <a:pt x="48" y="225"/>
                  </a:cubicBezTo>
                  <a:cubicBezTo>
                    <a:pt x="47" y="226"/>
                    <a:pt x="47" y="226"/>
                    <a:pt x="47" y="226"/>
                  </a:cubicBezTo>
                  <a:cubicBezTo>
                    <a:pt x="49" y="227"/>
                    <a:pt x="49" y="227"/>
                    <a:pt x="49" y="227"/>
                  </a:cubicBezTo>
                  <a:cubicBezTo>
                    <a:pt x="49" y="227"/>
                    <a:pt x="50" y="229"/>
                    <a:pt x="50" y="230"/>
                  </a:cubicBezTo>
                  <a:cubicBezTo>
                    <a:pt x="51" y="231"/>
                    <a:pt x="52" y="232"/>
                    <a:pt x="52" y="231"/>
                  </a:cubicBezTo>
                  <a:cubicBezTo>
                    <a:pt x="53" y="232"/>
                    <a:pt x="53" y="232"/>
                    <a:pt x="53" y="232"/>
                  </a:cubicBezTo>
                  <a:cubicBezTo>
                    <a:pt x="53" y="232"/>
                    <a:pt x="56" y="233"/>
                    <a:pt x="56" y="233"/>
                  </a:cubicBezTo>
                  <a:cubicBezTo>
                    <a:pt x="56" y="233"/>
                    <a:pt x="59" y="234"/>
                    <a:pt x="59" y="234"/>
                  </a:cubicBezTo>
                  <a:cubicBezTo>
                    <a:pt x="61" y="236"/>
                    <a:pt x="61" y="236"/>
                    <a:pt x="61" y="236"/>
                  </a:cubicBezTo>
                  <a:cubicBezTo>
                    <a:pt x="61" y="236"/>
                    <a:pt x="64" y="237"/>
                    <a:pt x="66" y="237"/>
                  </a:cubicBezTo>
                  <a:cubicBezTo>
                    <a:pt x="67" y="237"/>
                    <a:pt x="67" y="237"/>
                    <a:pt x="68" y="237"/>
                  </a:cubicBezTo>
                  <a:cubicBezTo>
                    <a:pt x="70" y="236"/>
                    <a:pt x="71" y="237"/>
                    <a:pt x="72" y="237"/>
                  </a:cubicBezTo>
                  <a:cubicBezTo>
                    <a:pt x="74" y="236"/>
                    <a:pt x="75" y="237"/>
                    <a:pt x="76" y="237"/>
                  </a:cubicBezTo>
                  <a:cubicBezTo>
                    <a:pt x="77" y="236"/>
                    <a:pt x="77" y="237"/>
                    <a:pt x="77" y="237"/>
                  </a:cubicBezTo>
                  <a:cubicBezTo>
                    <a:pt x="78" y="236"/>
                    <a:pt x="79" y="237"/>
                    <a:pt x="79" y="237"/>
                  </a:cubicBezTo>
                  <a:cubicBezTo>
                    <a:pt x="80" y="236"/>
                    <a:pt x="80" y="236"/>
                    <a:pt x="80" y="236"/>
                  </a:cubicBezTo>
                  <a:cubicBezTo>
                    <a:pt x="80" y="236"/>
                    <a:pt x="79" y="235"/>
                    <a:pt x="79" y="234"/>
                  </a:cubicBezTo>
                  <a:cubicBezTo>
                    <a:pt x="79" y="234"/>
                    <a:pt x="78" y="233"/>
                    <a:pt x="77" y="232"/>
                  </a:cubicBezTo>
                  <a:cubicBezTo>
                    <a:pt x="77" y="231"/>
                    <a:pt x="78" y="231"/>
                    <a:pt x="78" y="230"/>
                  </a:cubicBezTo>
                  <a:cubicBezTo>
                    <a:pt x="78" y="229"/>
                    <a:pt x="79" y="231"/>
                    <a:pt x="79" y="230"/>
                  </a:cubicBezTo>
                  <a:cubicBezTo>
                    <a:pt x="80" y="230"/>
                    <a:pt x="80" y="231"/>
                    <a:pt x="81" y="230"/>
                  </a:cubicBezTo>
                  <a:cubicBezTo>
                    <a:pt x="82" y="230"/>
                    <a:pt x="83" y="233"/>
                    <a:pt x="83" y="233"/>
                  </a:cubicBezTo>
                  <a:cubicBezTo>
                    <a:pt x="84" y="233"/>
                    <a:pt x="84" y="234"/>
                    <a:pt x="85" y="234"/>
                  </a:cubicBezTo>
                  <a:cubicBezTo>
                    <a:pt x="85" y="235"/>
                    <a:pt x="87" y="234"/>
                    <a:pt x="87" y="234"/>
                  </a:cubicBezTo>
                  <a:cubicBezTo>
                    <a:pt x="87" y="234"/>
                    <a:pt x="87" y="234"/>
                    <a:pt x="88" y="232"/>
                  </a:cubicBezTo>
                  <a:cubicBezTo>
                    <a:pt x="88" y="229"/>
                    <a:pt x="88" y="231"/>
                    <a:pt x="88" y="230"/>
                  </a:cubicBezTo>
                  <a:cubicBezTo>
                    <a:pt x="88" y="230"/>
                    <a:pt x="90" y="230"/>
                    <a:pt x="90" y="229"/>
                  </a:cubicBezTo>
                  <a:cubicBezTo>
                    <a:pt x="90" y="229"/>
                    <a:pt x="92" y="230"/>
                    <a:pt x="92" y="230"/>
                  </a:cubicBezTo>
                  <a:cubicBezTo>
                    <a:pt x="95" y="231"/>
                    <a:pt x="95" y="231"/>
                    <a:pt x="95" y="231"/>
                  </a:cubicBezTo>
                  <a:cubicBezTo>
                    <a:pt x="95" y="232"/>
                    <a:pt x="95" y="232"/>
                    <a:pt x="95" y="232"/>
                  </a:cubicBezTo>
                  <a:cubicBezTo>
                    <a:pt x="95" y="232"/>
                    <a:pt x="95" y="235"/>
                    <a:pt x="96" y="235"/>
                  </a:cubicBezTo>
                  <a:cubicBezTo>
                    <a:pt x="96" y="235"/>
                    <a:pt x="100" y="235"/>
                    <a:pt x="100" y="235"/>
                  </a:cubicBezTo>
                  <a:cubicBezTo>
                    <a:pt x="100" y="235"/>
                    <a:pt x="101" y="235"/>
                    <a:pt x="101" y="235"/>
                  </a:cubicBezTo>
                  <a:cubicBezTo>
                    <a:pt x="102" y="234"/>
                    <a:pt x="103" y="234"/>
                    <a:pt x="104" y="234"/>
                  </a:cubicBezTo>
                  <a:cubicBezTo>
                    <a:pt x="104" y="234"/>
                    <a:pt x="105" y="234"/>
                    <a:pt x="105" y="233"/>
                  </a:cubicBezTo>
                  <a:cubicBezTo>
                    <a:pt x="106" y="233"/>
                    <a:pt x="107" y="232"/>
                    <a:pt x="107" y="232"/>
                  </a:cubicBezTo>
                  <a:cubicBezTo>
                    <a:pt x="110" y="232"/>
                    <a:pt x="110" y="232"/>
                    <a:pt x="110" y="232"/>
                  </a:cubicBezTo>
                  <a:cubicBezTo>
                    <a:pt x="110" y="232"/>
                    <a:pt x="110" y="231"/>
                    <a:pt x="110" y="230"/>
                  </a:cubicBezTo>
                  <a:cubicBezTo>
                    <a:pt x="110" y="230"/>
                    <a:pt x="111" y="231"/>
                    <a:pt x="111" y="230"/>
                  </a:cubicBezTo>
                  <a:cubicBezTo>
                    <a:pt x="112" y="230"/>
                    <a:pt x="112" y="230"/>
                    <a:pt x="112" y="229"/>
                  </a:cubicBezTo>
                  <a:cubicBezTo>
                    <a:pt x="112" y="228"/>
                    <a:pt x="113" y="228"/>
                    <a:pt x="113" y="228"/>
                  </a:cubicBezTo>
                  <a:cubicBezTo>
                    <a:pt x="113" y="228"/>
                    <a:pt x="114" y="228"/>
                    <a:pt x="114" y="228"/>
                  </a:cubicBezTo>
                  <a:cubicBezTo>
                    <a:pt x="115" y="228"/>
                    <a:pt x="115" y="228"/>
                    <a:pt x="116" y="228"/>
                  </a:cubicBezTo>
                  <a:cubicBezTo>
                    <a:pt x="116" y="228"/>
                    <a:pt x="117" y="230"/>
                    <a:pt x="117" y="230"/>
                  </a:cubicBezTo>
                  <a:cubicBezTo>
                    <a:pt x="118" y="230"/>
                    <a:pt x="120" y="232"/>
                    <a:pt x="120" y="232"/>
                  </a:cubicBezTo>
                  <a:cubicBezTo>
                    <a:pt x="121" y="232"/>
                    <a:pt x="121" y="232"/>
                    <a:pt x="121" y="232"/>
                  </a:cubicBezTo>
                  <a:cubicBezTo>
                    <a:pt x="121" y="232"/>
                    <a:pt x="122" y="231"/>
                    <a:pt x="123" y="230"/>
                  </a:cubicBezTo>
                  <a:cubicBezTo>
                    <a:pt x="124" y="230"/>
                    <a:pt x="124" y="230"/>
                    <a:pt x="124" y="230"/>
                  </a:cubicBezTo>
                  <a:cubicBezTo>
                    <a:pt x="124" y="229"/>
                    <a:pt x="127" y="229"/>
                    <a:pt x="127" y="228"/>
                  </a:cubicBezTo>
                  <a:cubicBezTo>
                    <a:pt x="128" y="227"/>
                    <a:pt x="128" y="226"/>
                    <a:pt x="128" y="225"/>
                  </a:cubicBezTo>
                  <a:cubicBezTo>
                    <a:pt x="128" y="225"/>
                    <a:pt x="129" y="226"/>
                    <a:pt x="130" y="225"/>
                  </a:cubicBezTo>
                  <a:cubicBezTo>
                    <a:pt x="130" y="225"/>
                    <a:pt x="132" y="227"/>
                    <a:pt x="132" y="227"/>
                  </a:cubicBezTo>
                  <a:cubicBezTo>
                    <a:pt x="136" y="229"/>
                    <a:pt x="136" y="229"/>
                    <a:pt x="136" y="229"/>
                  </a:cubicBezTo>
                  <a:cubicBezTo>
                    <a:pt x="136" y="229"/>
                    <a:pt x="138" y="229"/>
                    <a:pt x="139" y="229"/>
                  </a:cubicBezTo>
                  <a:cubicBezTo>
                    <a:pt x="139" y="229"/>
                    <a:pt x="142" y="230"/>
                    <a:pt x="142" y="229"/>
                  </a:cubicBezTo>
                  <a:cubicBezTo>
                    <a:pt x="143" y="229"/>
                    <a:pt x="145" y="230"/>
                    <a:pt x="145" y="230"/>
                  </a:cubicBezTo>
                  <a:cubicBezTo>
                    <a:pt x="146" y="229"/>
                    <a:pt x="147" y="231"/>
                    <a:pt x="147" y="231"/>
                  </a:cubicBezTo>
                  <a:cubicBezTo>
                    <a:pt x="147" y="231"/>
                    <a:pt x="150" y="232"/>
                    <a:pt x="151" y="231"/>
                  </a:cubicBezTo>
                  <a:cubicBezTo>
                    <a:pt x="152" y="231"/>
                    <a:pt x="153" y="232"/>
                    <a:pt x="153" y="232"/>
                  </a:cubicBezTo>
                  <a:cubicBezTo>
                    <a:pt x="153" y="232"/>
                    <a:pt x="157" y="232"/>
                    <a:pt x="159" y="232"/>
                  </a:cubicBezTo>
                  <a:cubicBezTo>
                    <a:pt x="161" y="232"/>
                    <a:pt x="161" y="233"/>
                    <a:pt x="162" y="232"/>
                  </a:cubicBezTo>
                  <a:cubicBezTo>
                    <a:pt x="162" y="232"/>
                    <a:pt x="163" y="233"/>
                    <a:pt x="164" y="233"/>
                  </a:cubicBezTo>
                  <a:cubicBezTo>
                    <a:pt x="164" y="233"/>
                    <a:pt x="166" y="234"/>
                    <a:pt x="166" y="234"/>
                  </a:cubicBezTo>
                  <a:cubicBezTo>
                    <a:pt x="167" y="234"/>
                    <a:pt x="167" y="235"/>
                    <a:pt x="167" y="235"/>
                  </a:cubicBezTo>
                  <a:cubicBezTo>
                    <a:pt x="169" y="236"/>
                    <a:pt x="169" y="236"/>
                    <a:pt x="169" y="236"/>
                  </a:cubicBezTo>
                  <a:cubicBezTo>
                    <a:pt x="169" y="236"/>
                    <a:pt x="171" y="237"/>
                    <a:pt x="171" y="236"/>
                  </a:cubicBezTo>
                  <a:cubicBezTo>
                    <a:pt x="172" y="236"/>
                    <a:pt x="174" y="236"/>
                    <a:pt x="175" y="236"/>
                  </a:cubicBezTo>
                  <a:cubicBezTo>
                    <a:pt x="176" y="236"/>
                    <a:pt x="177" y="237"/>
                    <a:pt x="178" y="237"/>
                  </a:cubicBezTo>
                  <a:cubicBezTo>
                    <a:pt x="178" y="237"/>
                    <a:pt x="180" y="238"/>
                    <a:pt x="180" y="238"/>
                  </a:cubicBezTo>
                  <a:cubicBezTo>
                    <a:pt x="181" y="239"/>
                    <a:pt x="181" y="239"/>
                    <a:pt x="182" y="240"/>
                  </a:cubicBezTo>
                  <a:cubicBezTo>
                    <a:pt x="182" y="241"/>
                    <a:pt x="182" y="241"/>
                    <a:pt x="182" y="241"/>
                  </a:cubicBezTo>
                  <a:cubicBezTo>
                    <a:pt x="184" y="242"/>
                    <a:pt x="184" y="242"/>
                    <a:pt x="184" y="242"/>
                  </a:cubicBezTo>
                  <a:cubicBezTo>
                    <a:pt x="187" y="243"/>
                    <a:pt x="187" y="243"/>
                    <a:pt x="187" y="243"/>
                  </a:cubicBezTo>
                  <a:cubicBezTo>
                    <a:pt x="190" y="243"/>
                    <a:pt x="190" y="243"/>
                    <a:pt x="190" y="243"/>
                  </a:cubicBezTo>
                  <a:cubicBezTo>
                    <a:pt x="193" y="243"/>
                    <a:pt x="193" y="243"/>
                    <a:pt x="193" y="243"/>
                  </a:cubicBezTo>
                  <a:cubicBezTo>
                    <a:pt x="193" y="245"/>
                    <a:pt x="193" y="245"/>
                    <a:pt x="193" y="245"/>
                  </a:cubicBezTo>
                  <a:cubicBezTo>
                    <a:pt x="193" y="245"/>
                    <a:pt x="194" y="248"/>
                    <a:pt x="194" y="248"/>
                  </a:cubicBezTo>
                  <a:cubicBezTo>
                    <a:pt x="195" y="248"/>
                    <a:pt x="196" y="248"/>
                    <a:pt x="196" y="248"/>
                  </a:cubicBezTo>
                  <a:cubicBezTo>
                    <a:pt x="197" y="250"/>
                    <a:pt x="197" y="250"/>
                    <a:pt x="197" y="250"/>
                  </a:cubicBezTo>
                  <a:cubicBezTo>
                    <a:pt x="197" y="251"/>
                    <a:pt x="197" y="251"/>
                    <a:pt x="197" y="251"/>
                  </a:cubicBezTo>
                  <a:cubicBezTo>
                    <a:pt x="197" y="252"/>
                    <a:pt x="197" y="252"/>
                    <a:pt x="197" y="252"/>
                  </a:cubicBezTo>
                  <a:cubicBezTo>
                    <a:pt x="196" y="254"/>
                    <a:pt x="196" y="254"/>
                    <a:pt x="196" y="254"/>
                  </a:cubicBezTo>
                  <a:cubicBezTo>
                    <a:pt x="196" y="256"/>
                    <a:pt x="196" y="256"/>
                    <a:pt x="196" y="256"/>
                  </a:cubicBezTo>
                  <a:cubicBezTo>
                    <a:pt x="197" y="259"/>
                    <a:pt x="197" y="259"/>
                    <a:pt x="197" y="259"/>
                  </a:cubicBezTo>
                  <a:cubicBezTo>
                    <a:pt x="200" y="262"/>
                    <a:pt x="200" y="262"/>
                    <a:pt x="200" y="262"/>
                  </a:cubicBezTo>
                  <a:cubicBezTo>
                    <a:pt x="200" y="262"/>
                    <a:pt x="201" y="262"/>
                    <a:pt x="202" y="262"/>
                  </a:cubicBezTo>
                  <a:cubicBezTo>
                    <a:pt x="202" y="262"/>
                    <a:pt x="204" y="263"/>
                    <a:pt x="204" y="263"/>
                  </a:cubicBezTo>
                  <a:cubicBezTo>
                    <a:pt x="205" y="262"/>
                    <a:pt x="208" y="264"/>
                    <a:pt x="209" y="264"/>
                  </a:cubicBezTo>
                  <a:cubicBezTo>
                    <a:pt x="209" y="265"/>
                    <a:pt x="209" y="265"/>
                    <a:pt x="211" y="266"/>
                  </a:cubicBezTo>
                  <a:cubicBezTo>
                    <a:pt x="213" y="266"/>
                    <a:pt x="212" y="267"/>
                    <a:pt x="213" y="267"/>
                  </a:cubicBezTo>
                  <a:cubicBezTo>
                    <a:pt x="214" y="268"/>
                    <a:pt x="214" y="269"/>
                    <a:pt x="214" y="270"/>
                  </a:cubicBezTo>
                  <a:cubicBezTo>
                    <a:pt x="215" y="272"/>
                    <a:pt x="215" y="272"/>
                    <a:pt x="215" y="272"/>
                  </a:cubicBezTo>
                  <a:cubicBezTo>
                    <a:pt x="217" y="273"/>
                    <a:pt x="217" y="273"/>
                    <a:pt x="217" y="273"/>
                  </a:cubicBezTo>
                  <a:cubicBezTo>
                    <a:pt x="218" y="274"/>
                    <a:pt x="218" y="274"/>
                    <a:pt x="218" y="274"/>
                  </a:cubicBezTo>
                  <a:cubicBezTo>
                    <a:pt x="218" y="274"/>
                    <a:pt x="219" y="275"/>
                    <a:pt x="220" y="274"/>
                  </a:cubicBezTo>
                  <a:cubicBezTo>
                    <a:pt x="221" y="274"/>
                    <a:pt x="222" y="276"/>
                    <a:pt x="222" y="276"/>
                  </a:cubicBezTo>
                  <a:cubicBezTo>
                    <a:pt x="223" y="277"/>
                    <a:pt x="224" y="279"/>
                    <a:pt x="224" y="279"/>
                  </a:cubicBezTo>
                  <a:cubicBezTo>
                    <a:pt x="224" y="279"/>
                    <a:pt x="223" y="280"/>
                    <a:pt x="223" y="280"/>
                  </a:cubicBezTo>
                  <a:cubicBezTo>
                    <a:pt x="223" y="281"/>
                    <a:pt x="223" y="283"/>
                    <a:pt x="223" y="284"/>
                  </a:cubicBezTo>
                  <a:cubicBezTo>
                    <a:pt x="223" y="285"/>
                    <a:pt x="224" y="286"/>
                    <a:pt x="224" y="287"/>
                  </a:cubicBezTo>
                  <a:cubicBezTo>
                    <a:pt x="225" y="287"/>
                    <a:pt x="225" y="290"/>
                    <a:pt x="226" y="290"/>
                  </a:cubicBezTo>
                  <a:cubicBezTo>
                    <a:pt x="226" y="290"/>
                    <a:pt x="227" y="292"/>
                    <a:pt x="228" y="293"/>
                  </a:cubicBezTo>
                  <a:cubicBezTo>
                    <a:pt x="229" y="293"/>
                    <a:pt x="229" y="294"/>
                    <a:pt x="229" y="294"/>
                  </a:cubicBezTo>
                  <a:cubicBezTo>
                    <a:pt x="229" y="294"/>
                    <a:pt x="229" y="294"/>
                    <a:pt x="229" y="294"/>
                  </a:cubicBezTo>
                  <a:cubicBezTo>
                    <a:pt x="229" y="294"/>
                    <a:pt x="230" y="296"/>
                    <a:pt x="231" y="297"/>
                  </a:cubicBezTo>
                  <a:cubicBezTo>
                    <a:pt x="231" y="297"/>
                    <a:pt x="231" y="299"/>
                    <a:pt x="231" y="299"/>
                  </a:cubicBezTo>
                  <a:cubicBezTo>
                    <a:pt x="232" y="301"/>
                    <a:pt x="232" y="301"/>
                    <a:pt x="232" y="301"/>
                  </a:cubicBezTo>
                  <a:cubicBezTo>
                    <a:pt x="232" y="301"/>
                    <a:pt x="232" y="303"/>
                    <a:pt x="233" y="303"/>
                  </a:cubicBezTo>
                  <a:cubicBezTo>
                    <a:pt x="233" y="303"/>
                    <a:pt x="235" y="304"/>
                    <a:pt x="236" y="304"/>
                  </a:cubicBezTo>
                  <a:cubicBezTo>
                    <a:pt x="236" y="305"/>
                    <a:pt x="237" y="306"/>
                    <a:pt x="237" y="306"/>
                  </a:cubicBezTo>
                  <a:cubicBezTo>
                    <a:pt x="237" y="306"/>
                    <a:pt x="237" y="308"/>
                    <a:pt x="237" y="308"/>
                  </a:cubicBezTo>
                  <a:cubicBezTo>
                    <a:pt x="237" y="309"/>
                    <a:pt x="237" y="309"/>
                    <a:pt x="236" y="310"/>
                  </a:cubicBezTo>
                  <a:cubicBezTo>
                    <a:pt x="236" y="312"/>
                    <a:pt x="235" y="316"/>
                    <a:pt x="235" y="316"/>
                  </a:cubicBezTo>
                  <a:cubicBezTo>
                    <a:pt x="236" y="316"/>
                    <a:pt x="236" y="316"/>
                    <a:pt x="236" y="316"/>
                  </a:cubicBezTo>
                  <a:cubicBezTo>
                    <a:pt x="237" y="316"/>
                    <a:pt x="238" y="317"/>
                    <a:pt x="239" y="317"/>
                  </a:cubicBezTo>
                  <a:cubicBezTo>
                    <a:pt x="239" y="316"/>
                    <a:pt x="240" y="316"/>
                    <a:pt x="241" y="316"/>
                  </a:cubicBezTo>
                  <a:cubicBezTo>
                    <a:pt x="241" y="316"/>
                    <a:pt x="242" y="317"/>
                    <a:pt x="243" y="317"/>
                  </a:cubicBezTo>
                  <a:cubicBezTo>
                    <a:pt x="244" y="316"/>
                    <a:pt x="244" y="318"/>
                    <a:pt x="245" y="318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5" y="320"/>
                    <a:pt x="244" y="322"/>
                    <a:pt x="245" y="323"/>
                  </a:cubicBezTo>
                  <a:cubicBezTo>
                    <a:pt x="245" y="324"/>
                    <a:pt x="244" y="325"/>
                    <a:pt x="244" y="326"/>
                  </a:cubicBezTo>
                  <a:cubicBezTo>
                    <a:pt x="244" y="326"/>
                    <a:pt x="244" y="327"/>
                    <a:pt x="245" y="328"/>
                  </a:cubicBezTo>
                  <a:cubicBezTo>
                    <a:pt x="246" y="328"/>
                    <a:pt x="246" y="329"/>
                    <a:pt x="248" y="329"/>
                  </a:cubicBezTo>
                  <a:cubicBezTo>
                    <a:pt x="250" y="329"/>
                    <a:pt x="249" y="332"/>
                    <a:pt x="249" y="332"/>
                  </a:cubicBezTo>
                  <a:cubicBezTo>
                    <a:pt x="248" y="332"/>
                    <a:pt x="247" y="330"/>
                    <a:pt x="246" y="332"/>
                  </a:cubicBezTo>
                  <a:cubicBezTo>
                    <a:pt x="245" y="334"/>
                    <a:pt x="245" y="334"/>
                    <a:pt x="244" y="335"/>
                  </a:cubicBezTo>
                  <a:cubicBezTo>
                    <a:pt x="244" y="335"/>
                    <a:pt x="244" y="336"/>
                    <a:pt x="243" y="336"/>
                  </a:cubicBezTo>
                  <a:cubicBezTo>
                    <a:pt x="242" y="338"/>
                    <a:pt x="242" y="338"/>
                    <a:pt x="242" y="338"/>
                  </a:cubicBezTo>
                  <a:cubicBezTo>
                    <a:pt x="241" y="340"/>
                    <a:pt x="241" y="340"/>
                    <a:pt x="241" y="340"/>
                  </a:cubicBezTo>
                  <a:cubicBezTo>
                    <a:pt x="241" y="340"/>
                    <a:pt x="240" y="341"/>
                    <a:pt x="238" y="342"/>
                  </a:cubicBezTo>
                  <a:cubicBezTo>
                    <a:pt x="237" y="344"/>
                    <a:pt x="237" y="344"/>
                    <a:pt x="236" y="344"/>
                  </a:cubicBezTo>
                  <a:cubicBezTo>
                    <a:pt x="236" y="344"/>
                    <a:pt x="237" y="345"/>
                    <a:pt x="238" y="345"/>
                  </a:cubicBezTo>
                  <a:cubicBezTo>
                    <a:pt x="238" y="345"/>
                    <a:pt x="239" y="345"/>
                    <a:pt x="239" y="345"/>
                  </a:cubicBezTo>
                  <a:cubicBezTo>
                    <a:pt x="240" y="345"/>
                    <a:pt x="240" y="345"/>
                    <a:pt x="242" y="343"/>
                  </a:cubicBezTo>
                  <a:cubicBezTo>
                    <a:pt x="243" y="342"/>
                    <a:pt x="244" y="342"/>
                    <a:pt x="244" y="341"/>
                  </a:cubicBezTo>
                  <a:cubicBezTo>
                    <a:pt x="245" y="340"/>
                    <a:pt x="246" y="340"/>
                    <a:pt x="246" y="340"/>
                  </a:cubicBezTo>
                  <a:cubicBezTo>
                    <a:pt x="246" y="342"/>
                    <a:pt x="246" y="342"/>
                    <a:pt x="246" y="342"/>
                  </a:cubicBezTo>
                  <a:cubicBezTo>
                    <a:pt x="245" y="343"/>
                    <a:pt x="245" y="343"/>
                    <a:pt x="245" y="343"/>
                  </a:cubicBezTo>
                  <a:cubicBezTo>
                    <a:pt x="244" y="344"/>
                    <a:pt x="244" y="344"/>
                    <a:pt x="244" y="344"/>
                  </a:cubicBezTo>
                  <a:cubicBezTo>
                    <a:pt x="242" y="345"/>
                    <a:pt x="242" y="345"/>
                    <a:pt x="242" y="345"/>
                  </a:cubicBezTo>
                  <a:cubicBezTo>
                    <a:pt x="239" y="348"/>
                    <a:pt x="239" y="348"/>
                    <a:pt x="239" y="348"/>
                  </a:cubicBezTo>
                  <a:cubicBezTo>
                    <a:pt x="237" y="348"/>
                    <a:pt x="237" y="348"/>
                    <a:pt x="237" y="348"/>
                  </a:cubicBezTo>
                  <a:cubicBezTo>
                    <a:pt x="235" y="349"/>
                    <a:pt x="235" y="349"/>
                    <a:pt x="235" y="349"/>
                  </a:cubicBezTo>
                  <a:cubicBezTo>
                    <a:pt x="235" y="349"/>
                    <a:pt x="233" y="350"/>
                    <a:pt x="232" y="350"/>
                  </a:cubicBezTo>
                  <a:cubicBezTo>
                    <a:pt x="232" y="350"/>
                    <a:pt x="231" y="351"/>
                    <a:pt x="231" y="351"/>
                  </a:cubicBezTo>
                  <a:cubicBezTo>
                    <a:pt x="231" y="351"/>
                    <a:pt x="231" y="352"/>
                    <a:pt x="231" y="353"/>
                  </a:cubicBezTo>
                  <a:cubicBezTo>
                    <a:pt x="232" y="353"/>
                    <a:pt x="233" y="355"/>
                    <a:pt x="233" y="355"/>
                  </a:cubicBezTo>
                  <a:cubicBezTo>
                    <a:pt x="234" y="355"/>
                    <a:pt x="235" y="356"/>
                    <a:pt x="236" y="356"/>
                  </a:cubicBezTo>
                  <a:cubicBezTo>
                    <a:pt x="236" y="356"/>
                    <a:pt x="239" y="356"/>
                    <a:pt x="240" y="356"/>
                  </a:cubicBezTo>
                  <a:cubicBezTo>
                    <a:pt x="240" y="356"/>
                    <a:pt x="242" y="356"/>
                    <a:pt x="242" y="356"/>
                  </a:cubicBezTo>
                  <a:cubicBezTo>
                    <a:pt x="243" y="356"/>
                    <a:pt x="244" y="356"/>
                    <a:pt x="244" y="357"/>
                  </a:cubicBezTo>
                  <a:cubicBezTo>
                    <a:pt x="243" y="357"/>
                    <a:pt x="251" y="357"/>
                    <a:pt x="251" y="357"/>
                  </a:cubicBezTo>
                  <a:cubicBezTo>
                    <a:pt x="252" y="356"/>
                    <a:pt x="253" y="356"/>
                    <a:pt x="254" y="356"/>
                  </a:cubicBezTo>
                  <a:cubicBezTo>
                    <a:pt x="254" y="355"/>
                    <a:pt x="255" y="355"/>
                    <a:pt x="255" y="353"/>
                  </a:cubicBezTo>
                  <a:cubicBezTo>
                    <a:pt x="256" y="351"/>
                    <a:pt x="255" y="350"/>
                    <a:pt x="256" y="350"/>
                  </a:cubicBezTo>
                  <a:cubicBezTo>
                    <a:pt x="258" y="349"/>
                    <a:pt x="257" y="350"/>
                    <a:pt x="258" y="349"/>
                  </a:cubicBezTo>
                  <a:cubicBezTo>
                    <a:pt x="258" y="349"/>
                    <a:pt x="259" y="348"/>
                    <a:pt x="259" y="348"/>
                  </a:cubicBezTo>
                  <a:cubicBezTo>
                    <a:pt x="261" y="346"/>
                    <a:pt x="261" y="346"/>
                    <a:pt x="261" y="346"/>
                  </a:cubicBezTo>
                  <a:cubicBezTo>
                    <a:pt x="259" y="342"/>
                    <a:pt x="259" y="342"/>
                    <a:pt x="259" y="342"/>
                  </a:cubicBezTo>
                  <a:cubicBezTo>
                    <a:pt x="259" y="342"/>
                    <a:pt x="258" y="341"/>
                    <a:pt x="258" y="340"/>
                  </a:cubicBezTo>
                  <a:cubicBezTo>
                    <a:pt x="258" y="339"/>
                    <a:pt x="257" y="339"/>
                    <a:pt x="257" y="338"/>
                  </a:cubicBezTo>
                  <a:cubicBezTo>
                    <a:pt x="256" y="337"/>
                    <a:pt x="256" y="336"/>
                    <a:pt x="256" y="336"/>
                  </a:cubicBezTo>
                  <a:cubicBezTo>
                    <a:pt x="255" y="336"/>
                    <a:pt x="256" y="334"/>
                    <a:pt x="257" y="333"/>
                  </a:cubicBezTo>
                  <a:cubicBezTo>
                    <a:pt x="258" y="332"/>
                    <a:pt x="257" y="336"/>
                    <a:pt x="257" y="336"/>
                  </a:cubicBezTo>
                  <a:cubicBezTo>
                    <a:pt x="257" y="336"/>
                    <a:pt x="258" y="339"/>
                    <a:pt x="259" y="340"/>
                  </a:cubicBezTo>
                  <a:cubicBezTo>
                    <a:pt x="259" y="341"/>
                    <a:pt x="261" y="342"/>
                    <a:pt x="261" y="342"/>
                  </a:cubicBezTo>
                  <a:cubicBezTo>
                    <a:pt x="262" y="342"/>
                    <a:pt x="262" y="344"/>
                    <a:pt x="262" y="345"/>
                  </a:cubicBezTo>
                  <a:cubicBezTo>
                    <a:pt x="264" y="346"/>
                    <a:pt x="264" y="346"/>
                    <a:pt x="264" y="346"/>
                  </a:cubicBezTo>
                  <a:cubicBezTo>
                    <a:pt x="264" y="346"/>
                    <a:pt x="267" y="344"/>
                    <a:pt x="267" y="344"/>
                  </a:cubicBezTo>
                  <a:cubicBezTo>
                    <a:pt x="267" y="343"/>
                    <a:pt x="268" y="344"/>
                    <a:pt x="269" y="344"/>
                  </a:cubicBezTo>
                  <a:cubicBezTo>
                    <a:pt x="269" y="344"/>
                    <a:pt x="269" y="345"/>
                    <a:pt x="268" y="346"/>
                  </a:cubicBezTo>
                  <a:cubicBezTo>
                    <a:pt x="268" y="346"/>
                    <a:pt x="267" y="347"/>
                    <a:pt x="266" y="347"/>
                  </a:cubicBezTo>
                  <a:cubicBezTo>
                    <a:pt x="266" y="349"/>
                    <a:pt x="266" y="349"/>
                    <a:pt x="266" y="349"/>
                  </a:cubicBezTo>
                  <a:cubicBezTo>
                    <a:pt x="267" y="351"/>
                    <a:pt x="267" y="351"/>
                    <a:pt x="267" y="351"/>
                  </a:cubicBezTo>
                  <a:cubicBezTo>
                    <a:pt x="267" y="351"/>
                    <a:pt x="269" y="351"/>
                    <a:pt x="269" y="351"/>
                  </a:cubicBezTo>
                  <a:cubicBezTo>
                    <a:pt x="269" y="350"/>
                    <a:pt x="270" y="351"/>
                    <a:pt x="271" y="350"/>
                  </a:cubicBezTo>
                  <a:cubicBezTo>
                    <a:pt x="272" y="350"/>
                    <a:pt x="272" y="350"/>
                    <a:pt x="272" y="350"/>
                  </a:cubicBezTo>
                  <a:cubicBezTo>
                    <a:pt x="273" y="351"/>
                    <a:pt x="273" y="351"/>
                    <a:pt x="273" y="351"/>
                  </a:cubicBezTo>
                  <a:cubicBezTo>
                    <a:pt x="273" y="351"/>
                    <a:pt x="276" y="352"/>
                    <a:pt x="277" y="351"/>
                  </a:cubicBezTo>
                  <a:cubicBezTo>
                    <a:pt x="278" y="351"/>
                    <a:pt x="277" y="352"/>
                    <a:pt x="277" y="352"/>
                  </a:cubicBezTo>
                  <a:cubicBezTo>
                    <a:pt x="276" y="354"/>
                    <a:pt x="276" y="354"/>
                    <a:pt x="276" y="354"/>
                  </a:cubicBezTo>
                  <a:cubicBezTo>
                    <a:pt x="279" y="356"/>
                    <a:pt x="279" y="356"/>
                    <a:pt x="279" y="356"/>
                  </a:cubicBezTo>
                  <a:cubicBezTo>
                    <a:pt x="279" y="355"/>
                    <a:pt x="279" y="356"/>
                    <a:pt x="280" y="356"/>
                  </a:cubicBezTo>
                  <a:cubicBezTo>
                    <a:pt x="281" y="355"/>
                    <a:pt x="281" y="357"/>
                    <a:pt x="281" y="356"/>
                  </a:cubicBezTo>
                  <a:cubicBezTo>
                    <a:pt x="282" y="355"/>
                    <a:pt x="283" y="354"/>
                    <a:pt x="283" y="354"/>
                  </a:cubicBezTo>
                  <a:cubicBezTo>
                    <a:pt x="284" y="354"/>
                    <a:pt x="285" y="354"/>
                    <a:pt x="287" y="353"/>
                  </a:cubicBezTo>
                  <a:cubicBezTo>
                    <a:pt x="289" y="352"/>
                    <a:pt x="289" y="355"/>
                    <a:pt x="289" y="355"/>
                  </a:cubicBezTo>
                  <a:cubicBezTo>
                    <a:pt x="289" y="356"/>
                    <a:pt x="288" y="356"/>
                    <a:pt x="287" y="356"/>
                  </a:cubicBezTo>
                  <a:cubicBezTo>
                    <a:pt x="287" y="356"/>
                    <a:pt x="286" y="358"/>
                    <a:pt x="286" y="358"/>
                  </a:cubicBezTo>
                  <a:cubicBezTo>
                    <a:pt x="287" y="359"/>
                    <a:pt x="287" y="359"/>
                    <a:pt x="287" y="359"/>
                  </a:cubicBezTo>
                  <a:cubicBezTo>
                    <a:pt x="287" y="359"/>
                    <a:pt x="285" y="361"/>
                    <a:pt x="284" y="361"/>
                  </a:cubicBezTo>
                  <a:cubicBezTo>
                    <a:pt x="283" y="362"/>
                    <a:pt x="282" y="362"/>
                    <a:pt x="282" y="362"/>
                  </a:cubicBezTo>
                  <a:cubicBezTo>
                    <a:pt x="283" y="363"/>
                    <a:pt x="283" y="363"/>
                    <a:pt x="283" y="363"/>
                  </a:cubicBezTo>
                  <a:cubicBezTo>
                    <a:pt x="283" y="364"/>
                    <a:pt x="284" y="364"/>
                    <a:pt x="284" y="364"/>
                  </a:cubicBezTo>
                  <a:cubicBezTo>
                    <a:pt x="285" y="364"/>
                    <a:pt x="287" y="364"/>
                    <a:pt x="287" y="364"/>
                  </a:cubicBezTo>
                  <a:cubicBezTo>
                    <a:pt x="290" y="366"/>
                    <a:pt x="290" y="366"/>
                    <a:pt x="290" y="366"/>
                  </a:cubicBezTo>
                  <a:cubicBezTo>
                    <a:pt x="291" y="368"/>
                    <a:pt x="291" y="368"/>
                    <a:pt x="291" y="368"/>
                  </a:cubicBezTo>
                  <a:cubicBezTo>
                    <a:pt x="291" y="368"/>
                    <a:pt x="292" y="370"/>
                    <a:pt x="293" y="370"/>
                  </a:cubicBezTo>
                  <a:cubicBezTo>
                    <a:pt x="294" y="371"/>
                    <a:pt x="294" y="371"/>
                    <a:pt x="294" y="371"/>
                  </a:cubicBezTo>
                  <a:cubicBezTo>
                    <a:pt x="296" y="372"/>
                    <a:pt x="296" y="372"/>
                    <a:pt x="296" y="372"/>
                  </a:cubicBezTo>
                  <a:cubicBezTo>
                    <a:pt x="296" y="372"/>
                    <a:pt x="296" y="373"/>
                    <a:pt x="296" y="374"/>
                  </a:cubicBezTo>
                  <a:cubicBezTo>
                    <a:pt x="296" y="374"/>
                    <a:pt x="296" y="376"/>
                    <a:pt x="296" y="376"/>
                  </a:cubicBezTo>
                  <a:cubicBezTo>
                    <a:pt x="296" y="378"/>
                    <a:pt x="296" y="378"/>
                    <a:pt x="296" y="378"/>
                  </a:cubicBezTo>
                  <a:cubicBezTo>
                    <a:pt x="298" y="380"/>
                    <a:pt x="298" y="380"/>
                    <a:pt x="298" y="380"/>
                  </a:cubicBezTo>
                  <a:cubicBezTo>
                    <a:pt x="298" y="382"/>
                    <a:pt x="298" y="382"/>
                    <a:pt x="298" y="382"/>
                  </a:cubicBezTo>
                  <a:cubicBezTo>
                    <a:pt x="296" y="383"/>
                    <a:pt x="296" y="383"/>
                    <a:pt x="296" y="383"/>
                  </a:cubicBezTo>
                  <a:cubicBezTo>
                    <a:pt x="295" y="383"/>
                    <a:pt x="295" y="383"/>
                    <a:pt x="295" y="383"/>
                  </a:cubicBezTo>
                  <a:cubicBezTo>
                    <a:pt x="293" y="383"/>
                    <a:pt x="293" y="383"/>
                    <a:pt x="293" y="383"/>
                  </a:cubicBezTo>
                  <a:cubicBezTo>
                    <a:pt x="292" y="383"/>
                    <a:pt x="292" y="383"/>
                    <a:pt x="292" y="383"/>
                  </a:cubicBezTo>
                  <a:cubicBezTo>
                    <a:pt x="290" y="382"/>
                    <a:pt x="290" y="382"/>
                    <a:pt x="290" y="382"/>
                  </a:cubicBezTo>
                  <a:cubicBezTo>
                    <a:pt x="290" y="382"/>
                    <a:pt x="289" y="381"/>
                    <a:pt x="288" y="382"/>
                  </a:cubicBezTo>
                  <a:cubicBezTo>
                    <a:pt x="288" y="382"/>
                    <a:pt x="287" y="382"/>
                    <a:pt x="286" y="381"/>
                  </a:cubicBezTo>
                  <a:cubicBezTo>
                    <a:pt x="285" y="381"/>
                    <a:pt x="285" y="381"/>
                    <a:pt x="285" y="381"/>
                  </a:cubicBezTo>
                  <a:cubicBezTo>
                    <a:pt x="283" y="379"/>
                    <a:pt x="283" y="379"/>
                    <a:pt x="283" y="379"/>
                  </a:cubicBezTo>
                  <a:cubicBezTo>
                    <a:pt x="282" y="379"/>
                    <a:pt x="282" y="379"/>
                    <a:pt x="282" y="379"/>
                  </a:cubicBezTo>
                  <a:cubicBezTo>
                    <a:pt x="282" y="379"/>
                    <a:pt x="279" y="378"/>
                    <a:pt x="278" y="377"/>
                  </a:cubicBezTo>
                  <a:cubicBezTo>
                    <a:pt x="278" y="376"/>
                    <a:pt x="276" y="376"/>
                    <a:pt x="275" y="376"/>
                  </a:cubicBezTo>
                  <a:cubicBezTo>
                    <a:pt x="275" y="375"/>
                    <a:pt x="273" y="375"/>
                    <a:pt x="273" y="375"/>
                  </a:cubicBezTo>
                  <a:cubicBezTo>
                    <a:pt x="273" y="374"/>
                    <a:pt x="271" y="374"/>
                    <a:pt x="271" y="374"/>
                  </a:cubicBezTo>
                  <a:cubicBezTo>
                    <a:pt x="271" y="373"/>
                    <a:pt x="269" y="374"/>
                    <a:pt x="268" y="373"/>
                  </a:cubicBezTo>
                  <a:cubicBezTo>
                    <a:pt x="267" y="373"/>
                    <a:pt x="266" y="372"/>
                    <a:pt x="264" y="372"/>
                  </a:cubicBezTo>
                  <a:cubicBezTo>
                    <a:pt x="263" y="372"/>
                    <a:pt x="263" y="373"/>
                    <a:pt x="262" y="372"/>
                  </a:cubicBezTo>
                  <a:cubicBezTo>
                    <a:pt x="262" y="372"/>
                    <a:pt x="261" y="373"/>
                    <a:pt x="260" y="373"/>
                  </a:cubicBezTo>
                  <a:cubicBezTo>
                    <a:pt x="259" y="373"/>
                    <a:pt x="255" y="373"/>
                    <a:pt x="255" y="373"/>
                  </a:cubicBezTo>
                  <a:cubicBezTo>
                    <a:pt x="254" y="372"/>
                    <a:pt x="251" y="373"/>
                    <a:pt x="251" y="373"/>
                  </a:cubicBezTo>
                  <a:cubicBezTo>
                    <a:pt x="250" y="373"/>
                    <a:pt x="250" y="373"/>
                    <a:pt x="249" y="374"/>
                  </a:cubicBezTo>
                  <a:cubicBezTo>
                    <a:pt x="248" y="374"/>
                    <a:pt x="248" y="375"/>
                    <a:pt x="248" y="375"/>
                  </a:cubicBezTo>
                  <a:cubicBezTo>
                    <a:pt x="248" y="375"/>
                    <a:pt x="248" y="376"/>
                    <a:pt x="249" y="377"/>
                  </a:cubicBezTo>
                  <a:cubicBezTo>
                    <a:pt x="249" y="378"/>
                    <a:pt x="250" y="379"/>
                    <a:pt x="250" y="379"/>
                  </a:cubicBezTo>
                  <a:cubicBezTo>
                    <a:pt x="250" y="379"/>
                    <a:pt x="252" y="381"/>
                    <a:pt x="252" y="381"/>
                  </a:cubicBezTo>
                  <a:cubicBezTo>
                    <a:pt x="253" y="381"/>
                    <a:pt x="253" y="382"/>
                    <a:pt x="254" y="382"/>
                  </a:cubicBezTo>
                  <a:cubicBezTo>
                    <a:pt x="255" y="382"/>
                    <a:pt x="255" y="382"/>
                    <a:pt x="256" y="382"/>
                  </a:cubicBezTo>
                  <a:cubicBezTo>
                    <a:pt x="258" y="383"/>
                    <a:pt x="258" y="383"/>
                    <a:pt x="259" y="382"/>
                  </a:cubicBezTo>
                  <a:cubicBezTo>
                    <a:pt x="259" y="382"/>
                    <a:pt x="260" y="383"/>
                    <a:pt x="260" y="383"/>
                  </a:cubicBezTo>
                  <a:cubicBezTo>
                    <a:pt x="262" y="383"/>
                    <a:pt x="262" y="383"/>
                    <a:pt x="262" y="383"/>
                  </a:cubicBezTo>
                  <a:cubicBezTo>
                    <a:pt x="263" y="383"/>
                    <a:pt x="265" y="384"/>
                    <a:pt x="265" y="384"/>
                  </a:cubicBezTo>
                  <a:cubicBezTo>
                    <a:pt x="266" y="384"/>
                    <a:pt x="269" y="384"/>
                    <a:pt x="270" y="384"/>
                  </a:cubicBezTo>
                  <a:cubicBezTo>
                    <a:pt x="271" y="384"/>
                    <a:pt x="271" y="385"/>
                    <a:pt x="272" y="385"/>
                  </a:cubicBezTo>
                  <a:cubicBezTo>
                    <a:pt x="272" y="386"/>
                    <a:pt x="272" y="387"/>
                    <a:pt x="272" y="387"/>
                  </a:cubicBezTo>
                  <a:cubicBezTo>
                    <a:pt x="274" y="388"/>
                    <a:pt x="274" y="388"/>
                    <a:pt x="274" y="388"/>
                  </a:cubicBezTo>
                  <a:cubicBezTo>
                    <a:pt x="274" y="388"/>
                    <a:pt x="276" y="390"/>
                    <a:pt x="276" y="390"/>
                  </a:cubicBezTo>
                  <a:cubicBezTo>
                    <a:pt x="276" y="390"/>
                    <a:pt x="278" y="391"/>
                    <a:pt x="279" y="391"/>
                  </a:cubicBezTo>
                  <a:cubicBezTo>
                    <a:pt x="279" y="391"/>
                    <a:pt x="280" y="391"/>
                    <a:pt x="280" y="391"/>
                  </a:cubicBezTo>
                  <a:cubicBezTo>
                    <a:pt x="282" y="391"/>
                    <a:pt x="282" y="391"/>
                    <a:pt x="282" y="391"/>
                  </a:cubicBezTo>
                  <a:cubicBezTo>
                    <a:pt x="282" y="391"/>
                    <a:pt x="285" y="392"/>
                    <a:pt x="285" y="391"/>
                  </a:cubicBezTo>
                  <a:cubicBezTo>
                    <a:pt x="286" y="391"/>
                    <a:pt x="286" y="392"/>
                    <a:pt x="286" y="392"/>
                  </a:cubicBezTo>
                  <a:cubicBezTo>
                    <a:pt x="286" y="392"/>
                    <a:pt x="288" y="392"/>
                    <a:pt x="289" y="392"/>
                  </a:cubicBezTo>
                  <a:cubicBezTo>
                    <a:pt x="289" y="391"/>
                    <a:pt x="290" y="391"/>
                    <a:pt x="290" y="391"/>
                  </a:cubicBezTo>
                  <a:cubicBezTo>
                    <a:pt x="290" y="390"/>
                    <a:pt x="291" y="390"/>
                    <a:pt x="291" y="390"/>
                  </a:cubicBezTo>
                  <a:cubicBezTo>
                    <a:pt x="292" y="390"/>
                    <a:pt x="292" y="390"/>
                    <a:pt x="292" y="390"/>
                  </a:cubicBezTo>
                  <a:cubicBezTo>
                    <a:pt x="293" y="391"/>
                    <a:pt x="293" y="391"/>
                    <a:pt x="293" y="391"/>
                  </a:cubicBezTo>
                  <a:cubicBezTo>
                    <a:pt x="296" y="391"/>
                    <a:pt x="296" y="391"/>
                    <a:pt x="296" y="391"/>
                  </a:cubicBezTo>
                  <a:cubicBezTo>
                    <a:pt x="299" y="392"/>
                    <a:pt x="299" y="392"/>
                    <a:pt x="299" y="392"/>
                  </a:cubicBezTo>
                  <a:cubicBezTo>
                    <a:pt x="299" y="392"/>
                    <a:pt x="302" y="391"/>
                    <a:pt x="303" y="391"/>
                  </a:cubicBezTo>
                  <a:cubicBezTo>
                    <a:pt x="303" y="391"/>
                    <a:pt x="305" y="391"/>
                    <a:pt x="305" y="391"/>
                  </a:cubicBezTo>
                  <a:cubicBezTo>
                    <a:pt x="306" y="391"/>
                    <a:pt x="305" y="392"/>
                    <a:pt x="305" y="392"/>
                  </a:cubicBezTo>
                  <a:cubicBezTo>
                    <a:pt x="304" y="394"/>
                    <a:pt x="304" y="394"/>
                    <a:pt x="304" y="394"/>
                  </a:cubicBezTo>
                  <a:cubicBezTo>
                    <a:pt x="304" y="394"/>
                    <a:pt x="305" y="395"/>
                    <a:pt x="305" y="395"/>
                  </a:cubicBezTo>
                  <a:cubicBezTo>
                    <a:pt x="306" y="395"/>
                    <a:pt x="306" y="396"/>
                    <a:pt x="305" y="397"/>
                  </a:cubicBezTo>
                  <a:cubicBezTo>
                    <a:pt x="305" y="397"/>
                    <a:pt x="304" y="398"/>
                    <a:pt x="303" y="398"/>
                  </a:cubicBezTo>
                  <a:cubicBezTo>
                    <a:pt x="302" y="399"/>
                    <a:pt x="302" y="399"/>
                    <a:pt x="302" y="399"/>
                  </a:cubicBezTo>
                  <a:cubicBezTo>
                    <a:pt x="303" y="401"/>
                    <a:pt x="303" y="401"/>
                    <a:pt x="303" y="401"/>
                  </a:cubicBezTo>
                  <a:cubicBezTo>
                    <a:pt x="303" y="402"/>
                    <a:pt x="303" y="402"/>
                    <a:pt x="303" y="402"/>
                  </a:cubicBezTo>
                  <a:cubicBezTo>
                    <a:pt x="302" y="404"/>
                    <a:pt x="302" y="404"/>
                    <a:pt x="302" y="404"/>
                  </a:cubicBezTo>
                  <a:cubicBezTo>
                    <a:pt x="302" y="404"/>
                    <a:pt x="300" y="405"/>
                    <a:pt x="299" y="406"/>
                  </a:cubicBezTo>
                  <a:cubicBezTo>
                    <a:pt x="298" y="406"/>
                    <a:pt x="298" y="407"/>
                    <a:pt x="298" y="407"/>
                  </a:cubicBezTo>
                  <a:cubicBezTo>
                    <a:pt x="297" y="408"/>
                    <a:pt x="297" y="408"/>
                    <a:pt x="297" y="409"/>
                  </a:cubicBezTo>
                  <a:cubicBezTo>
                    <a:pt x="298" y="409"/>
                    <a:pt x="298" y="410"/>
                    <a:pt x="299" y="409"/>
                  </a:cubicBezTo>
                  <a:cubicBezTo>
                    <a:pt x="300" y="409"/>
                    <a:pt x="300" y="411"/>
                    <a:pt x="301" y="411"/>
                  </a:cubicBezTo>
                  <a:cubicBezTo>
                    <a:pt x="301" y="411"/>
                    <a:pt x="301" y="414"/>
                    <a:pt x="302" y="414"/>
                  </a:cubicBezTo>
                  <a:cubicBezTo>
                    <a:pt x="305" y="412"/>
                    <a:pt x="305" y="412"/>
                    <a:pt x="305" y="412"/>
                  </a:cubicBezTo>
                  <a:cubicBezTo>
                    <a:pt x="304" y="419"/>
                    <a:pt x="304" y="419"/>
                    <a:pt x="304" y="419"/>
                  </a:cubicBezTo>
                  <a:cubicBezTo>
                    <a:pt x="304" y="419"/>
                    <a:pt x="302" y="419"/>
                    <a:pt x="301" y="418"/>
                  </a:cubicBezTo>
                  <a:cubicBezTo>
                    <a:pt x="301" y="417"/>
                    <a:pt x="300" y="418"/>
                    <a:pt x="300" y="417"/>
                  </a:cubicBezTo>
                  <a:cubicBezTo>
                    <a:pt x="299" y="417"/>
                    <a:pt x="298" y="417"/>
                    <a:pt x="298" y="416"/>
                  </a:cubicBezTo>
                  <a:cubicBezTo>
                    <a:pt x="298" y="416"/>
                    <a:pt x="296" y="416"/>
                    <a:pt x="296" y="416"/>
                  </a:cubicBezTo>
                  <a:cubicBezTo>
                    <a:pt x="295" y="416"/>
                    <a:pt x="295" y="416"/>
                    <a:pt x="295" y="416"/>
                  </a:cubicBezTo>
                  <a:cubicBezTo>
                    <a:pt x="294" y="417"/>
                    <a:pt x="294" y="417"/>
                    <a:pt x="294" y="417"/>
                  </a:cubicBezTo>
                  <a:cubicBezTo>
                    <a:pt x="294" y="420"/>
                    <a:pt x="294" y="420"/>
                    <a:pt x="294" y="420"/>
                  </a:cubicBezTo>
                  <a:cubicBezTo>
                    <a:pt x="294" y="420"/>
                    <a:pt x="296" y="421"/>
                    <a:pt x="296" y="420"/>
                  </a:cubicBezTo>
                  <a:cubicBezTo>
                    <a:pt x="297" y="420"/>
                    <a:pt x="297" y="422"/>
                    <a:pt x="297" y="422"/>
                  </a:cubicBezTo>
                  <a:cubicBezTo>
                    <a:pt x="297" y="423"/>
                    <a:pt x="297" y="423"/>
                    <a:pt x="297" y="423"/>
                  </a:cubicBezTo>
                  <a:cubicBezTo>
                    <a:pt x="296" y="423"/>
                    <a:pt x="294" y="424"/>
                    <a:pt x="293" y="425"/>
                  </a:cubicBezTo>
                  <a:cubicBezTo>
                    <a:pt x="292" y="425"/>
                    <a:pt x="293" y="426"/>
                    <a:pt x="293" y="427"/>
                  </a:cubicBezTo>
                  <a:cubicBezTo>
                    <a:pt x="294" y="427"/>
                    <a:pt x="293" y="428"/>
                    <a:pt x="294" y="428"/>
                  </a:cubicBezTo>
                  <a:cubicBezTo>
                    <a:pt x="295" y="428"/>
                    <a:pt x="296" y="429"/>
                    <a:pt x="296" y="429"/>
                  </a:cubicBezTo>
                  <a:cubicBezTo>
                    <a:pt x="296" y="429"/>
                    <a:pt x="296" y="429"/>
                    <a:pt x="295" y="430"/>
                  </a:cubicBezTo>
                  <a:cubicBezTo>
                    <a:pt x="295" y="431"/>
                    <a:pt x="294" y="431"/>
                    <a:pt x="294" y="431"/>
                  </a:cubicBezTo>
                  <a:cubicBezTo>
                    <a:pt x="294" y="431"/>
                    <a:pt x="293" y="431"/>
                    <a:pt x="294" y="432"/>
                  </a:cubicBezTo>
                  <a:cubicBezTo>
                    <a:pt x="294" y="432"/>
                    <a:pt x="294" y="434"/>
                    <a:pt x="294" y="434"/>
                  </a:cubicBezTo>
                  <a:cubicBezTo>
                    <a:pt x="294" y="435"/>
                    <a:pt x="294" y="435"/>
                    <a:pt x="294" y="435"/>
                  </a:cubicBezTo>
                  <a:cubicBezTo>
                    <a:pt x="295" y="434"/>
                    <a:pt x="295" y="436"/>
                    <a:pt x="295" y="435"/>
                  </a:cubicBezTo>
                  <a:cubicBezTo>
                    <a:pt x="296" y="435"/>
                    <a:pt x="296" y="437"/>
                    <a:pt x="296" y="437"/>
                  </a:cubicBezTo>
                  <a:cubicBezTo>
                    <a:pt x="297" y="438"/>
                    <a:pt x="297" y="438"/>
                    <a:pt x="297" y="438"/>
                  </a:cubicBezTo>
                  <a:cubicBezTo>
                    <a:pt x="297" y="439"/>
                    <a:pt x="298" y="439"/>
                    <a:pt x="300" y="440"/>
                  </a:cubicBezTo>
                  <a:cubicBezTo>
                    <a:pt x="301" y="440"/>
                    <a:pt x="300" y="441"/>
                    <a:pt x="300" y="441"/>
                  </a:cubicBezTo>
                  <a:cubicBezTo>
                    <a:pt x="301" y="440"/>
                    <a:pt x="301" y="440"/>
                    <a:pt x="302" y="440"/>
                  </a:cubicBezTo>
                  <a:cubicBezTo>
                    <a:pt x="302" y="439"/>
                    <a:pt x="303" y="440"/>
                    <a:pt x="304" y="439"/>
                  </a:cubicBezTo>
                  <a:cubicBezTo>
                    <a:pt x="305" y="439"/>
                    <a:pt x="305" y="441"/>
                    <a:pt x="305" y="441"/>
                  </a:cubicBezTo>
                  <a:cubicBezTo>
                    <a:pt x="305" y="442"/>
                    <a:pt x="305" y="442"/>
                    <a:pt x="305" y="442"/>
                  </a:cubicBezTo>
                  <a:cubicBezTo>
                    <a:pt x="306" y="443"/>
                    <a:pt x="306" y="443"/>
                    <a:pt x="306" y="443"/>
                  </a:cubicBezTo>
                  <a:cubicBezTo>
                    <a:pt x="305" y="444"/>
                    <a:pt x="305" y="444"/>
                    <a:pt x="305" y="444"/>
                  </a:cubicBezTo>
                  <a:cubicBezTo>
                    <a:pt x="306" y="445"/>
                    <a:pt x="306" y="445"/>
                    <a:pt x="306" y="445"/>
                  </a:cubicBezTo>
                  <a:cubicBezTo>
                    <a:pt x="307" y="446"/>
                    <a:pt x="307" y="446"/>
                    <a:pt x="307" y="446"/>
                  </a:cubicBezTo>
                  <a:cubicBezTo>
                    <a:pt x="307" y="447"/>
                    <a:pt x="307" y="447"/>
                    <a:pt x="307" y="447"/>
                  </a:cubicBezTo>
                  <a:cubicBezTo>
                    <a:pt x="306" y="448"/>
                    <a:pt x="306" y="448"/>
                    <a:pt x="306" y="448"/>
                  </a:cubicBezTo>
                  <a:cubicBezTo>
                    <a:pt x="304" y="448"/>
                    <a:pt x="304" y="448"/>
                    <a:pt x="304" y="448"/>
                  </a:cubicBezTo>
                  <a:cubicBezTo>
                    <a:pt x="302" y="448"/>
                    <a:pt x="302" y="448"/>
                    <a:pt x="302" y="448"/>
                  </a:cubicBezTo>
                  <a:cubicBezTo>
                    <a:pt x="300" y="448"/>
                    <a:pt x="300" y="448"/>
                    <a:pt x="300" y="448"/>
                  </a:cubicBezTo>
                  <a:cubicBezTo>
                    <a:pt x="300" y="449"/>
                    <a:pt x="300" y="449"/>
                    <a:pt x="300" y="449"/>
                  </a:cubicBezTo>
                  <a:cubicBezTo>
                    <a:pt x="300" y="449"/>
                    <a:pt x="302" y="451"/>
                    <a:pt x="303" y="450"/>
                  </a:cubicBezTo>
                  <a:cubicBezTo>
                    <a:pt x="303" y="450"/>
                    <a:pt x="305" y="451"/>
                    <a:pt x="305" y="451"/>
                  </a:cubicBezTo>
                  <a:cubicBezTo>
                    <a:pt x="304" y="451"/>
                    <a:pt x="303" y="451"/>
                    <a:pt x="301" y="451"/>
                  </a:cubicBezTo>
                  <a:cubicBezTo>
                    <a:pt x="300" y="451"/>
                    <a:pt x="301" y="451"/>
                    <a:pt x="301" y="451"/>
                  </a:cubicBezTo>
                  <a:cubicBezTo>
                    <a:pt x="301" y="451"/>
                    <a:pt x="300" y="452"/>
                    <a:pt x="297" y="451"/>
                  </a:cubicBezTo>
                  <a:cubicBezTo>
                    <a:pt x="295" y="450"/>
                    <a:pt x="296" y="452"/>
                    <a:pt x="296" y="452"/>
                  </a:cubicBezTo>
                  <a:cubicBezTo>
                    <a:pt x="296" y="452"/>
                    <a:pt x="295" y="451"/>
                    <a:pt x="293" y="450"/>
                  </a:cubicBezTo>
                  <a:cubicBezTo>
                    <a:pt x="292" y="449"/>
                    <a:pt x="291" y="449"/>
                    <a:pt x="291" y="449"/>
                  </a:cubicBezTo>
                  <a:cubicBezTo>
                    <a:pt x="291" y="449"/>
                    <a:pt x="291" y="449"/>
                    <a:pt x="291" y="449"/>
                  </a:cubicBezTo>
                  <a:cubicBezTo>
                    <a:pt x="290" y="447"/>
                    <a:pt x="290" y="449"/>
                    <a:pt x="290" y="448"/>
                  </a:cubicBezTo>
                  <a:cubicBezTo>
                    <a:pt x="289" y="448"/>
                    <a:pt x="288" y="449"/>
                    <a:pt x="288" y="448"/>
                  </a:cubicBezTo>
                  <a:cubicBezTo>
                    <a:pt x="287" y="447"/>
                    <a:pt x="287" y="449"/>
                    <a:pt x="286" y="448"/>
                  </a:cubicBezTo>
                  <a:cubicBezTo>
                    <a:pt x="285" y="448"/>
                    <a:pt x="285" y="449"/>
                    <a:pt x="284" y="449"/>
                  </a:cubicBezTo>
                  <a:cubicBezTo>
                    <a:pt x="284" y="448"/>
                    <a:pt x="284" y="449"/>
                    <a:pt x="283" y="449"/>
                  </a:cubicBezTo>
                  <a:cubicBezTo>
                    <a:pt x="283" y="448"/>
                    <a:pt x="283" y="449"/>
                    <a:pt x="282" y="448"/>
                  </a:cubicBezTo>
                  <a:cubicBezTo>
                    <a:pt x="282" y="447"/>
                    <a:pt x="279" y="446"/>
                    <a:pt x="279" y="446"/>
                  </a:cubicBezTo>
                  <a:cubicBezTo>
                    <a:pt x="278" y="446"/>
                    <a:pt x="278" y="446"/>
                    <a:pt x="278" y="446"/>
                  </a:cubicBezTo>
                  <a:cubicBezTo>
                    <a:pt x="273" y="446"/>
                    <a:pt x="273" y="446"/>
                    <a:pt x="273" y="446"/>
                  </a:cubicBezTo>
                  <a:cubicBezTo>
                    <a:pt x="273" y="446"/>
                    <a:pt x="271" y="446"/>
                    <a:pt x="270" y="446"/>
                  </a:cubicBezTo>
                  <a:cubicBezTo>
                    <a:pt x="270" y="446"/>
                    <a:pt x="267" y="447"/>
                    <a:pt x="267" y="447"/>
                  </a:cubicBezTo>
                  <a:cubicBezTo>
                    <a:pt x="266" y="447"/>
                    <a:pt x="265" y="448"/>
                    <a:pt x="265" y="448"/>
                  </a:cubicBezTo>
                  <a:cubicBezTo>
                    <a:pt x="265" y="448"/>
                    <a:pt x="264" y="449"/>
                    <a:pt x="264" y="449"/>
                  </a:cubicBezTo>
                  <a:cubicBezTo>
                    <a:pt x="264" y="450"/>
                    <a:pt x="264" y="450"/>
                    <a:pt x="264" y="450"/>
                  </a:cubicBezTo>
                  <a:cubicBezTo>
                    <a:pt x="264" y="450"/>
                    <a:pt x="262" y="452"/>
                    <a:pt x="258" y="454"/>
                  </a:cubicBezTo>
                  <a:cubicBezTo>
                    <a:pt x="254" y="455"/>
                    <a:pt x="257" y="455"/>
                    <a:pt x="257" y="455"/>
                  </a:cubicBezTo>
                  <a:cubicBezTo>
                    <a:pt x="257" y="456"/>
                    <a:pt x="257" y="456"/>
                    <a:pt x="257" y="456"/>
                  </a:cubicBezTo>
                  <a:cubicBezTo>
                    <a:pt x="257" y="456"/>
                    <a:pt x="259" y="456"/>
                    <a:pt x="259" y="456"/>
                  </a:cubicBezTo>
                  <a:cubicBezTo>
                    <a:pt x="260" y="456"/>
                    <a:pt x="262" y="456"/>
                    <a:pt x="263" y="456"/>
                  </a:cubicBezTo>
                  <a:cubicBezTo>
                    <a:pt x="264" y="455"/>
                    <a:pt x="265" y="455"/>
                    <a:pt x="266" y="455"/>
                  </a:cubicBezTo>
                  <a:cubicBezTo>
                    <a:pt x="267" y="454"/>
                    <a:pt x="267" y="455"/>
                    <a:pt x="268" y="455"/>
                  </a:cubicBezTo>
                  <a:cubicBezTo>
                    <a:pt x="268" y="455"/>
                    <a:pt x="270" y="455"/>
                    <a:pt x="271" y="455"/>
                  </a:cubicBezTo>
                  <a:cubicBezTo>
                    <a:pt x="271" y="454"/>
                    <a:pt x="272" y="455"/>
                    <a:pt x="272" y="455"/>
                  </a:cubicBezTo>
                  <a:cubicBezTo>
                    <a:pt x="274" y="455"/>
                    <a:pt x="274" y="455"/>
                    <a:pt x="274" y="455"/>
                  </a:cubicBezTo>
                  <a:cubicBezTo>
                    <a:pt x="279" y="454"/>
                    <a:pt x="279" y="454"/>
                    <a:pt x="279" y="454"/>
                  </a:cubicBezTo>
                  <a:cubicBezTo>
                    <a:pt x="279" y="454"/>
                    <a:pt x="280" y="454"/>
                    <a:pt x="281" y="454"/>
                  </a:cubicBezTo>
                  <a:cubicBezTo>
                    <a:pt x="282" y="454"/>
                    <a:pt x="282" y="454"/>
                    <a:pt x="282" y="454"/>
                  </a:cubicBezTo>
                  <a:cubicBezTo>
                    <a:pt x="283" y="455"/>
                    <a:pt x="283" y="455"/>
                    <a:pt x="283" y="455"/>
                  </a:cubicBezTo>
                  <a:cubicBezTo>
                    <a:pt x="283" y="455"/>
                    <a:pt x="285" y="455"/>
                    <a:pt x="286" y="454"/>
                  </a:cubicBezTo>
                  <a:cubicBezTo>
                    <a:pt x="287" y="453"/>
                    <a:pt x="287" y="454"/>
                    <a:pt x="288" y="454"/>
                  </a:cubicBezTo>
                  <a:cubicBezTo>
                    <a:pt x="288" y="454"/>
                    <a:pt x="289" y="455"/>
                    <a:pt x="289" y="455"/>
                  </a:cubicBezTo>
                  <a:cubicBezTo>
                    <a:pt x="289" y="454"/>
                    <a:pt x="290" y="455"/>
                    <a:pt x="290" y="455"/>
                  </a:cubicBezTo>
                  <a:cubicBezTo>
                    <a:pt x="289" y="457"/>
                    <a:pt x="289" y="457"/>
                    <a:pt x="289" y="457"/>
                  </a:cubicBezTo>
                  <a:cubicBezTo>
                    <a:pt x="289" y="457"/>
                    <a:pt x="289" y="457"/>
                    <a:pt x="289" y="457"/>
                  </a:cubicBezTo>
                  <a:cubicBezTo>
                    <a:pt x="289" y="457"/>
                    <a:pt x="290" y="458"/>
                    <a:pt x="291" y="458"/>
                  </a:cubicBezTo>
                  <a:cubicBezTo>
                    <a:pt x="292" y="457"/>
                    <a:pt x="292" y="458"/>
                    <a:pt x="292" y="458"/>
                  </a:cubicBezTo>
                  <a:cubicBezTo>
                    <a:pt x="292" y="458"/>
                    <a:pt x="294" y="458"/>
                    <a:pt x="295" y="458"/>
                  </a:cubicBezTo>
                  <a:cubicBezTo>
                    <a:pt x="296" y="457"/>
                    <a:pt x="297" y="458"/>
                    <a:pt x="298" y="457"/>
                  </a:cubicBezTo>
                  <a:cubicBezTo>
                    <a:pt x="299" y="457"/>
                    <a:pt x="302" y="457"/>
                    <a:pt x="303" y="457"/>
                  </a:cubicBezTo>
                  <a:cubicBezTo>
                    <a:pt x="303" y="457"/>
                    <a:pt x="303" y="459"/>
                    <a:pt x="303" y="459"/>
                  </a:cubicBezTo>
                  <a:cubicBezTo>
                    <a:pt x="302" y="459"/>
                    <a:pt x="303" y="459"/>
                    <a:pt x="301" y="458"/>
                  </a:cubicBezTo>
                  <a:cubicBezTo>
                    <a:pt x="300" y="458"/>
                    <a:pt x="298" y="459"/>
                    <a:pt x="298" y="459"/>
                  </a:cubicBezTo>
                  <a:cubicBezTo>
                    <a:pt x="298" y="459"/>
                    <a:pt x="296" y="459"/>
                    <a:pt x="296" y="459"/>
                  </a:cubicBezTo>
                  <a:cubicBezTo>
                    <a:pt x="295" y="459"/>
                    <a:pt x="295" y="460"/>
                    <a:pt x="295" y="460"/>
                  </a:cubicBezTo>
                  <a:cubicBezTo>
                    <a:pt x="295" y="460"/>
                    <a:pt x="294" y="460"/>
                    <a:pt x="294" y="460"/>
                  </a:cubicBezTo>
                  <a:cubicBezTo>
                    <a:pt x="294" y="460"/>
                    <a:pt x="293" y="460"/>
                    <a:pt x="292" y="460"/>
                  </a:cubicBezTo>
                  <a:cubicBezTo>
                    <a:pt x="292" y="460"/>
                    <a:pt x="292" y="460"/>
                    <a:pt x="292" y="460"/>
                  </a:cubicBezTo>
                  <a:cubicBezTo>
                    <a:pt x="292" y="459"/>
                    <a:pt x="291" y="459"/>
                    <a:pt x="288" y="457"/>
                  </a:cubicBezTo>
                  <a:cubicBezTo>
                    <a:pt x="285" y="456"/>
                    <a:pt x="288" y="456"/>
                    <a:pt x="288" y="456"/>
                  </a:cubicBezTo>
                  <a:cubicBezTo>
                    <a:pt x="287" y="455"/>
                    <a:pt x="285" y="456"/>
                    <a:pt x="284" y="456"/>
                  </a:cubicBezTo>
                  <a:cubicBezTo>
                    <a:pt x="283" y="455"/>
                    <a:pt x="283" y="456"/>
                    <a:pt x="282" y="455"/>
                  </a:cubicBezTo>
                  <a:cubicBezTo>
                    <a:pt x="281" y="455"/>
                    <a:pt x="279" y="455"/>
                    <a:pt x="279" y="455"/>
                  </a:cubicBezTo>
                  <a:cubicBezTo>
                    <a:pt x="278" y="455"/>
                    <a:pt x="277" y="455"/>
                    <a:pt x="277" y="455"/>
                  </a:cubicBezTo>
                  <a:cubicBezTo>
                    <a:pt x="275" y="456"/>
                    <a:pt x="275" y="456"/>
                    <a:pt x="275" y="456"/>
                  </a:cubicBezTo>
                  <a:cubicBezTo>
                    <a:pt x="274" y="457"/>
                    <a:pt x="274" y="457"/>
                    <a:pt x="274" y="457"/>
                  </a:cubicBezTo>
                  <a:cubicBezTo>
                    <a:pt x="272" y="457"/>
                    <a:pt x="272" y="457"/>
                    <a:pt x="272" y="457"/>
                  </a:cubicBezTo>
                  <a:cubicBezTo>
                    <a:pt x="272" y="457"/>
                    <a:pt x="269" y="458"/>
                    <a:pt x="268" y="457"/>
                  </a:cubicBezTo>
                  <a:cubicBezTo>
                    <a:pt x="267" y="456"/>
                    <a:pt x="266" y="457"/>
                    <a:pt x="266" y="456"/>
                  </a:cubicBezTo>
                  <a:cubicBezTo>
                    <a:pt x="266" y="456"/>
                    <a:pt x="263" y="456"/>
                    <a:pt x="263" y="457"/>
                  </a:cubicBezTo>
                  <a:cubicBezTo>
                    <a:pt x="262" y="457"/>
                    <a:pt x="261" y="457"/>
                    <a:pt x="261" y="457"/>
                  </a:cubicBezTo>
                  <a:cubicBezTo>
                    <a:pt x="260" y="457"/>
                    <a:pt x="259" y="459"/>
                    <a:pt x="260" y="459"/>
                  </a:cubicBezTo>
                  <a:cubicBezTo>
                    <a:pt x="260" y="460"/>
                    <a:pt x="260" y="461"/>
                    <a:pt x="261" y="461"/>
                  </a:cubicBezTo>
                  <a:cubicBezTo>
                    <a:pt x="261" y="462"/>
                    <a:pt x="261" y="463"/>
                    <a:pt x="262" y="463"/>
                  </a:cubicBezTo>
                  <a:cubicBezTo>
                    <a:pt x="263" y="463"/>
                    <a:pt x="264" y="464"/>
                    <a:pt x="265" y="464"/>
                  </a:cubicBezTo>
                  <a:cubicBezTo>
                    <a:pt x="266" y="464"/>
                    <a:pt x="267" y="464"/>
                    <a:pt x="268" y="464"/>
                  </a:cubicBezTo>
                  <a:cubicBezTo>
                    <a:pt x="268" y="464"/>
                    <a:pt x="273" y="463"/>
                    <a:pt x="274" y="463"/>
                  </a:cubicBezTo>
                  <a:cubicBezTo>
                    <a:pt x="275" y="462"/>
                    <a:pt x="276" y="464"/>
                    <a:pt x="277" y="464"/>
                  </a:cubicBezTo>
                  <a:cubicBezTo>
                    <a:pt x="278" y="464"/>
                    <a:pt x="277" y="465"/>
                    <a:pt x="276" y="466"/>
                  </a:cubicBezTo>
                  <a:cubicBezTo>
                    <a:pt x="276" y="467"/>
                    <a:pt x="274" y="468"/>
                    <a:pt x="273" y="469"/>
                  </a:cubicBezTo>
                  <a:cubicBezTo>
                    <a:pt x="272" y="469"/>
                    <a:pt x="271" y="470"/>
                    <a:pt x="269" y="469"/>
                  </a:cubicBezTo>
                  <a:cubicBezTo>
                    <a:pt x="268" y="469"/>
                    <a:pt x="268" y="470"/>
                    <a:pt x="267" y="470"/>
                  </a:cubicBezTo>
                  <a:cubicBezTo>
                    <a:pt x="267" y="470"/>
                    <a:pt x="266" y="470"/>
                    <a:pt x="265" y="470"/>
                  </a:cubicBezTo>
                  <a:cubicBezTo>
                    <a:pt x="265" y="470"/>
                    <a:pt x="264" y="471"/>
                    <a:pt x="263" y="472"/>
                  </a:cubicBezTo>
                  <a:cubicBezTo>
                    <a:pt x="262" y="473"/>
                    <a:pt x="262" y="474"/>
                    <a:pt x="261" y="475"/>
                  </a:cubicBezTo>
                  <a:cubicBezTo>
                    <a:pt x="261" y="476"/>
                    <a:pt x="261" y="477"/>
                    <a:pt x="261" y="478"/>
                  </a:cubicBezTo>
                  <a:cubicBezTo>
                    <a:pt x="261" y="479"/>
                    <a:pt x="262" y="479"/>
                    <a:pt x="262" y="479"/>
                  </a:cubicBezTo>
                  <a:cubicBezTo>
                    <a:pt x="264" y="480"/>
                    <a:pt x="264" y="480"/>
                    <a:pt x="264" y="480"/>
                  </a:cubicBezTo>
                  <a:cubicBezTo>
                    <a:pt x="265" y="480"/>
                    <a:pt x="265" y="480"/>
                    <a:pt x="265" y="480"/>
                  </a:cubicBezTo>
                  <a:cubicBezTo>
                    <a:pt x="265" y="480"/>
                    <a:pt x="272" y="478"/>
                    <a:pt x="272" y="478"/>
                  </a:cubicBezTo>
                  <a:cubicBezTo>
                    <a:pt x="272" y="478"/>
                    <a:pt x="275" y="475"/>
                    <a:pt x="276" y="474"/>
                  </a:cubicBezTo>
                  <a:cubicBezTo>
                    <a:pt x="277" y="473"/>
                    <a:pt x="278" y="473"/>
                    <a:pt x="278" y="473"/>
                  </a:cubicBezTo>
                  <a:cubicBezTo>
                    <a:pt x="283" y="469"/>
                    <a:pt x="283" y="469"/>
                    <a:pt x="283" y="469"/>
                  </a:cubicBezTo>
                  <a:cubicBezTo>
                    <a:pt x="283" y="469"/>
                    <a:pt x="285" y="468"/>
                    <a:pt x="286" y="467"/>
                  </a:cubicBezTo>
                  <a:cubicBezTo>
                    <a:pt x="288" y="466"/>
                    <a:pt x="289" y="466"/>
                    <a:pt x="289" y="466"/>
                  </a:cubicBezTo>
                  <a:cubicBezTo>
                    <a:pt x="289" y="466"/>
                    <a:pt x="290" y="466"/>
                    <a:pt x="292" y="465"/>
                  </a:cubicBezTo>
                  <a:cubicBezTo>
                    <a:pt x="294" y="464"/>
                    <a:pt x="298" y="463"/>
                    <a:pt x="298" y="463"/>
                  </a:cubicBezTo>
                  <a:cubicBezTo>
                    <a:pt x="300" y="464"/>
                    <a:pt x="300" y="464"/>
                    <a:pt x="300" y="464"/>
                  </a:cubicBezTo>
                  <a:cubicBezTo>
                    <a:pt x="300" y="464"/>
                    <a:pt x="299" y="465"/>
                    <a:pt x="298" y="465"/>
                  </a:cubicBezTo>
                  <a:cubicBezTo>
                    <a:pt x="298" y="466"/>
                    <a:pt x="296" y="466"/>
                    <a:pt x="296" y="466"/>
                  </a:cubicBezTo>
                  <a:cubicBezTo>
                    <a:pt x="295" y="466"/>
                    <a:pt x="294" y="466"/>
                    <a:pt x="294" y="466"/>
                  </a:cubicBezTo>
                  <a:cubicBezTo>
                    <a:pt x="291" y="467"/>
                    <a:pt x="291" y="467"/>
                    <a:pt x="291" y="467"/>
                  </a:cubicBezTo>
                  <a:cubicBezTo>
                    <a:pt x="291" y="467"/>
                    <a:pt x="286" y="469"/>
                    <a:pt x="284" y="470"/>
                  </a:cubicBezTo>
                  <a:cubicBezTo>
                    <a:pt x="282" y="470"/>
                    <a:pt x="280" y="473"/>
                    <a:pt x="280" y="473"/>
                  </a:cubicBezTo>
                  <a:cubicBezTo>
                    <a:pt x="278" y="475"/>
                    <a:pt x="278" y="475"/>
                    <a:pt x="278" y="475"/>
                  </a:cubicBezTo>
                  <a:cubicBezTo>
                    <a:pt x="274" y="478"/>
                    <a:pt x="274" y="478"/>
                    <a:pt x="274" y="478"/>
                  </a:cubicBezTo>
                  <a:cubicBezTo>
                    <a:pt x="274" y="478"/>
                    <a:pt x="273" y="479"/>
                    <a:pt x="272" y="479"/>
                  </a:cubicBezTo>
                  <a:cubicBezTo>
                    <a:pt x="271" y="480"/>
                    <a:pt x="269" y="480"/>
                    <a:pt x="269" y="481"/>
                  </a:cubicBezTo>
                  <a:cubicBezTo>
                    <a:pt x="268" y="481"/>
                    <a:pt x="267" y="482"/>
                    <a:pt x="266" y="482"/>
                  </a:cubicBezTo>
                  <a:cubicBezTo>
                    <a:pt x="266" y="484"/>
                    <a:pt x="266" y="484"/>
                    <a:pt x="266" y="484"/>
                  </a:cubicBezTo>
                  <a:cubicBezTo>
                    <a:pt x="266" y="485"/>
                    <a:pt x="266" y="485"/>
                    <a:pt x="266" y="485"/>
                  </a:cubicBezTo>
                  <a:cubicBezTo>
                    <a:pt x="267" y="486"/>
                    <a:pt x="267" y="486"/>
                    <a:pt x="267" y="486"/>
                  </a:cubicBezTo>
                  <a:cubicBezTo>
                    <a:pt x="267" y="486"/>
                    <a:pt x="268" y="486"/>
                    <a:pt x="269" y="486"/>
                  </a:cubicBezTo>
                  <a:cubicBezTo>
                    <a:pt x="269" y="486"/>
                    <a:pt x="274" y="485"/>
                    <a:pt x="274" y="485"/>
                  </a:cubicBezTo>
                  <a:cubicBezTo>
                    <a:pt x="274" y="485"/>
                    <a:pt x="276" y="485"/>
                    <a:pt x="276" y="485"/>
                  </a:cubicBezTo>
                  <a:cubicBezTo>
                    <a:pt x="277" y="484"/>
                    <a:pt x="280" y="484"/>
                    <a:pt x="281" y="484"/>
                  </a:cubicBezTo>
                  <a:cubicBezTo>
                    <a:pt x="281" y="484"/>
                    <a:pt x="282" y="485"/>
                    <a:pt x="282" y="485"/>
                  </a:cubicBezTo>
                  <a:cubicBezTo>
                    <a:pt x="282" y="485"/>
                    <a:pt x="281" y="485"/>
                    <a:pt x="281" y="486"/>
                  </a:cubicBezTo>
                  <a:cubicBezTo>
                    <a:pt x="280" y="486"/>
                    <a:pt x="279" y="487"/>
                    <a:pt x="278" y="487"/>
                  </a:cubicBezTo>
                  <a:cubicBezTo>
                    <a:pt x="277" y="487"/>
                    <a:pt x="276" y="488"/>
                    <a:pt x="276" y="487"/>
                  </a:cubicBezTo>
                  <a:cubicBezTo>
                    <a:pt x="276" y="487"/>
                    <a:pt x="274" y="488"/>
                    <a:pt x="274" y="487"/>
                  </a:cubicBezTo>
                  <a:cubicBezTo>
                    <a:pt x="271" y="488"/>
                    <a:pt x="271" y="488"/>
                    <a:pt x="271" y="488"/>
                  </a:cubicBezTo>
                  <a:cubicBezTo>
                    <a:pt x="268" y="489"/>
                    <a:pt x="268" y="489"/>
                    <a:pt x="268" y="489"/>
                  </a:cubicBezTo>
                  <a:cubicBezTo>
                    <a:pt x="269" y="490"/>
                    <a:pt x="269" y="490"/>
                    <a:pt x="269" y="490"/>
                  </a:cubicBezTo>
                  <a:cubicBezTo>
                    <a:pt x="268" y="493"/>
                    <a:pt x="268" y="493"/>
                    <a:pt x="268" y="493"/>
                  </a:cubicBezTo>
                  <a:cubicBezTo>
                    <a:pt x="271" y="494"/>
                    <a:pt x="271" y="494"/>
                    <a:pt x="271" y="494"/>
                  </a:cubicBezTo>
                  <a:cubicBezTo>
                    <a:pt x="271" y="494"/>
                    <a:pt x="272" y="494"/>
                    <a:pt x="273" y="494"/>
                  </a:cubicBezTo>
                  <a:cubicBezTo>
                    <a:pt x="273" y="495"/>
                    <a:pt x="274" y="495"/>
                    <a:pt x="274" y="495"/>
                  </a:cubicBezTo>
                  <a:cubicBezTo>
                    <a:pt x="275" y="496"/>
                    <a:pt x="276" y="497"/>
                    <a:pt x="276" y="497"/>
                  </a:cubicBezTo>
                  <a:cubicBezTo>
                    <a:pt x="277" y="496"/>
                    <a:pt x="278" y="497"/>
                    <a:pt x="279" y="496"/>
                  </a:cubicBezTo>
                  <a:cubicBezTo>
                    <a:pt x="279" y="496"/>
                    <a:pt x="280" y="495"/>
                    <a:pt x="280" y="494"/>
                  </a:cubicBezTo>
                  <a:cubicBezTo>
                    <a:pt x="281" y="494"/>
                    <a:pt x="281" y="494"/>
                    <a:pt x="281" y="494"/>
                  </a:cubicBezTo>
                  <a:cubicBezTo>
                    <a:pt x="282" y="493"/>
                    <a:pt x="286" y="491"/>
                    <a:pt x="286" y="491"/>
                  </a:cubicBezTo>
                  <a:cubicBezTo>
                    <a:pt x="286" y="491"/>
                    <a:pt x="287" y="490"/>
                    <a:pt x="288" y="490"/>
                  </a:cubicBezTo>
                  <a:cubicBezTo>
                    <a:pt x="289" y="490"/>
                    <a:pt x="290" y="490"/>
                    <a:pt x="290" y="490"/>
                  </a:cubicBezTo>
                  <a:cubicBezTo>
                    <a:pt x="294" y="490"/>
                    <a:pt x="294" y="490"/>
                    <a:pt x="294" y="490"/>
                  </a:cubicBezTo>
                  <a:cubicBezTo>
                    <a:pt x="295" y="491"/>
                    <a:pt x="295" y="491"/>
                    <a:pt x="295" y="491"/>
                  </a:cubicBezTo>
                  <a:cubicBezTo>
                    <a:pt x="293" y="492"/>
                    <a:pt x="293" y="492"/>
                    <a:pt x="293" y="492"/>
                  </a:cubicBezTo>
                  <a:cubicBezTo>
                    <a:pt x="292" y="492"/>
                    <a:pt x="292" y="492"/>
                    <a:pt x="292" y="492"/>
                  </a:cubicBezTo>
                  <a:cubicBezTo>
                    <a:pt x="292" y="492"/>
                    <a:pt x="291" y="492"/>
                    <a:pt x="291" y="491"/>
                  </a:cubicBezTo>
                  <a:cubicBezTo>
                    <a:pt x="290" y="491"/>
                    <a:pt x="289" y="491"/>
                    <a:pt x="288" y="491"/>
                  </a:cubicBezTo>
                  <a:cubicBezTo>
                    <a:pt x="287" y="492"/>
                    <a:pt x="287" y="491"/>
                    <a:pt x="287" y="492"/>
                  </a:cubicBezTo>
                  <a:cubicBezTo>
                    <a:pt x="286" y="492"/>
                    <a:pt x="285" y="492"/>
                    <a:pt x="285" y="492"/>
                  </a:cubicBezTo>
                  <a:cubicBezTo>
                    <a:pt x="284" y="493"/>
                    <a:pt x="284" y="493"/>
                    <a:pt x="284" y="493"/>
                  </a:cubicBezTo>
                  <a:cubicBezTo>
                    <a:pt x="283" y="495"/>
                    <a:pt x="283" y="495"/>
                    <a:pt x="283" y="495"/>
                  </a:cubicBezTo>
                  <a:cubicBezTo>
                    <a:pt x="283" y="495"/>
                    <a:pt x="282" y="496"/>
                    <a:pt x="280" y="497"/>
                  </a:cubicBezTo>
                  <a:cubicBezTo>
                    <a:pt x="278" y="497"/>
                    <a:pt x="280" y="497"/>
                    <a:pt x="280" y="498"/>
                  </a:cubicBezTo>
                  <a:cubicBezTo>
                    <a:pt x="280" y="498"/>
                    <a:pt x="280" y="499"/>
                    <a:pt x="280" y="500"/>
                  </a:cubicBezTo>
                  <a:cubicBezTo>
                    <a:pt x="280" y="500"/>
                    <a:pt x="279" y="508"/>
                    <a:pt x="279" y="509"/>
                  </a:cubicBezTo>
                  <a:cubicBezTo>
                    <a:pt x="279" y="509"/>
                    <a:pt x="280" y="511"/>
                    <a:pt x="280" y="511"/>
                  </a:cubicBezTo>
                  <a:cubicBezTo>
                    <a:pt x="280" y="510"/>
                    <a:pt x="281" y="511"/>
                    <a:pt x="281" y="510"/>
                  </a:cubicBezTo>
                  <a:cubicBezTo>
                    <a:pt x="282" y="510"/>
                    <a:pt x="282" y="509"/>
                    <a:pt x="283" y="508"/>
                  </a:cubicBezTo>
                  <a:cubicBezTo>
                    <a:pt x="283" y="508"/>
                    <a:pt x="284" y="508"/>
                    <a:pt x="288" y="509"/>
                  </a:cubicBezTo>
                  <a:cubicBezTo>
                    <a:pt x="291" y="509"/>
                    <a:pt x="288" y="509"/>
                    <a:pt x="289" y="510"/>
                  </a:cubicBezTo>
                  <a:cubicBezTo>
                    <a:pt x="289" y="510"/>
                    <a:pt x="288" y="511"/>
                    <a:pt x="288" y="511"/>
                  </a:cubicBezTo>
                  <a:cubicBezTo>
                    <a:pt x="286" y="512"/>
                    <a:pt x="286" y="512"/>
                    <a:pt x="286" y="512"/>
                  </a:cubicBezTo>
                  <a:cubicBezTo>
                    <a:pt x="284" y="513"/>
                    <a:pt x="284" y="513"/>
                    <a:pt x="284" y="513"/>
                  </a:cubicBezTo>
                  <a:cubicBezTo>
                    <a:pt x="282" y="513"/>
                    <a:pt x="282" y="513"/>
                    <a:pt x="282" y="513"/>
                  </a:cubicBezTo>
                  <a:cubicBezTo>
                    <a:pt x="281" y="514"/>
                    <a:pt x="281" y="514"/>
                    <a:pt x="281" y="514"/>
                  </a:cubicBezTo>
                  <a:cubicBezTo>
                    <a:pt x="281" y="514"/>
                    <a:pt x="280" y="515"/>
                    <a:pt x="280" y="516"/>
                  </a:cubicBezTo>
                  <a:cubicBezTo>
                    <a:pt x="280" y="516"/>
                    <a:pt x="280" y="517"/>
                    <a:pt x="280" y="517"/>
                  </a:cubicBezTo>
                  <a:cubicBezTo>
                    <a:pt x="279" y="518"/>
                    <a:pt x="279" y="519"/>
                    <a:pt x="279" y="519"/>
                  </a:cubicBezTo>
                  <a:cubicBezTo>
                    <a:pt x="279" y="519"/>
                    <a:pt x="279" y="520"/>
                    <a:pt x="280" y="520"/>
                  </a:cubicBezTo>
                  <a:cubicBezTo>
                    <a:pt x="280" y="521"/>
                    <a:pt x="282" y="523"/>
                    <a:pt x="282" y="523"/>
                  </a:cubicBezTo>
                  <a:cubicBezTo>
                    <a:pt x="282" y="523"/>
                    <a:pt x="283" y="524"/>
                    <a:pt x="283" y="522"/>
                  </a:cubicBezTo>
                  <a:cubicBezTo>
                    <a:pt x="284" y="521"/>
                    <a:pt x="284" y="521"/>
                    <a:pt x="284" y="521"/>
                  </a:cubicBezTo>
                  <a:cubicBezTo>
                    <a:pt x="285" y="520"/>
                    <a:pt x="285" y="520"/>
                    <a:pt x="285" y="519"/>
                  </a:cubicBezTo>
                  <a:cubicBezTo>
                    <a:pt x="286" y="519"/>
                    <a:pt x="286" y="518"/>
                    <a:pt x="286" y="517"/>
                  </a:cubicBezTo>
                  <a:cubicBezTo>
                    <a:pt x="287" y="517"/>
                    <a:pt x="287" y="517"/>
                    <a:pt x="288" y="516"/>
                  </a:cubicBezTo>
                  <a:cubicBezTo>
                    <a:pt x="288" y="516"/>
                    <a:pt x="289" y="516"/>
                    <a:pt x="289" y="515"/>
                  </a:cubicBezTo>
                  <a:cubicBezTo>
                    <a:pt x="289" y="514"/>
                    <a:pt x="289" y="513"/>
                    <a:pt x="289" y="513"/>
                  </a:cubicBezTo>
                  <a:cubicBezTo>
                    <a:pt x="291" y="512"/>
                    <a:pt x="291" y="512"/>
                    <a:pt x="291" y="512"/>
                  </a:cubicBezTo>
                  <a:cubicBezTo>
                    <a:pt x="292" y="511"/>
                    <a:pt x="292" y="511"/>
                    <a:pt x="292" y="511"/>
                  </a:cubicBezTo>
                  <a:cubicBezTo>
                    <a:pt x="295" y="512"/>
                    <a:pt x="295" y="512"/>
                    <a:pt x="295" y="512"/>
                  </a:cubicBezTo>
                  <a:cubicBezTo>
                    <a:pt x="296" y="510"/>
                    <a:pt x="296" y="510"/>
                    <a:pt x="296" y="510"/>
                  </a:cubicBezTo>
                  <a:cubicBezTo>
                    <a:pt x="296" y="510"/>
                    <a:pt x="296" y="507"/>
                    <a:pt x="296" y="506"/>
                  </a:cubicBezTo>
                  <a:cubicBezTo>
                    <a:pt x="296" y="506"/>
                    <a:pt x="296" y="504"/>
                    <a:pt x="296" y="503"/>
                  </a:cubicBezTo>
                  <a:cubicBezTo>
                    <a:pt x="297" y="503"/>
                    <a:pt x="297" y="505"/>
                    <a:pt x="297" y="505"/>
                  </a:cubicBezTo>
                  <a:cubicBezTo>
                    <a:pt x="298" y="506"/>
                    <a:pt x="299" y="509"/>
                    <a:pt x="299" y="509"/>
                  </a:cubicBezTo>
                  <a:cubicBezTo>
                    <a:pt x="302" y="510"/>
                    <a:pt x="302" y="510"/>
                    <a:pt x="302" y="510"/>
                  </a:cubicBezTo>
                  <a:cubicBezTo>
                    <a:pt x="302" y="510"/>
                    <a:pt x="305" y="511"/>
                    <a:pt x="305" y="510"/>
                  </a:cubicBezTo>
                  <a:cubicBezTo>
                    <a:pt x="306" y="510"/>
                    <a:pt x="307" y="511"/>
                    <a:pt x="307" y="511"/>
                  </a:cubicBezTo>
                  <a:cubicBezTo>
                    <a:pt x="308" y="513"/>
                    <a:pt x="308" y="513"/>
                    <a:pt x="308" y="513"/>
                  </a:cubicBezTo>
                  <a:cubicBezTo>
                    <a:pt x="309" y="513"/>
                    <a:pt x="308" y="516"/>
                    <a:pt x="308" y="516"/>
                  </a:cubicBezTo>
                  <a:cubicBezTo>
                    <a:pt x="308" y="517"/>
                    <a:pt x="309" y="518"/>
                    <a:pt x="309" y="518"/>
                  </a:cubicBezTo>
                  <a:cubicBezTo>
                    <a:pt x="312" y="520"/>
                    <a:pt x="312" y="520"/>
                    <a:pt x="312" y="520"/>
                  </a:cubicBezTo>
                  <a:cubicBezTo>
                    <a:pt x="312" y="520"/>
                    <a:pt x="312" y="521"/>
                    <a:pt x="312" y="522"/>
                  </a:cubicBezTo>
                  <a:cubicBezTo>
                    <a:pt x="311" y="522"/>
                    <a:pt x="310" y="522"/>
                    <a:pt x="310" y="522"/>
                  </a:cubicBezTo>
                  <a:cubicBezTo>
                    <a:pt x="309" y="521"/>
                    <a:pt x="308" y="522"/>
                    <a:pt x="308" y="521"/>
                  </a:cubicBezTo>
                  <a:cubicBezTo>
                    <a:pt x="307" y="521"/>
                    <a:pt x="305" y="521"/>
                    <a:pt x="304" y="520"/>
                  </a:cubicBezTo>
                  <a:cubicBezTo>
                    <a:pt x="303" y="520"/>
                    <a:pt x="303" y="521"/>
                    <a:pt x="303" y="521"/>
                  </a:cubicBezTo>
                  <a:cubicBezTo>
                    <a:pt x="303" y="521"/>
                    <a:pt x="303" y="522"/>
                    <a:pt x="303" y="522"/>
                  </a:cubicBezTo>
                  <a:cubicBezTo>
                    <a:pt x="303" y="523"/>
                    <a:pt x="302" y="525"/>
                    <a:pt x="302" y="525"/>
                  </a:cubicBezTo>
                  <a:cubicBezTo>
                    <a:pt x="302" y="525"/>
                    <a:pt x="302" y="526"/>
                    <a:pt x="301" y="525"/>
                  </a:cubicBezTo>
                  <a:cubicBezTo>
                    <a:pt x="301" y="525"/>
                    <a:pt x="299" y="526"/>
                    <a:pt x="299" y="526"/>
                  </a:cubicBezTo>
                  <a:cubicBezTo>
                    <a:pt x="296" y="526"/>
                    <a:pt x="296" y="526"/>
                    <a:pt x="296" y="526"/>
                  </a:cubicBezTo>
                  <a:cubicBezTo>
                    <a:pt x="295" y="529"/>
                    <a:pt x="295" y="529"/>
                    <a:pt x="295" y="529"/>
                  </a:cubicBezTo>
                  <a:cubicBezTo>
                    <a:pt x="295" y="529"/>
                    <a:pt x="295" y="529"/>
                    <a:pt x="295" y="529"/>
                  </a:cubicBezTo>
                  <a:cubicBezTo>
                    <a:pt x="294" y="529"/>
                    <a:pt x="294" y="530"/>
                    <a:pt x="293" y="530"/>
                  </a:cubicBezTo>
                  <a:cubicBezTo>
                    <a:pt x="293" y="530"/>
                    <a:pt x="291" y="530"/>
                    <a:pt x="291" y="530"/>
                  </a:cubicBezTo>
                  <a:cubicBezTo>
                    <a:pt x="291" y="531"/>
                    <a:pt x="291" y="531"/>
                    <a:pt x="291" y="531"/>
                  </a:cubicBezTo>
                  <a:cubicBezTo>
                    <a:pt x="291" y="532"/>
                    <a:pt x="291" y="532"/>
                    <a:pt x="291" y="532"/>
                  </a:cubicBezTo>
                  <a:cubicBezTo>
                    <a:pt x="291" y="531"/>
                    <a:pt x="289" y="535"/>
                    <a:pt x="289" y="535"/>
                  </a:cubicBezTo>
                  <a:cubicBezTo>
                    <a:pt x="290" y="536"/>
                    <a:pt x="290" y="536"/>
                    <a:pt x="290" y="537"/>
                  </a:cubicBezTo>
                  <a:cubicBezTo>
                    <a:pt x="291" y="537"/>
                    <a:pt x="292" y="536"/>
                    <a:pt x="293" y="535"/>
                  </a:cubicBezTo>
                  <a:cubicBezTo>
                    <a:pt x="294" y="535"/>
                    <a:pt x="294" y="536"/>
                    <a:pt x="295" y="536"/>
                  </a:cubicBezTo>
                  <a:cubicBezTo>
                    <a:pt x="297" y="536"/>
                    <a:pt x="297" y="537"/>
                    <a:pt x="297" y="537"/>
                  </a:cubicBezTo>
                  <a:cubicBezTo>
                    <a:pt x="296" y="538"/>
                    <a:pt x="296" y="538"/>
                    <a:pt x="296" y="538"/>
                  </a:cubicBezTo>
                  <a:cubicBezTo>
                    <a:pt x="295" y="540"/>
                    <a:pt x="295" y="540"/>
                    <a:pt x="295" y="540"/>
                  </a:cubicBezTo>
                  <a:cubicBezTo>
                    <a:pt x="297" y="541"/>
                    <a:pt x="297" y="541"/>
                    <a:pt x="297" y="541"/>
                  </a:cubicBezTo>
                  <a:cubicBezTo>
                    <a:pt x="295" y="544"/>
                    <a:pt x="295" y="544"/>
                    <a:pt x="295" y="544"/>
                  </a:cubicBezTo>
                  <a:cubicBezTo>
                    <a:pt x="295" y="544"/>
                    <a:pt x="296" y="544"/>
                    <a:pt x="297" y="544"/>
                  </a:cubicBezTo>
                  <a:cubicBezTo>
                    <a:pt x="297" y="544"/>
                    <a:pt x="300" y="545"/>
                    <a:pt x="300" y="545"/>
                  </a:cubicBezTo>
                  <a:cubicBezTo>
                    <a:pt x="301" y="545"/>
                    <a:pt x="302" y="545"/>
                    <a:pt x="302" y="545"/>
                  </a:cubicBezTo>
                  <a:cubicBezTo>
                    <a:pt x="299" y="546"/>
                    <a:pt x="299" y="546"/>
                    <a:pt x="299" y="546"/>
                  </a:cubicBezTo>
                  <a:cubicBezTo>
                    <a:pt x="299" y="546"/>
                    <a:pt x="302" y="548"/>
                    <a:pt x="303" y="549"/>
                  </a:cubicBezTo>
                  <a:cubicBezTo>
                    <a:pt x="304" y="550"/>
                    <a:pt x="306" y="550"/>
                    <a:pt x="306" y="549"/>
                  </a:cubicBezTo>
                  <a:cubicBezTo>
                    <a:pt x="307" y="549"/>
                    <a:pt x="308" y="549"/>
                    <a:pt x="309" y="549"/>
                  </a:cubicBezTo>
                  <a:cubicBezTo>
                    <a:pt x="309" y="549"/>
                    <a:pt x="309" y="550"/>
                    <a:pt x="308" y="551"/>
                  </a:cubicBezTo>
                  <a:cubicBezTo>
                    <a:pt x="308" y="551"/>
                    <a:pt x="307" y="552"/>
                    <a:pt x="307" y="552"/>
                  </a:cubicBezTo>
                  <a:cubicBezTo>
                    <a:pt x="308" y="553"/>
                    <a:pt x="308" y="553"/>
                    <a:pt x="308" y="553"/>
                  </a:cubicBezTo>
                  <a:cubicBezTo>
                    <a:pt x="309" y="555"/>
                    <a:pt x="309" y="555"/>
                    <a:pt x="309" y="555"/>
                  </a:cubicBezTo>
                  <a:cubicBezTo>
                    <a:pt x="308" y="556"/>
                    <a:pt x="308" y="556"/>
                    <a:pt x="308" y="556"/>
                  </a:cubicBezTo>
                  <a:cubicBezTo>
                    <a:pt x="307" y="557"/>
                    <a:pt x="307" y="557"/>
                    <a:pt x="307" y="557"/>
                  </a:cubicBezTo>
                  <a:cubicBezTo>
                    <a:pt x="305" y="559"/>
                    <a:pt x="305" y="559"/>
                    <a:pt x="305" y="559"/>
                  </a:cubicBezTo>
                  <a:cubicBezTo>
                    <a:pt x="305" y="559"/>
                    <a:pt x="305" y="560"/>
                    <a:pt x="305" y="560"/>
                  </a:cubicBezTo>
                  <a:cubicBezTo>
                    <a:pt x="305" y="561"/>
                    <a:pt x="305" y="562"/>
                    <a:pt x="306" y="562"/>
                  </a:cubicBezTo>
                  <a:cubicBezTo>
                    <a:pt x="306" y="562"/>
                    <a:pt x="306" y="563"/>
                    <a:pt x="307" y="563"/>
                  </a:cubicBezTo>
                  <a:cubicBezTo>
                    <a:pt x="307" y="564"/>
                    <a:pt x="307" y="564"/>
                    <a:pt x="308" y="564"/>
                  </a:cubicBezTo>
                  <a:cubicBezTo>
                    <a:pt x="309" y="564"/>
                    <a:pt x="309" y="564"/>
                    <a:pt x="310" y="564"/>
                  </a:cubicBezTo>
                  <a:cubicBezTo>
                    <a:pt x="311" y="564"/>
                    <a:pt x="310" y="565"/>
                    <a:pt x="311" y="565"/>
                  </a:cubicBezTo>
                  <a:cubicBezTo>
                    <a:pt x="311" y="565"/>
                    <a:pt x="311" y="565"/>
                    <a:pt x="312" y="565"/>
                  </a:cubicBezTo>
                  <a:cubicBezTo>
                    <a:pt x="312" y="565"/>
                    <a:pt x="312" y="565"/>
                    <a:pt x="312" y="565"/>
                  </a:cubicBezTo>
                  <a:cubicBezTo>
                    <a:pt x="313" y="566"/>
                    <a:pt x="313" y="566"/>
                    <a:pt x="313" y="566"/>
                  </a:cubicBezTo>
                  <a:cubicBezTo>
                    <a:pt x="313" y="566"/>
                    <a:pt x="313" y="567"/>
                    <a:pt x="313" y="568"/>
                  </a:cubicBezTo>
                  <a:cubicBezTo>
                    <a:pt x="312" y="568"/>
                    <a:pt x="313" y="569"/>
                    <a:pt x="313" y="569"/>
                  </a:cubicBezTo>
                  <a:cubicBezTo>
                    <a:pt x="314" y="570"/>
                    <a:pt x="314" y="570"/>
                    <a:pt x="314" y="570"/>
                  </a:cubicBezTo>
                  <a:cubicBezTo>
                    <a:pt x="316" y="571"/>
                    <a:pt x="316" y="571"/>
                    <a:pt x="316" y="571"/>
                  </a:cubicBezTo>
                  <a:cubicBezTo>
                    <a:pt x="317" y="571"/>
                    <a:pt x="317" y="571"/>
                    <a:pt x="317" y="571"/>
                  </a:cubicBezTo>
                  <a:cubicBezTo>
                    <a:pt x="317" y="571"/>
                    <a:pt x="318" y="570"/>
                    <a:pt x="320" y="569"/>
                  </a:cubicBezTo>
                  <a:cubicBezTo>
                    <a:pt x="323" y="568"/>
                    <a:pt x="320" y="570"/>
                    <a:pt x="320" y="570"/>
                  </a:cubicBezTo>
                  <a:cubicBezTo>
                    <a:pt x="320" y="571"/>
                    <a:pt x="321" y="571"/>
                    <a:pt x="321" y="571"/>
                  </a:cubicBezTo>
                  <a:cubicBezTo>
                    <a:pt x="322" y="571"/>
                    <a:pt x="322" y="572"/>
                    <a:pt x="323" y="572"/>
                  </a:cubicBezTo>
                  <a:cubicBezTo>
                    <a:pt x="324" y="572"/>
                    <a:pt x="323" y="573"/>
                    <a:pt x="323" y="573"/>
                  </a:cubicBezTo>
                  <a:cubicBezTo>
                    <a:pt x="322" y="574"/>
                    <a:pt x="322" y="574"/>
                    <a:pt x="322" y="574"/>
                  </a:cubicBezTo>
                  <a:cubicBezTo>
                    <a:pt x="321" y="574"/>
                    <a:pt x="322" y="574"/>
                    <a:pt x="321" y="574"/>
                  </a:cubicBezTo>
                  <a:cubicBezTo>
                    <a:pt x="320" y="575"/>
                    <a:pt x="321" y="575"/>
                    <a:pt x="321" y="575"/>
                  </a:cubicBezTo>
                  <a:cubicBezTo>
                    <a:pt x="321" y="576"/>
                    <a:pt x="322" y="576"/>
                    <a:pt x="322" y="576"/>
                  </a:cubicBezTo>
                  <a:cubicBezTo>
                    <a:pt x="323" y="577"/>
                    <a:pt x="323" y="577"/>
                    <a:pt x="323" y="577"/>
                  </a:cubicBezTo>
                  <a:cubicBezTo>
                    <a:pt x="323" y="578"/>
                    <a:pt x="322" y="578"/>
                    <a:pt x="322" y="578"/>
                  </a:cubicBezTo>
                  <a:cubicBezTo>
                    <a:pt x="322" y="579"/>
                    <a:pt x="322" y="580"/>
                    <a:pt x="322" y="580"/>
                  </a:cubicBezTo>
                  <a:cubicBezTo>
                    <a:pt x="323" y="580"/>
                    <a:pt x="323" y="580"/>
                    <a:pt x="323" y="580"/>
                  </a:cubicBezTo>
                  <a:cubicBezTo>
                    <a:pt x="324" y="580"/>
                    <a:pt x="324" y="580"/>
                    <a:pt x="325" y="580"/>
                  </a:cubicBezTo>
                  <a:cubicBezTo>
                    <a:pt x="325" y="580"/>
                    <a:pt x="326" y="581"/>
                    <a:pt x="326" y="581"/>
                  </a:cubicBezTo>
                  <a:cubicBezTo>
                    <a:pt x="327" y="582"/>
                    <a:pt x="327" y="583"/>
                    <a:pt x="328" y="583"/>
                  </a:cubicBezTo>
                  <a:cubicBezTo>
                    <a:pt x="328" y="583"/>
                    <a:pt x="328" y="584"/>
                    <a:pt x="328" y="584"/>
                  </a:cubicBezTo>
                  <a:cubicBezTo>
                    <a:pt x="327" y="585"/>
                    <a:pt x="327" y="585"/>
                    <a:pt x="327" y="585"/>
                  </a:cubicBezTo>
                  <a:cubicBezTo>
                    <a:pt x="327" y="586"/>
                    <a:pt x="327" y="586"/>
                    <a:pt x="327" y="586"/>
                  </a:cubicBezTo>
                  <a:cubicBezTo>
                    <a:pt x="327" y="587"/>
                    <a:pt x="328" y="587"/>
                    <a:pt x="328" y="588"/>
                  </a:cubicBezTo>
                  <a:cubicBezTo>
                    <a:pt x="329" y="588"/>
                    <a:pt x="329" y="588"/>
                    <a:pt x="329" y="588"/>
                  </a:cubicBezTo>
                  <a:cubicBezTo>
                    <a:pt x="331" y="588"/>
                    <a:pt x="331" y="588"/>
                    <a:pt x="331" y="588"/>
                  </a:cubicBezTo>
                  <a:cubicBezTo>
                    <a:pt x="333" y="586"/>
                    <a:pt x="333" y="586"/>
                    <a:pt x="333" y="586"/>
                  </a:cubicBezTo>
                  <a:cubicBezTo>
                    <a:pt x="333" y="585"/>
                    <a:pt x="333" y="585"/>
                    <a:pt x="333" y="585"/>
                  </a:cubicBezTo>
                  <a:cubicBezTo>
                    <a:pt x="334" y="586"/>
                    <a:pt x="334" y="586"/>
                    <a:pt x="334" y="586"/>
                  </a:cubicBezTo>
                  <a:cubicBezTo>
                    <a:pt x="335" y="589"/>
                    <a:pt x="335" y="589"/>
                    <a:pt x="335" y="589"/>
                  </a:cubicBezTo>
                  <a:cubicBezTo>
                    <a:pt x="336" y="589"/>
                    <a:pt x="336" y="589"/>
                    <a:pt x="336" y="589"/>
                  </a:cubicBezTo>
                  <a:cubicBezTo>
                    <a:pt x="336" y="589"/>
                    <a:pt x="336" y="589"/>
                    <a:pt x="336" y="589"/>
                  </a:cubicBezTo>
                  <a:cubicBezTo>
                    <a:pt x="335" y="590"/>
                    <a:pt x="335" y="590"/>
                    <a:pt x="335" y="590"/>
                  </a:cubicBezTo>
                  <a:cubicBezTo>
                    <a:pt x="333" y="591"/>
                    <a:pt x="333" y="591"/>
                    <a:pt x="333" y="591"/>
                  </a:cubicBezTo>
                  <a:cubicBezTo>
                    <a:pt x="335" y="598"/>
                    <a:pt x="335" y="598"/>
                    <a:pt x="335" y="598"/>
                  </a:cubicBezTo>
                  <a:cubicBezTo>
                    <a:pt x="335" y="598"/>
                    <a:pt x="335" y="598"/>
                    <a:pt x="337" y="599"/>
                  </a:cubicBezTo>
                  <a:cubicBezTo>
                    <a:pt x="340" y="599"/>
                    <a:pt x="338" y="599"/>
                    <a:pt x="340" y="598"/>
                  </a:cubicBezTo>
                  <a:cubicBezTo>
                    <a:pt x="341" y="597"/>
                    <a:pt x="341" y="598"/>
                    <a:pt x="342" y="597"/>
                  </a:cubicBezTo>
                  <a:cubicBezTo>
                    <a:pt x="342" y="597"/>
                    <a:pt x="343" y="595"/>
                    <a:pt x="344" y="594"/>
                  </a:cubicBezTo>
                  <a:cubicBezTo>
                    <a:pt x="344" y="594"/>
                    <a:pt x="346" y="594"/>
                    <a:pt x="347" y="594"/>
                  </a:cubicBezTo>
                  <a:cubicBezTo>
                    <a:pt x="347" y="594"/>
                    <a:pt x="347" y="595"/>
                    <a:pt x="347" y="596"/>
                  </a:cubicBezTo>
                  <a:cubicBezTo>
                    <a:pt x="347" y="597"/>
                    <a:pt x="350" y="596"/>
                    <a:pt x="351" y="596"/>
                  </a:cubicBezTo>
                  <a:cubicBezTo>
                    <a:pt x="352" y="596"/>
                    <a:pt x="355" y="595"/>
                    <a:pt x="355" y="594"/>
                  </a:cubicBezTo>
                  <a:cubicBezTo>
                    <a:pt x="355" y="593"/>
                    <a:pt x="357" y="593"/>
                    <a:pt x="357" y="593"/>
                  </a:cubicBezTo>
                  <a:cubicBezTo>
                    <a:pt x="358" y="593"/>
                    <a:pt x="361" y="593"/>
                    <a:pt x="361" y="591"/>
                  </a:cubicBezTo>
                  <a:cubicBezTo>
                    <a:pt x="361" y="590"/>
                    <a:pt x="361" y="590"/>
                    <a:pt x="362" y="588"/>
                  </a:cubicBezTo>
                  <a:cubicBezTo>
                    <a:pt x="364" y="586"/>
                    <a:pt x="364" y="588"/>
                    <a:pt x="364" y="589"/>
                  </a:cubicBezTo>
                  <a:cubicBezTo>
                    <a:pt x="364" y="589"/>
                    <a:pt x="364" y="591"/>
                    <a:pt x="364" y="591"/>
                  </a:cubicBezTo>
                  <a:cubicBezTo>
                    <a:pt x="367" y="592"/>
                    <a:pt x="367" y="592"/>
                    <a:pt x="367" y="592"/>
                  </a:cubicBezTo>
                  <a:cubicBezTo>
                    <a:pt x="370" y="588"/>
                    <a:pt x="370" y="588"/>
                    <a:pt x="370" y="588"/>
                  </a:cubicBezTo>
                  <a:cubicBezTo>
                    <a:pt x="371" y="592"/>
                    <a:pt x="371" y="592"/>
                    <a:pt x="371" y="592"/>
                  </a:cubicBezTo>
                  <a:cubicBezTo>
                    <a:pt x="370" y="595"/>
                    <a:pt x="370" y="595"/>
                    <a:pt x="370" y="595"/>
                  </a:cubicBezTo>
                  <a:cubicBezTo>
                    <a:pt x="369" y="596"/>
                    <a:pt x="368" y="597"/>
                    <a:pt x="368" y="597"/>
                  </a:cubicBezTo>
                  <a:cubicBezTo>
                    <a:pt x="367" y="597"/>
                    <a:pt x="367" y="599"/>
                    <a:pt x="366" y="600"/>
                  </a:cubicBezTo>
                  <a:cubicBezTo>
                    <a:pt x="366" y="601"/>
                    <a:pt x="369" y="602"/>
                    <a:pt x="371" y="601"/>
                  </a:cubicBezTo>
                  <a:cubicBezTo>
                    <a:pt x="372" y="601"/>
                    <a:pt x="375" y="600"/>
                    <a:pt x="375" y="600"/>
                  </a:cubicBezTo>
                  <a:cubicBezTo>
                    <a:pt x="375" y="600"/>
                    <a:pt x="374" y="603"/>
                    <a:pt x="375" y="604"/>
                  </a:cubicBezTo>
                  <a:cubicBezTo>
                    <a:pt x="376" y="605"/>
                    <a:pt x="377" y="604"/>
                    <a:pt x="378" y="604"/>
                  </a:cubicBezTo>
                  <a:cubicBezTo>
                    <a:pt x="380" y="604"/>
                    <a:pt x="379" y="606"/>
                    <a:pt x="378" y="606"/>
                  </a:cubicBezTo>
                  <a:cubicBezTo>
                    <a:pt x="378" y="606"/>
                    <a:pt x="378" y="608"/>
                    <a:pt x="377" y="609"/>
                  </a:cubicBezTo>
                  <a:cubicBezTo>
                    <a:pt x="377" y="610"/>
                    <a:pt x="379" y="612"/>
                    <a:pt x="380" y="611"/>
                  </a:cubicBezTo>
                  <a:cubicBezTo>
                    <a:pt x="381" y="610"/>
                    <a:pt x="383" y="609"/>
                    <a:pt x="385" y="609"/>
                  </a:cubicBezTo>
                  <a:cubicBezTo>
                    <a:pt x="386" y="608"/>
                    <a:pt x="386" y="610"/>
                    <a:pt x="386" y="610"/>
                  </a:cubicBezTo>
                  <a:cubicBezTo>
                    <a:pt x="390" y="611"/>
                    <a:pt x="390" y="611"/>
                    <a:pt x="390" y="611"/>
                  </a:cubicBezTo>
                  <a:cubicBezTo>
                    <a:pt x="390" y="614"/>
                    <a:pt x="390" y="614"/>
                    <a:pt x="390" y="614"/>
                  </a:cubicBezTo>
                  <a:cubicBezTo>
                    <a:pt x="390" y="614"/>
                    <a:pt x="393" y="613"/>
                    <a:pt x="393" y="612"/>
                  </a:cubicBezTo>
                  <a:cubicBezTo>
                    <a:pt x="392" y="610"/>
                    <a:pt x="393" y="611"/>
                    <a:pt x="394" y="610"/>
                  </a:cubicBezTo>
                  <a:cubicBezTo>
                    <a:pt x="395" y="609"/>
                    <a:pt x="396" y="611"/>
                    <a:pt x="397" y="610"/>
                  </a:cubicBezTo>
                  <a:cubicBezTo>
                    <a:pt x="397" y="610"/>
                    <a:pt x="399" y="609"/>
                    <a:pt x="399" y="607"/>
                  </a:cubicBezTo>
                  <a:cubicBezTo>
                    <a:pt x="400" y="606"/>
                    <a:pt x="398" y="607"/>
                    <a:pt x="397" y="606"/>
                  </a:cubicBezTo>
                  <a:cubicBezTo>
                    <a:pt x="396" y="605"/>
                    <a:pt x="395" y="605"/>
                    <a:pt x="393" y="603"/>
                  </a:cubicBezTo>
                  <a:cubicBezTo>
                    <a:pt x="392" y="601"/>
                    <a:pt x="394" y="603"/>
                    <a:pt x="396" y="602"/>
                  </a:cubicBezTo>
                  <a:cubicBezTo>
                    <a:pt x="398" y="601"/>
                    <a:pt x="400" y="603"/>
                    <a:pt x="401" y="601"/>
                  </a:cubicBezTo>
                  <a:cubicBezTo>
                    <a:pt x="403" y="600"/>
                    <a:pt x="401" y="601"/>
                    <a:pt x="401" y="600"/>
                  </a:cubicBezTo>
                  <a:cubicBezTo>
                    <a:pt x="401" y="598"/>
                    <a:pt x="402" y="599"/>
                    <a:pt x="404" y="597"/>
                  </a:cubicBezTo>
                  <a:cubicBezTo>
                    <a:pt x="406" y="596"/>
                    <a:pt x="406" y="598"/>
                    <a:pt x="406" y="596"/>
                  </a:cubicBezTo>
                  <a:cubicBezTo>
                    <a:pt x="407" y="594"/>
                    <a:pt x="405" y="594"/>
                    <a:pt x="405" y="591"/>
                  </a:cubicBezTo>
                  <a:cubicBezTo>
                    <a:pt x="405" y="588"/>
                    <a:pt x="405" y="588"/>
                    <a:pt x="406" y="587"/>
                  </a:cubicBezTo>
                  <a:cubicBezTo>
                    <a:pt x="406" y="586"/>
                    <a:pt x="407" y="587"/>
                    <a:pt x="408" y="586"/>
                  </a:cubicBezTo>
                  <a:cubicBezTo>
                    <a:pt x="409" y="585"/>
                    <a:pt x="410" y="585"/>
                    <a:pt x="410" y="584"/>
                  </a:cubicBezTo>
                  <a:cubicBezTo>
                    <a:pt x="409" y="582"/>
                    <a:pt x="408" y="582"/>
                    <a:pt x="407" y="581"/>
                  </a:cubicBezTo>
                  <a:cubicBezTo>
                    <a:pt x="406" y="579"/>
                    <a:pt x="408" y="580"/>
                    <a:pt x="409" y="579"/>
                  </a:cubicBezTo>
                  <a:cubicBezTo>
                    <a:pt x="409" y="579"/>
                    <a:pt x="410" y="579"/>
                    <a:pt x="411" y="578"/>
                  </a:cubicBezTo>
                  <a:cubicBezTo>
                    <a:pt x="411" y="578"/>
                    <a:pt x="412" y="574"/>
                    <a:pt x="412" y="574"/>
                  </a:cubicBezTo>
                  <a:cubicBezTo>
                    <a:pt x="412" y="574"/>
                    <a:pt x="412" y="571"/>
                    <a:pt x="412" y="570"/>
                  </a:cubicBezTo>
                  <a:cubicBezTo>
                    <a:pt x="412" y="569"/>
                    <a:pt x="412" y="569"/>
                    <a:pt x="413" y="568"/>
                  </a:cubicBezTo>
                  <a:cubicBezTo>
                    <a:pt x="413" y="567"/>
                    <a:pt x="413" y="566"/>
                    <a:pt x="413" y="565"/>
                  </a:cubicBezTo>
                  <a:cubicBezTo>
                    <a:pt x="413" y="564"/>
                    <a:pt x="411" y="563"/>
                    <a:pt x="411" y="562"/>
                  </a:cubicBezTo>
                  <a:cubicBezTo>
                    <a:pt x="410" y="561"/>
                    <a:pt x="410" y="562"/>
                    <a:pt x="408" y="560"/>
                  </a:cubicBezTo>
                  <a:cubicBezTo>
                    <a:pt x="406" y="559"/>
                    <a:pt x="405" y="559"/>
                    <a:pt x="404" y="558"/>
                  </a:cubicBezTo>
                  <a:cubicBezTo>
                    <a:pt x="404" y="557"/>
                    <a:pt x="405" y="557"/>
                    <a:pt x="406" y="556"/>
                  </a:cubicBezTo>
                  <a:cubicBezTo>
                    <a:pt x="407" y="554"/>
                    <a:pt x="408" y="555"/>
                    <a:pt x="410" y="555"/>
                  </a:cubicBezTo>
                  <a:cubicBezTo>
                    <a:pt x="411" y="554"/>
                    <a:pt x="412" y="555"/>
                    <a:pt x="412" y="555"/>
                  </a:cubicBezTo>
                  <a:cubicBezTo>
                    <a:pt x="412" y="555"/>
                    <a:pt x="415" y="556"/>
                    <a:pt x="416" y="556"/>
                  </a:cubicBezTo>
                  <a:cubicBezTo>
                    <a:pt x="417" y="555"/>
                    <a:pt x="419" y="555"/>
                    <a:pt x="420" y="552"/>
                  </a:cubicBezTo>
                  <a:cubicBezTo>
                    <a:pt x="422" y="548"/>
                    <a:pt x="420" y="550"/>
                    <a:pt x="421" y="549"/>
                  </a:cubicBezTo>
                  <a:cubicBezTo>
                    <a:pt x="421" y="548"/>
                    <a:pt x="422" y="548"/>
                    <a:pt x="423" y="547"/>
                  </a:cubicBezTo>
                  <a:cubicBezTo>
                    <a:pt x="423" y="546"/>
                    <a:pt x="424" y="547"/>
                    <a:pt x="425" y="545"/>
                  </a:cubicBezTo>
                  <a:cubicBezTo>
                    <a:pt x="426" y="544"/>
                    <a:pt x="428" y="543"/>
                    <a:pt x="428" y="543"/>
                  </a:cubicBezTo>
                  <a:cubicBezTo>
                    <a:pt x="429" y="542"/>
                    <a:pt x="429" y="542"/>
                    <a:pt x="429" y="541"/>
                  </a:cubicBezTo>
                  <a:cubicBezTo>
                    <a:pt x="429" y="540"/>
                    <a:pt x="426" y="540"/>
                    <a:pt x="426" y="540"/>
                  </a:cubicBezTo>
                  <a:cubicBezTo>
                    <a:pt x="426" y="540"/>
                    <a:pt x="425" y="538"/>
                    <a:pt x="425" y="537"/>
                  </a:cubicBezTo>
                  <a:cubicBezTo>
                    <a:pt x="425" y="535"/>
                    <a:pt x="428" y="538"/>
                    <a:pt x="429" y="536"/>
                  </a:cubicBezTo>
                  <a:cubicBezTo>
                    <a:pt x="431" y="533"/>
                    <a:pt x="432" y="538"/>
                    <a:pt x="432" y="537"/>
                  </a:cubicBezTo>
                  <a:cubicBezTo>
                    <a:pt x="433" y="537"/>
                    <a:pt x="434" y="536"/>
                    <a:pt x="434" y="536"/>
                  </a:cubicBezTo>
                  <a:cubicBezTo>
                    <a:pt x="434" y="536"/>
                    <a:pt x="436" y="532"/>
                    <a:pt x="436" y="530"/>
                  </a:cubicBezTo>
                  <a:cubicBezTo>
                    <a:pt x="436" y="528"/>
                    <a:pt x="435" y="528"/>
                    <a:pt x="435" y="528"/>
                  </a:cubicBezTo>
                  <a:cubicBezTo>
                    <a:pt x="435" y="527"/>
                    <a:pt x="434" y="527"/>
                    <a:pt x="433" y="525"/>
                  </a:cubicBezTo>
                  <a:cubicBezTo>
                    <a:pt x="432" y="524"/>
                    <a:pt x="427" y="525"/>
                    <a:pt x="427" y="525"/>
                  </a:cubicBezTo>
                  <a:cubicBezTo>
                    <a:pt x="427" y="525"/>
                    <a:pt x="425" y="525"/>
                    <a:pt x="425" y="524"/>
                  </a:cubicBezTo>
                  <a:cubicBezTo>
                    <a:pt x="424" y="523"/>
                    <a:pt x="424" y="525"/>
                    <a:pt x="429" y="522"/>
                  </a:cubicBezTo>
                  <a:cubicBezTo>
                    <a:pt x="434" y="519"/>
                    <a:pt x="432" y="522"/>
                    <a:pt x="433" y="522"/>
                  </a:cubicBezTo>
                  <a:cubicBezTo>
                    <a:pt x="434" y="521"/>
                    <a:pt x="436" y="523"/>
                    <a:pt x="437" y="521"/>
                  </a:cubicBezTo>
                  <a:cubicBezTo>
                    <a:pt x="439" y="520"/>
                    <a:pt x="440" y="519"/>
                    <a:pt x="440" y="518"/>
                  </a:cubicBezTo>
                  <a:cubicBezTo>
                    <a:pt x="441" y="517"/>
                    <a:pt x="439" y="517"/>
                    <a:pt x="438" y="514"/>
                  </a:cubicBezTo>
                  <a:cubicBezTo>
                    <a:pt x="437" y="512"/>
                    <a:pt x="437" y="513"/>
                    <a:pt x="437" y="511"/>
                  </a:cubicBezTo>
                  <a:cubicBezTo>
                    <a:pt x="436" y="510"/>
                    <a:pt x="435" y="511"/>
                    <a:pt x="433" y="511"/>
                  </a:cubicBezTo>
                  <a:cubicBezTo>
                    <a:pt x="431" y="510"/>
                    <a:pt x="430" y="510"/>
                    <a:pt x="429" y="510"/>
                  </a:cubicBezTo>
                  <a:cubicBezTo>
                    <a:pt x="429" y="509"/>
                    <a:pt x="429" y="508"/>
                    <a:pt x="429" y="506"/>
                  </a:cubicBezTo>
                  <a:cubicBezTo>
                    <a:pt x="429" y="504"/>
                    <a:pt x="432" y="506"/>
                    <a:pt x="433" y="505"/>
                  </a:cubicBezTo>
                  <a:cubicBezTo>
                    <a:pt x="434" y="503"/>
                    <a:pt x="434" y="505"/>
                    <a:pt x="436" y="505"/>
                  </a:cubicBezTo>
                  <a:cubicBezTo>
                    <a:pt x="438" y="505"/>
                    <a:pt x="438" y="508"/>
                    <a:pt x="439" y="507"/>
                  </a:cubicBezTo>
                  <a:cubicBezTo>
                    <a:pt x="440" y="506"/>
                    <a:pt x="442" y="506"/>
                    <a:pt x="443" y="505"/>
                  </a:cubicBezTo>
                  <a:cubicBezTo>
                    <a:pt x="444" y="503"/>
                    <a:pt x="443" y="504"/>
                    <a:pt x="445" y="502"/>
                  </a:cubicBezTo>
                  <a:cubicBezTo>
                    <a:pt x="446" y="501"/>
                    <a:pt x="447" y="503"/>
                    <a:pt x="448" y="502"/>
                  </a:cubicBezTo>
                  <a:cubicBezTo>
                    <a:pt x="449" y="501"/>
                    <a:pt x="448" y="501"/>
                    <a:pt x="448" y="500"/>
                  </a:cubicBezTo>
                  <a:cubicBezTo>
                    <a:pt x="448" y="499"/>
                    <a:pt x="447" y="500"/>
                    <a:pt x="446" y="499"/>
                  </a:cubicBezTo>
                  <a:cubicBezTo>
                    <a:pt x="444" y="498"/>
                    <a:pt x="445" y="499"/>
                    <a:pt x="444" y="498"/>
                  </a:cubicBezTo>
                  <a:cubicBezTo>
                    <a:pt x="443" y="497"/>
                    <a:pt x="443" y="497"/>
                    <a:pt x="445" y="495"/>
                  </a:cubicBezTo>
                  <a:cubicBezTo>
                    <a:pt x="447" y="492"/>
                    <a:pt x="447" y="494"/>
                    <a:pt x="448" y="494"/>
                  </a:cubicBezTo>
                  <a:cubicBezTo>
                    <a:pt x="449" y="494"/>
                    <a:pt x="451" y="494"/>
                    <a:pt x="452" y="495"/>
                  </a:cubicBezTo>
                  <a:cubicBezTo>
                    <a:pt x="453" y="495"/>
                    <a:pt x="455" y="494"/>
                    <a:pt x="457" y="495"/>
                  </a:cubicBezTo>
                  <a:cubicBezTo>
                    <a:pt x="459" y="495"/>
                    <a:pt x="462" y="494"/>
                    <a:pt x="464" y="493"/>
                  </a:cubicBezTo>
                  <a:cubicBezTo>
                    <a:pt x="466" y="492"/>
                    <a:pt x="466" y="491"/>
                    <a:pt x="467" y="489"/>
                  </a:cubicBezTo>
                  <a:cubicBezTo>
                    <a:pt x="468" y="486"/>
                    <a:pt x="467" y="488"/>
                    <a:pt x="468" y="487"/>
                  </a:cubicBezTo>
                  <a:cubicBezTo>
                    <a:pt x="469" y="486"/>
                    <a:pt x="469" y="488"/>
                    <a:pt x="470" y="486"/>
                  </a:cubicBezTo>
                  <a:cubicBezTo>
                    <a:pt x="471" y="485"/>
                    <a:pt x="471" y="484"/>
                    <a:pt x="471" y="483"/>
                  </a:cubicBezTo>
                  <a:cubicBezTo>
                    <a:pt x="471" y="482"/>
                    <a:pt x="471" y="482"/>
                    <a:pt x="471" y="481"/>
                  </a:cubicBezTo>
                  <a:cubicBezTo>
                    <a:pt x="471" y="480"/>
                    <a:pt x="472" y="479"/>
                    <a:pt x="473" y="479"/>
                  </a:cubicBezTo>
                  <a:cubicBezTo>
                    <a:pt x="473" y="478"/>
                    <a:pt x="474" y="478"/>
                    <a:pt x="474" y="478"/>
                  </a:cubicBezTo>
                  <a:cubicBezTo>
                    <a:pt x="475" y="478"/>
                    <a:pt x="477" y="479"/>
                    <a:pt x="477" y="479"/>
                  </a:cubicBezTo>
                  <a:cubicBezTo>
                    <a:pt x="477" y="480"/>
                    <a:pt x="477" y="479"/>
                    <a:pt x="476" y="480"/>
                  </a:cubicBezTo>
                  <a:cubicBezTo>
                    <a:pt x="476" y="482"/>
                    <a:pt x="474" y="482"/>
                    <a:pt x="474" y="482"/>
                  </a:cubicBezTo>
                  <a:cubicBezTo>
                    <a:pt x="474" y="482"/>
                    <a:pt x="473" y="484"/>
                    <a:pt x="473" y="485"/>
                  </a:cubicBezTo>
                  <a:cubicBezTo>
                    <a:pt x="473" y="485"/>
                    <a:pt x="473" y="487"/>
                    <a:pt x="472" y="487"/>
                  </a:cubicBezTo>
                  <a:cubicBezTo>
                    <a:pt x="471" y="488"/>
                    <a:pt x="470" y="489"/>
                    <a:pt x="470" y="490"/>
                  </a:cubicBezTo>
                  <a:cubicBezTo>
                    <a:pt x="469" y="490"/>
                    <a:pt x="470" y="493"/>
                    <a:pt x="471" y="494"/>
                  </a:cubicBezTo>
                  <a:cubicBezTo>
                    <a:pt x="472" y="495"/>
                    <a:pt x="474" y="494"/>
                    <a:pt x="475" y="493"/>
                  </a:cubicBezTo>
                  <a:cubicBezTo>
                    <a:pt x="476" y="492"/>
                    <a:pt x="475" y="492"/>
                    <a:pt x="475" y="490"/>
                  </a:cubicBezTo>
                  <a:cubicBezTo>
                    <a:pt x="476" y="489"/>
                    <a:pt x="475" y="489"/>
                    <a:pt x="476" y="488"/>
                  </a:cubicBezTo>
                  <a:cubicBezTo>
                    <a:pt x="476" y="487"/>
                    <a:pt x="478" y="490"/>
                    <a:pt x="479" y="489"/>
                  </a:cubicBezTo>
                  <a:cubicBezTo>
                    <a:pt x="479" y="489"/>
                    <a:pt x="479" y="490"/>
                    <a:pt x="480" y="489"/>
                  </a:cubicBezTo>
                  <a:cubicBezTo>
                    <a:pt x="481" y="488"/>
                    <a:pt x="481" y="489"/>
                    <a:pt x="481" y="488"/>
                  </a:cubicBezTo>
                  <a:cubicBezTo>
                    <a:pt x="482" y="488"/>
                    <a:pt x="482" y="487"/>
                    <a:pt x="484" y="487"/>
                  </a:cubicBezTo>
                  <a:cubicBezTo>
                    <a:pt x="484" y="487"/>
                    <a:pt x="486" y="490"/>
                    <a:pt x="488" y="490"/>
                  </a:cubicBezTo>
                  <a:cubicBezTo>
                    <a:pt x="489" y="489"/>
                    <a:pt x="488" y="489"/>
                    <a:pt x="487" y="487"/>
                  </a:cubicBezTo>
                  <a:cubicBezTo>
                    <a:pt x="487" y="486"/>
                    <a:pt x="488" y="487"/>
                    <a:pt x="488" y="486"/>
                  </a:cubicBezTo>
                  <a:cubicBezTo>
                    <a:pt x="488" y="485"/>
                    <a:pt x="490" y="484"/>
                    <a:pt x="491" y="484"/>
                  </a:cubicBezTo>
                  <a:cubicBezTo>
                    <a:pt x="491" y="483"/>
                    <a:pt x="491" y="484"/>
                    <a:pt x="491" y="485"/>
                  </a:cubicBezTo>
                  <a:cubicBezTo>
                    <a:pt x="491" y="485"/>
                    <a:pt x="495" y="488"/>
                    <a:pt x="496" y="488"/>
                  </a:cubicBezTo>
                  <a:cubicBezTo>
                    <a:pt x="497" y="487"/>
                    <a:pt x="496" y="486"/>
                    <a:pt x="497" y="485"/>
                  </a:cubicBezTo>
                  <a:cubicBezTo>
                    <a:pt x="497" y="484"/>
                    <a:pt x="498" y="484"/>
                    <a:pt x="499" y="484"/>
                  </a:cubicBezTo>
                  <a:cubicBezTo>
                    <a:pt x="500" y="483"/>
                    <a:pt x="500" y="482"/>
                    <a:pt x="501" y="482"/>
                  </a:cubicBezTo>
                  <a:cubicBezTo>
                    <a:pt x="501" y="481"/>
                    <a:pt x="501" y="479"/>
                    <a:pt x="503" y="479"/>
                  </a:cubicBezTo>
                  <a:cubicBezTo>
                    <a:pt x="505" y="479"/>
                    <a:pt x="504" y="479"/>
                    <a:pt x="505" y="480"/>
                  </a:cubicBezTo>
                  <a:cubicBezTo>
                    <a:pt x="507" y="481"/>
                    <a:pt x="508" y="480"/>
                    <a:pt x="509" y="480"/>
                  </a:cubicBezTo>
                  <a:cubicBezTo>
                    <a:pt x="510" y="480"/>
                    <a:pt x="515" y="479"/>
                    <a:pt x="515" y="478"/>
                  </a:cubicBezTo>
                  <a:cubicBezTo>
                    <a:pt x="516" y="477"/>
                    <a:pt x="516" y="477"/>
                    <a:pt x="517" y="476"/>
                  </a:cubicBezTo>
                  <a:cubicBezTo>
                    <a:pt x="517" y="474"/>
                    <a:pt x="516" y="471"/>
                    <a:pt x="517" y="470"/>
                  </a:cubicBezTo>
                  <a:cubicBezTo>
                    <a:pt x="517" y="469"/>
                    <a:pt x="519" y="471"/>
                    <a:pt x="519" y="472"/>
                  </a:cubicBezTo>
                  <a:cubicBezTo>
                    <a:pt x="520" y="472"/>
                    <a:pt x="521" y="471"/>
                    <a:pt x="522" y="470"/>
                  </a:cubicBezTo>
                  <a:cubicBezTo>
                    <a:pt x="522" y="469"/>
                    <a:pt x="523" y="468"/>
                    <a:pt x="524" y="466"/>
                  </a:cubicBezTo>
                  <a:cubicBezTo>
                    <a:pt x="525" y="464"/>
                    <a:pt x="524" y="464"/>
                    <a:pt x="524" y="464"/>
                  </a:cubicBezTo>
                  <a:cubicBezTo>
                    <a:pt x="525" y="464"/>
                    <a:pt x="525" y="463"/>
                    <a:pt x="527" y="462"/>
                  </a:cubicBezTo>
                  <a:cubicBezTo>
                    <a:pt x="528" y="461"/>
                    <a:pt x="529" y="460"/>
                    <a:pt x="530" y="459"/>
                  </a:cubicBezTo>
                  <a:cubicBezTo>
                    <a:pt x="531" y="458"/>
                    <a:pt x="530" y="457"/>
                    <a:pt x="530" y="456"/>
                  </a:cubicBezTo>
                  <a:cubicBezTo>
                    <a:pt x="530" y="455"/>
                    <a:pt x="531" y="453"/>
                    <a:pt x="532" y="452"/>
                  </a:cubicBezTo>
                  <a:cubicBezTo>
                    <a:pt x="533" y="450"/>
                    <a:pt x="534" y="450"/>
                    <a:pt x="535" y="449"/>
                  </a:cubicBezTo>
                  <a:cubicBezTo>
                    <a:pt x="536" y="448"/>
                    <a:pt x="537" y="448"/>
                    <a:pt x="538" y="447"/>
                  </a:cubicBezTo>
                  <a:cubicBezTo>
                    <a:pt x="538" y="447"/>
                    <a:pt x="541" y="446"/>
                    <a:pt x="541" y="445"/>
                  </a:cubicBezTo>
                  <a:cubicBezTo>
                    <a:pt x="542" y="444"/>
                    <a:pt x="545" y="443"/>
                    <a:pt x="545" y="443"/>
                  </a:cubicBezTo>
                  <a:cubicBezTo>
                    <a:pt x="546" y="442"/>
                    <a:pt x="549" y="442"/>
                    <a:pt x="550" y="442"/>
                  </a:cubicBezTo>
                  <a:cubicBezTo>
                    <a:pt x="551" y="441"/>
                    <a:pt x="551" y="441"/>
                    <a:pt x="552" y="439"/>
                  </a:cubicBezTo>
                  <a:cubicBezTo>
                    <a:pt x="553" y="438"/>
                    <a:pt x="550" y="437"/>
                    <a:pt x="549" y="437"/>
                  </a:cubicBezTo>
                  <a:cubicBezTo>
                    <a:pt x="549" y="436"/>
                    <a:pt x="548" y="433"/>
                    <a:pt x="547" y="433"/>
                  </a:cubicBezTo>
                  <a:cubicBezTo>
                    <a:pt x="546" y="432"/>
                    <a:pt x="547" y="432"/>
                    <a:pt x="546" y="430"/>
                  </a:cubicBezTo>
                  <a:cubicBezTo>
                    <a:pt x="545" y="427"/>
                    <a:pt x="547" y="429"/>
                    <a:pt x="548" y="429"/>
                  </a:cubicBezTo>
                  <a:cubicBezTo>
                    <a:pt x="549" y="429"/>
                    <a:pt x="551" y="432"/>
                    <a:pt x="552" y="432"/>
                  </a:cubicBezTo>
                  <a:cubicBezTo>
                    <a:pt x="554" y="432"/>
                    <a:pt x="554" y="433"/>
                    <a:pt x="557" y="434"/>
                  </a:cubicBezTo>
                  <a:cubicBezTo>
                    <a:pt x="560" y="435"/>
                    <a:pt x="560" y="437"/>
                    <a:pt x="561" y="438"/>
                  </a:cubicBezTo>
                  <a:cubicBezTo>
                    <a:pt x="562" y="439"/>
                    <a:pt x="566" y="438"/>
                    <a:pt x="567" y="438"/>
                  </a:cubicBezTo>
                  <a:cubicBezTo>
                    <a:pt x="569" y="437"/>
                    <a:pt x="569" y="437"/>
                    <a:pt x="569" y="435"/>
                  </a:cubicBezTo>
                  <a:cubicBezTo>
                    <a:pt x="569" y="434"/>
                    <a:pt x="570" y="435"/>
                    <a:pt x="571" y="435"/>
                  </a:cubicBezTo>
                  <a:cubicBezTo>
                    <a:pt x="572" y="435"/>
                    <a:pt x="574" y="437"/>
                    <a:pt x="574" y="437"/>
                  </a:cubicBezTo>
                  <a:cubicBezTo>
                    <a:pt x="574" y="437"/>
                    <a:pt x="579" y="436"/>
                    <a:pt x="579" y="436"/>
                  </a:cubicBezTo>
                  <a:cubicBezTo>
                    <a:pt x="580" y="435"/>
                    <a:pt x="580" y="434"/>
                    <a:pt x="580" y="434"/>
                  </a:cubicBezTo>
                  <a:cubicBezTo>
                    <a:pt x="579" y="434"/>
                    <a:pt x="578" y="434"/>
                    <a:pt x="577" y="434"/>
                  </a:cubicBezTo>
                  <a:cubicBezTo>
                    <a:pt x="576" y="434"/>
                    <a:pt x="576" y="432"/>
                    <a:pt x="577" y="432"/>
                  </a:cubicBezTo>
                  <a:cubicBezTo>
                    <a:pt x="577" y="431"/>
                    <a:pt x="579" y="432"/>
                    <a:pt x="579" y="431"/>
                  </a:cubicBezTo>
                  <a:cubicBezTo>
                    <a:pt x="580" y="430"/>
                    <a:pt x="583" y="434"/>
                    <a:pt x="583" y="434"/>
                  </a:cubicBezTo>
                  <a:cubicBezTo>
                    <a:pt x="584" y="434"/>
                    <a:pt x="585" y="435"/>
                    <a:pt x="585" y="435"/>
                  </a:cubicBezTo>
                  <a:cubicBezTo>
                    <a:pt x="585" y="434"/>
                    <a:pt x="588" y="433"/>
                    <a:pt x="590" y="431"/>
                  </a:cubicBezTo>
                  <a:cubicBezTo>
                    <a:pt x="591" y="430"/>
                    <a:pt x="594" y="433"/>
                    <a:pt x="596" y="431"/>
                  </a:cubicBezTo>
                  <a:cubicBezTo>
                    <a:pt x="597" y="430"/>
                    <a:pt x="599" y="431"/>
                    <a:pt x="602" y="429"/>
                  </a:cubicBezTo>
                  <a:cubicBezTo>
                    <a:pt x="604" y="427"/>
                    <a:pt x="604" y="429"/>
                    <a:pt x="605" y="428"/>
                  </a:cubicBezTo>
                  <a:cubicBezTo>
                    <a:pt x="606" y="428"/>
                    <a:pt x="607" y="429"/>
                    <a:pt x="607" y="429"/>
                  </a:cubicBezTo>
                  <a:cubicBezTo>
                    <a:pt x="608" y="428"/>
                    <a:pt x="616" y="426"/>
                    <a:pt x="617" y="425"/>
                  </a:cubicBezTo>
                  <a:cubicBezTo>
                    <a:pt x="617" y="424"/>
                    <a:pt x="618" y="425"/>
                    <a:pt x="620" y="424"/>
                  </a:cubicBezTo>
                  <a:cubicBezTo>
                    <a:pt x="621" y="422"/>
                    <a:pt x="622" y="423"/>
                    <a:pt x="624" y="423"/>
                  </a:cubicBezTo>
                  <a:cubicBezTo>
                    <a:pt x="626" y="423"/>
                    <a:pt x="627" y="424"/>
                    <a:pt x="628" y="422"/>
                  </a:cubicBezTo>
                  <a:cubicBezTo>
                    <a:pt x="630" y="421"/>
                    <a:pt x="631" y="422"/>
                    <a:pt x="631" y="422"/>
                  </a:cubicBezTo>
                  <a:cubicBezTo>
                    <a:pt x="631" y="421"/>
                    <a:pt x="632" y="422"/>
                    <a:pt x="633" y="421"/>
                  </a:cubicBezTo>
                  <a:cubicBezTo>
                    <a:pt x="634" y="420"/>
                    <a:pt x="634" y="421"/>
                    <a:pt x="635" y="419"/>
                  </a:cubicBezTo>
                  <a:cubicBezTo>
                    <a:pt x="636" y="417"/>
                    <a:pt x="636" y="420"/>
                    <a:pt x="639" y="416"/>
                  </a:cubicBezTo>
                  <a:cubicBezTo>
                    <a:pt x="642" y="413"/>
                    <a:pt x="642" y="416"/>
                    <a:pt x="643" y="415"/>
                  </a:cubicBezTo>
                  <a:cubicBezTo>
                    <a:pt x="644" y="415"/>
                    <a:pt x="647" y="414"/>
                    <a:pt x="647" y="412"/>
                  </a:cubicBezTo>
                  <a:cubicBezTo>
                    <a:pt x="648" y="410"/>
                    <a:pt x="650" y="410"/>
                    <a:pt x="651" y="409"/>
                  </a:cubicBezTo>
                  <a:cubicBezTo>
                    <a:pt x="652" y="408"/>
                    <a:pt x="664" y="401"/>
                    <a:pt x="664" y="399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71" name="Freeform 130"/>
            <p:cNvSpPr>
              <a:spLocks/>
            </p:cNvSpPr>
            <p:nvPr/>
          </p:nvSpPr>
          <p:spPr bwMode="auto">
            <a:xfrm>
              <a:off x="3588" y="1639"/>
              <a:ext cx="33" cy="20"/>
            </a:xfrm>
            <a:custGeom>
              <a:avLst/>
              <a:gdLst>
                <a:gd name="T0" fmla="*/ 31 w 45"/>
                <a:gd name="T1" fmla="*/ 10 h 27"/>
                <a:gd name="T2" fmla="*/ 26 w 45"/>
                <a:gd name="T3" fmla="*/ 4 h 27"/>
                <a:gd name="T4" fmla="*/ 19 w 45"/>
                <a:gd name="T5" fmla="*/ 1 h 27"/>
                <a:gd name="T6" fmla="*/ 3 w 45"/>
                <a:gd name="T7" fmla="*/ 2 h 27"/>
                <a:gd name="T8" fmla="*/ 3 w 45"/>
                <a:gd name="T9" fmla="*/ 10 h 27"/>
                <a:gd name="T10" fmla="*/ 9 w 45"/>
                <a:gd name="T11" fmla="*/ 11 h 27"/>
                <a:gd name="T12" fmla="*/ 2 w 45"/>
                <a:gd name="T13" fmla="*/ 14 h 27"/>
                <a:gd name="T14" fmla="*/ 6 w 45"/>
                <a:gd name="T15" fmla="*/ 20 h 27"/>
                <a:gd name="T16" fmla="*/ 16 w 45"/>
                <a:gd name="T17" fmla="*/ 20 h 27"/>
                <a:gd name="T18" fmla="*/ 12 w 45"/>
                <a:gd name="T19" fmla="*/ 24 h 27"/>
                <a:gd name="T20" fmla="*/ 21 w 45"/>
                <a:gd name="T21" fmla="*/ 26 h 27"/>
                <a:gd name="T22" fmla="*/ 35 w 45"/>
                <a:gd name="T23" fmla="*/ 23 h 27"/>
                <a:gd name="T24" fmla="*/ 40 w 45"/>
                <a:gd name="T25" fmla="*/ 21 h 27"/>
                <a:gd name="T26" fmla="*/ 43 w 45"/>
                <a:gd name="T27" fmla="*/ 14 h 27"/>
                <a:gd name="T28" fmla="*/ 31 w 45"/>
                <a:gd name="T29" fmla="*/ 1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5" h="27">
                  <a:moveTo>
                    <a:pt x="31" y="10"/>
                  </a:moveTo>
                  <a:cubicBezTo>
                    <a:pt x="30" y="8"/>
                    <a:pt x="28" y="6"/>
                    <a:pt x="26" y="4"/>
                  </a:cubicBezTo>
                  <a:cubicBezTo>
                    <a:pt x="23" y="2"/>
                    <a:pt x="23" y="2"/>
                    <a:pt x="19" y="1"/>
                  </a:cubicBezTo>
                  <a:cubicBezTo>
                    <a:pt x="14" y="1"/>
                    <a:pt x="9" y="0"/>
                    <a:pt x="3" y="2"/>
                  </a:cubicBezTo>
                  <a:cubicBezTo>
                    <a:pt x="0" y="4"/>
                    <a:pt x="2" y="9"/>
                    <a:pt x="3" y="10"/>
                  </a:cubicBezTo>
                  <a:cubicBezTo>
                    <a:pt x="5" y="11"/>
                    <a:pt x="9" y="9"/>
                    <a:pt x="9" y="11"/>
                  </a:cubicBezTo>
                  <a:cubicBezTo>
                    <a:pt x="8" y="13"/>
                    <a:pt x="1" y="11"/>
                    <a:pt x="2" y="14"/>
                  </a:cubicBezTo>
                  <a:cubicBezTo>
                    <a:pt x="3" y="17"/>
                    <a:pt x="4" y="19"/>
                    <a:pt x="6" y="20"/>
                  </a:cubicBezTo>
                  <a:cubicBezTo>
                    <a:pt x="8" y="20"/>
                    <a:pt x="14" y="18"/>
                    <a:pt x="16" y="20"/>
                  </a:cubicBezTo>
                  <a:cubicBezTo>
                    <a:pt x="19" y="25"/>
                    <a:pt x="9" y="22"/>
                    <a:pt x="12" y="24"/>
                  </a:cubicBezTo>
                  <a:cubicBezTo>
                    <a:pt x="14" y="27"/>
                    <a:pt x="20" y="26"/>
                    <a:pt x="21" y="26"/>
                  </a:cubicBezTo>
                  <a:cubicBezTo>
                    <a:pt x="23" y="26"/>
                    <a:pt x="34" y="24"/>
                    <a:pt x="35" y="23"/>
                  </a:cubicBezTo>
                  <a:cubicBezTo>
                    <a:pt x="36" y="23"/>
                    <a:pt x="35" y="23"/>
                    <a:pt x="40" y="21"/>
                  </a:cubicBezTo>
                  <a:cubicBezTo>
                    <a:pt x="45" y="19"/>
                    <a:pt x="45" y="16"/>
                    <a:pt x="43" y="14"/>
                  </a:cubicBezTo>
                  <a:cubicBezTo>
                    <a:pt x="42" y="11"/>
                    <a:pt x="32" y="13"/>
                    <a:pt x="31" y="1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72" name="Freeform 131"/>
            <p:cNvSpPr>
              <a:spLocks/>
            </p:cNvSpPr>
            <p:nvPr/>
          </p:nvSpPr>
          <p:spPr bwMode="auto">
            <a:xfrm>
              <a:off x="3597" y="1667"/>
              <a:ext cx="30" cy="20"/>
            </a:xfrm>
            <a:custGeom>
              <a:avLst/>
              <a:gdLst>
                <a:gd name="T0" fmla="*/ 35 w 40"/>
                <a:gd name="T1" fmla="*/ 10 h 28"/>
                <a:gd name="T2" fmla="*/ 33 w 40"/>
                <a:gd name="T3" fmla="*/ 6 h 28"/>
                <a:gd name="T4" fmla="*/ 29 w 40"/>
                <a:gd name="T5" fmla="*/ 4 h 28"/>
                <a:gd name="T6" fmla="*/ 18 w 40"/>
                <a:gd name="T7" fmla="*/ 2 h 28"/>
                <a:gd name="T8" fmla="*/ 20 w 40"/>
                <a:gd name="T9" fmla="*/ 6 h 28"/>
                <a:gd name="T10" fmla="*/ 17 w 40"/>
                <a:gd name="T11" fmla="*/ 9 h 28"/>
                <a:gd name="T12" fmla="*/ 11 w 40"/>
                <a:gd name="T13" fmla="*/ 11 h 28"/>
                <a:gd name="T14" fmla="*/ 18 w 40"/>
                <a:gd name="T15" fmla="*/ 13 h 28"/>
                <a:gd name="T16" fmla="*/ 16 w 40"/>
                <a:gd name="T17" fmla="*/ 17 h 28"/>
                <a:gd name="T18" fmla="*/ 9 w 40"/>
                <a:gd name="T19" fmla="*/ 20 h 28"/>
                <a:gd name="T20" fmla="*/ 4 w 40"/>
                <a:gd name="T21" fmla="*/ 23 h 28"/>
                <a:gd name="T22" fmla="*/ 3 w 40"/>
                <a:gd name="T23" fmla="*/ 28 h 28"/>
                <a:gd name="T24" fmla="*/ 14 w 40"/>
                <a:gd name="T25" fmla="*/ 24 h 28"/>
                <a:gd name="T26" fmla="*/ 18 w 40"/>
                <a:gd name="T27" fmla="*/ 23 h 28"/>
                <a:gd name="T28" fmla="*/ 24 w 40"/>
                <a:gd name="T29" fmla="*/ 23 h 28"/>
                <a:gd name="T30" fmla="*/ 29 w 40"/>
                <a:gd name="T31" fmla="*/ 21 h 28"/>
                <a:gd name="T32" fmla="*/ 34 w 40"/>
                <a:gd name="T33" fmla="*/ 24 h 28"/>
                <a:gd name="T34" fmla="*/ 39 w 40"/>
                <a:gd name="T35" fmla="*/ 21 h 28"/>
                <a:gd name="T36" fmla="*/ 39 w 40"/>
                <a:gd name="T37" fmla="*/ 17 h 28"/>
                <a:gd name="T38" fmla="*/ 33 w 40"/>
                <a:gd name="T39" fmla="*/ 17 h 28"/>
                <a:gd name="T40" fmla="*/ 24 w 40"/>
                <a:gd name="T41" fmla="*/ 16 h 28"/>
                <a:gd name="T42" fmla="*/ 33 w 40"/>
                <a:gd name="T43" fmla="*/ 13 h 28"/>
                <a:gd name="T44" fmla="*/ 35 w 40"/>
                <a:gd name="T45" fmla="*/ 1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0" h="28">
                  <a:moveTo>
                    <a:pt x="35" y="10"/>
                  </a:moveTo>
                  <a:cubicBezTo>
                    <a:pt x="35" y="6"/>
                    <a:pt x="36" y="6"/>
                    <a:pt x="33" y="6"/>
                  </a:cubicBezTo>
                  <a:cubicBezTo>
                    <a:pt x="30" y="6"/>
                    <a:pt x="29" y="6"/>
                    <a:pt x="29" y="4"/>
                  </a:cubicBezTo>
                  <a:cubicBezTo>
                    <a:pt x="28" y="2"/>
                    <a:pt x="23" y="0"/>
                    <a:pt x="18" y="2"/>
                  </a:cubicBezTo>
                  <a:cubicBezTo>
                    <a:pt x="16" y="3"/>
                    <a:pt x="19" y="2"/>
                    <a:pt x="20" y="6"/>
                  </a:cubicBezTo>
                  <a:cubicBezTo>
                    <a:pt x="21" y="9"/>
                    <a:pt x="21" y="8"/>
                    <a:pt x="17" y="9"/>
                  </a:cubicBezTo>
                  <a:cubicBezTo>
                    <a:pt x="14" y="10"/>
                    <a:pt x="8" y="10"/>
                    <a:pt x="11" y="11"/>
                  </a:cubicBezTo>
                  <a:cubicBezTo>
                    <a:pt x="13" y="12"/>
                    <a:pt x="16" y="13"/>
                    <a:pt x="18" y="13"/>
                  </a:cubicBezTo>
                  <a:cubicBezTo>
                    <a:pt x="21" y="14"/>
                    <a:pt x="18" y="17"/>
                    <a:pt x="16" y="17"/>
                  </a:cubicBezTo>
                  <a:cubicBezTo>
                    <a:pt x="13" y="17"/>
                    <a:pt x="9" y="18"/>
                    <a:pt x="9" y="20"/>
                  </a:cubicBezTo>
                  <a:cubicBezTo>
                    <a:pt x="9" y="21"/>
                    <a:pt x="5" y="20"/>
                    <a:pt x="4" y="23"/>
                  </a:cubicBezTo>
                  <a:cubicBezTo>
                    <a:pt x="3" y="26"/>
                    <a:pt x="0" y="28"/>
                    <a:pt x="3" y="28"/>
                  </a:cubicBezTo>
                  <a:cubicBezTo>
                    <a:pt x="7" y="28"/>
                    <a:pt x="12" y="25"/>
                    <a:pt x="14" y="24"/>
                  </a:cubicBezTo>
                  <a:cubicBezTo>
                    <a:pt x="16" y="23"/>
                    <a:pt x="17" y="23"/>
                    <a:pt x="18" y="23"/>
                  </a:cubicBezTo>
                  <a:cubicBezTo>
                    <a:pt x="20" y="23"/>
                    <a:pt x="24" y="23"/>
                    <a:pt x="24" y="23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9" y="21"/>
                    <a:pt x="30" y="26"/>
                    <a:pt x="34" y="24"/>
                  </a:cubicBezTo>
                  <a:cubicBezTo>
                    <a:pt x="37" y="22"/>
                    <a:pt x="38" y="22"/>
                    <a:pt x="39" y="21"/>
                  </a:cubicBezTo>
                  <a:cubicBezTo>
                    <a:pt x="40" y="20"/>
                    <a:pt x="40" y="18"/>
                    <a:pt x="39" y="17"/>
                  </a:cubicBezTo>
                  <a:cubicBezTo>
                    <a:pt x="37" y="17"/>
                    <a:pt x="38" y="17"/>
                    <a:pt x="33" y="17"/>
                  </a:cubicBezTo>
                  <a:cubicBezTo>
                    <a:pt x="28" y="16"/>
                    <a:pt x="24" y="16"/>
                    <a:pt x="24" y="16"/>
                  </a:cubicBezTo>
                  <a:cubicBezTo>
                    <a:pt x="24" y="16"/>
                    <a:pt x="30" y="13"/>
                    <a:pt x="33" y="13"/>
                  </a:cubicBezTo>
                  <a:cubicBezTo>
                    <a:pt x="36" y="13"/>
                    <a:pt x="36" y="13"/>
                    <a:pt x="35" y="1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73" name="Freeform 132"/>
            <p:cNvSpPr>
              <a:spLocks/>
            </p:cNvSpPr>
            <p:nvPr/>
          </p:nvSpPr>
          <p:spPr bwMode="auto">
            <a:xfrm>
              <a:off x="3896" y="1587"/>
              <a:ext cx="29" cy="10"/>
            </a:xfrm>
            <a:custGeom>
              <a:avLst/>
              <a:gdLst>
                <a:gd name="T0" fmla="*/ 35 w 39"/>
                <a:gd name="T1" fmla="*/ 7 h 13"/>
                <a:gd name="T2" fmla="*/ 20 w 39"/>
                <a:gd name="T3" fmla="*/ 2 h 13"/>
                <a:gd name="T4" fmla="*/ 15 w 39"/>
                <a:gd name="T5" fmla="*/ 0 h 13"/>
                <a:gd name="T6" fmla="*/ 7 w 39"/>
                <a:gd name="T7" fmla="*/ 1 h 13"/>
                <a:gd name="T8" fmla="*/ 4 w 39"/>
                <a:gd name="T9" fmla="*/ 1 h 13"/>
                <a:gd name="T10" fmla="*/ 3 w 39"/>
                <a:gd name="T11" fmla="*/ 4 h 13"/>
                <a:gd name="T12" fmla="*/ 8 w 39"/>
                <a:gd name="T13" fmla="*/ 7 h 13"/>
                <a:gd name="T14" fmla="*/ 14 w 39"/>
                <a:gd name="T15" fmla="*/ 10 h 13"/>
                <a:gd name="T16" fmla="*/ 19 w 39"/>
                <a:gd name="T17" fmla="*/ 11 h 13"/>
                <a:gd name="T18" fmla="*/ 25 w 39"/>
                <a:gd name="T19" fmla="*/ 12 h 13"/>
                <a:gd name="T20" fmla="*/ 33 w 39"/>
                <a:gd name="T21" fmla="*/ 11 h 13"/>
                <a:gd name="T22" fmla="*/ 35 w 39"/>
                <a:gd name="T23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3">
                  <a:moveTo>
                    <a:pt x="35" y="7"/>
                  </a:moveTo>
                  <a:cubicBezTo>
                    <a:pt x="31" y="4"/>
                    <a:pt x="21" y="3"/>
                    <a:pt x="20" y="2"/>
                  </a:cubicBezTo>
                  <a:cubicBezTo>
                    <a:pt x="18" y="2"/>
                    <a:pt x="18" y="0"/>
                    <a:pt x="15" y="0"/>
                  </a:cubicBezTo>
                  <a:cubicBezTo>
                    <a:pt x="11" y="0"/>
                    <a:pt x="8" y="1"/>
                    <a:pt x="7" y="1"/>
                  </a:cubicBezTo>
                  <a:cubicBezTo>
                    <a:pt x="6" y="1"/>
                    <a:pt x="5" y="1"/>
                    <a:pt x="4" y="1"/>
                  </a:cubicBezTo>
                  <a:cubicBezTo>
                    <a:pt x="3" y="1"/>
                    <a:pt x="0" y="2"/>
                    <a:pt x="3" y="4"/>
                  </a:cubicBezTo>
                  <a:cubicBezTo>
                    <a:pt x="5" y="5"/>
                    <a:pt x="7" y="6"/>
                    <a:pt x="8" y="7"/>
                  </a:cubicBezTo>
                  <a:cubicBezTo>
                    <a:pt x="9" y="8"/>
                    <a:pt x="13" y="10"/>
                    <a:pt x="14" y="10"/>
                  </a:cubicBezTo>
                  <a:cubicBezTo>
                    <a:pt x="15" y="9"/>
                    <a:pt x="17" y="9"/>
                    <a:pt x="19" y="11"/>
                  </a:cubicBezTo>
                  <a:cubicBezTo>
                    <a:pt x="21" y="13"/>
                    <a:pt x="22" y="12"/>
                    <a:pt x="25" y="12"/>
                  </a:cubicBezTo>
                  <a:cubicBezTo>
                    <a:pt x="27" y="12"/>
                    <a:pt x="31" y="12"/>
                    <a:pt x="33" y="11"/>
                  </a:cubicBezTo>
                  <a:cubicBezTo>
                    <a:pt x="35" y="9"/>
                    <a:pt x="39" y="11"/>
                    <a:pt x="35" y="7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74" name="Freeform 133"/>
            <p:cNvSpPr>
              <a:spLocks/>
            </p:cNvSpPr>
            <p:nvPr/>
          </p:nvSpPr>
          <p:spPr bwMode="auto">
            <a:xfrm>
              <a:off x="3894" y="1592"/>
              <a:ext cx="23" cy="16"/>
            </a:xfrm>
            <a:custGeom>
              <a:avLst/>
              <a:gdLst>
                <a:gd name="T0" fmla="*/ 31 w 31"/>
                <a:gd name="T1" fmla="*/ 11 h 21"/>
                <a:gd name="T2" fmla="*/ 27 w 31"/>
                <a:gd name="T3" fmla="*/ 7 h 21"/>
                <a:gd name="T4" fmla="*/ 23 w 31"/>
                <a:gd name="T5" fmla="*/ 6 h 21"/>
                <a:gd name="T6" fmla="*/ 18 w 31"/>
                <a:gd name="T7" fmla="*/ 4 h 21"/>
                <a:gd name="T8" fmla="*/ 12 w 31"/>
                <a:gd name="T9" fmla="*/ 2 h 21"/>
                <a:gd name="T10" fmla="*/ 9 w 31"/>
                <a:gd name="T11" fmla="*/ 1 h 21"/>
                <a:gd name="T12" fmla="*/ 4 w 31"/>
                <a:gd name="T13" fmla="*/ 2 h 21"/>
                <a:gd name="T14" fmla="*/ 4 w 31"/>
                <a:gd name="T15" fmla="*/ 6 h 21"/>
                <a:gd name="T16" fmla="*/ 9 w 31"/>
                <a:gd name="T17" fmla="*/ 10 h 21"/>
                <a:gd name="T18" fmla="*/ 13 w 31"/>
                <a:gd name="T19" fmla="*/ 11 h 21"/>
                <a:gd name="T20" fmla="*/ 18 w 31"/>
                <a:gd name="T21" fmla="*/ 14 h 21"/>
                <a:gd name="T22" fmla="*/ 24 w 31"/>
                <a:gd name="T23" fmla="*/ 19 h 21"/>
                <a:gd name="T24" fmla="*/ 31 w 31"/>
                <a:gd name="T25" fmla="*/ 19 h 21"/>
                <a:gd name="T26" fmla="*/ 29 w 31"/>
                <a:gd name="T27" fmla="*/ 13 h 21"/>
                <a:gd name="T28" fmla="*/ 31 w 31"/>
                <a:gd name="T29" fmla="*/ 1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1" h="21">
                  <a:moveTo>
                    <a:pt x="31" y="11"/>
                  </a:moveTo>
                  <a:cubicBezTo>
                    <a:pt x="31" y="9"/>
                    <a:pt x="30" y="8"/>
                    <a:pt x="27" y="7"/>
                  </a:cubicBezTo>
                  <a:cubicBezTo>
                    <a:pt x="25" y="6"/>
                    <a:pt x="26" y="6"/>
                    <a:pt x="23" y="6"/>
                  </a:cubicBezTo>
                  <a:cubicBezTo>
                    <a:pt x="20" y="5"/>
                    <a:pt x="20" y="4"/>
                    <a:pt x="18" y="4"/>
                  </a:cubicBezTo>
                  <a:cubicBezTo>
                    <a:pt x="15" y="4"/>
                    <a:pt x="15" y="3"/>
                    <a:pt x="12" y="2"/>
                  </a:cubicBezTo>
                  <a:cubicBezTo>
                    <a:pt x="10" y="2"/>
                    <a:pt x="10" y="0"/>
                    <a:pt x="9" y="1"/>
                  </a:cubicBezTo>
                  <a:cubicBezTo>
                    <a:pt x="7" y="1"/>
                    <a:pt x="6" y="1"/>
                    <a:pt x="4" y="2"/>
                  </a:cubicBezTo>
                  <a:cubicBezTo>
                    <a:pt x="2" y="3"/>
                    <a:pt x="0" y="2"/>
                    <a:pt x="4" y="6"/>
                  </a:cubicBezTo>
                  <a:cubicBezTo>
                    <a:pt x="7" y="9"/>
                    <a:pt x="6" y="10"/>
                    <a:pt x="9" y="10"/>
                  </a:cubicBezTo>
                  <a:cubicBezTo>
                    <a:pt x="11" y="11"/>
                    <a:pt x="11" y="10"/>
                    <a:pt x="13" y="11"/>
                  </a:cubicBezTo>
                  <a:cubicBezTo>
                    <a:pt x="16" y="13"/>
                    <a:pt x="14" y="11"/>
                    <a:pt x="18" y="14"/>
                  </a:cubicBezTo>
                  <a:cubicBezTo>
                    <a:pt x="22" y="18"/>
                    <a:pt x="21" y="17"/>
                    <a:pt x="24" y="19"/>
                  </a:cubicBezTo>
                  <a:cubicBezTo>
                    <a:pt x="28" y="20"/>
                    <a:pt x="31" y="21"/>
                    <a:pt x="31" y="19"/>
                  </a:cubicBezTo>
                  <a:cubicBezTo>
                    <a:pt x="31" y="17"/>
                    <a:pt x="30" y="15"/>
                    <a:pt x="29" y="13"/>
                  </a:cubicBezTo>
                  <a:cubicBezTo>
                    <a:pt x="28" y="11"/>
                    <a:pt x="30" y="12"/>
                    <a:pt x="31" y="1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75" name="Freeform 134"/>
            <p:cNvSpPr>
              <a:spLocks/>
            </p:cNvSpPr>
            <p:nvPr/>
          </p:nvSpPr>
          <p:spPr bwMode="auto">
            <a:xfrm>
              <a:off x="3576" y="1593"/>
              <a:ext cx="11" cy="4"/>
            </a:xfrm>
            <a:custGeom>
              <a:avLst/>
              <a:gdLst>
                <a:gd name="T0" fmla="*/ 5 w 14"/>
                <a:gd name="T1" fmla="*/ 0 h 5"/>
                <a:gd name="T2" fmla="*/ 1 w 14"/>
                <a:gd name="T3" fmla="*/ 3 h 5"/>
                <a:gd name="T4" fmla="*/ 8 w 14"/>
                <a:gd name="T5" fmla="*/ 4 h 5"/>
                <a:gd name="T6" fmla="*/ 13 w 14"/>
                <a:gd name="T7" fmla="*/ 3 h 5"/>
                <a:gd name="T8" fmla="*/ 5 w 14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5">
                  <a:moveTo>
                    <a:pt x="5" y="0"/>
                  </a:moveTo>
                  <a:cubicBezTo>
                    <a:pt x="3" y="1"/>
                    <a:pt x="0" y="2"/>
                    <a:pt x="1" y="3"/>
                  </a:cubicBezTo>
                  <a:cubicBezTo>
                    <a:pt x="2" y="4"/>
                    <a:pt x="5" y="4"/>
                    <a:pt x="8" y="4"/>
                  </a:cubicBezTo>
                  <a:cubicBezTo>
                    <a:pt x="11" y="4"/>
                    <a:pt x="14" y="5"/>
                    <a:pt x="13" y="3"/>
                  </a:cubicBezTo>
                  <a:cubicBezTo>
                    <a:pt x="13" y="1"/>
                    <a:pt x="5" y="0"/>
                    <a:pt x="5" y="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76" name="Freeform 135"/>
            <p:cNvSpPr>
              <a:spLocks/>
            </p:cNvSpPr>
            <p:nvPr/>
          </p:nvSpPr>
          <p:spPr bwMode="auto">
            <a:xfrm>
              <a:off x="3579" y="1598"/>
              <a:ext cx="12" cy="9"/>
            </a:xfrm>
            <a:custGeom>
              <a:avLst/>
              <a:gdLst>
                <a:gd name="T0" fmla="*/ 12 w 17"/>
                <a:gd name="T1" fmla="*/ 10 h 12"/>
                <a:gd name="T2" fmla="*/ 15 w 17"/>
                <a:gd name="T3" fmla="*/ 3 h 12"/>
                <a:gd name="T4" fmla="*/ 15 w 17"/>
                <a:gd name="T5" fmla="*/ 1 h 12"/>
                <a:gd name="T6" fmla="*/ 7 w 17"/>
                <a:gd name="T7" fmla="*/ 2 h 12"/>
                <a:gd name="T8" fmla="*/ 5 w 17"/>
                <a:gd name="T9" fmla="*/ 3 h 12"/>
                <a:gd name="T10" fmla="*/ 9 w 17"/>
                <a:gd name="T11" fmla="*/ 5 h 12"/>
                <a:gd name="T12" fmla="*/ 3 w 17"/>
                <a:gd name="T13" fmla="*/ 7 h 12"/>
                <a:gd name="T14" fmla="*/ 4 w 17"/>
                <a:gd name="T15" fmla="*/ 11 h 12"/>
                <a:gd name="T16" fmla="*/ 9 w 17"/>
                <a:gd name="T17" fmla="*/ 10 h 12"/>
                <a:gd name="T18" fmla="*/ 12 w 17"/>
                <a:gd name="T1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2">
                  <a:moveTo>
                    <a:pt x="12" y="10"/>
                  </a:moveTo>
                  <a:cubicBezTo>
                    <a:pt x="13" y="9"/>
                    <a:pt x="15" y="5"/>
                    <a:pt x="15" y="3"/>
                  </a:cubicBezTo>
                  <a:cubicBezTo>
                    <a:pt x="15" y="2"/>
                    <a:pt x="17" y="0"/>
                    <a:pt x="15" y="1"/>
                  </a:cubicBezTo>
                  <a:cubicBezTo>
                    <a:pt x="12" y="2"/>
                    <a:pt x="9" y="0"/>
                    <a:pt x="7" y="2"/>
                  </a:cubicBezTo>
                  <a:cubicBezTo>
                    <a:pt x="6" y="3"/>
                    <a:pt x="3" y="3"/>
                    <a:pt x="5" y="3"/>
                  </a:cubicBezTo>
                  <a:cubicBezTo>
                    <a:pt x="8" y="3"/>
                    <a:pt x="10" y="4"/>
                    <a:pt x="9" y="5"/>
                  </a:cubicBezTo>
                  <a:cubicBezTo>
                    <a:pt x="8" y="7"/>
                    <a:pt x="4" y="4"/>
                    <a:pt x="3" y="7"/>
                  </a:cubicBezTo>
                  <a:cubicBezTo>
                    <a:pt x="3" y="10"/>
                    <a:pt x="0" y="11"/>
                    <a:pt x="4" y="11"/>
                  </a:cubicBezTo>
                  <a:cubicBezTo>
                    <a:pt x="8" y="10"/>
                    <a:pt x="10" y="7"/>
                    <a:pt x="9" y="10"/>
                  </a:cubicBezTo>
                  <a:cubicBezTo>
                    <a:pt x="8" y="12"/>
                    <a:pt x="10" y="12"/>
                    <a:pt x="12" y="1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77" name="Freeform 136"/>
            <p:cNvSpPr>
              <a:spLocks/>
            </p:cNvSpPr>
            <p:nvPr/>
          </p:nvSpPr>
          <p:spPr bwMode="auto">
            <a:xfrm>
              <a:off x="3598" y="1620"/>
              <a:ext cx="6" cy="6"/>
            </a:xfrm>
            <a:custGeom>
              <a:avLst/>
              <a:gdLst>
                <a:gd name="T0" fmla="*/ 4 w 8"/>
                <a:gd name="T1" fmla="*/ 3 h 9"/>
                <a:gd name="T2" fmla="*/ 2 w 8"/>
                <a:gd name="T3" fmla="*/ 7 h 9"/>
                <a:gd name="T4" fmla="*/ 4 w 8"/>
                <a:gd name="T5" fmla="*/ 9 h 9"/>
                <a:gd name="T6" fmla="*/ 8 w 8"/>
                <a:gd name="T7" fmla="*/ 6 h 9"/>
                <a:gd name="T8" fmla="*/ 4 w 8"/>
                <a:gd name="T9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9">
                  <a:moveTo>
                    <a:pt x="4" y="3"/>
                  </a:moveTo>
                  <a:cubicBezTo>
                    <a:pt x="3" y="4"/>
                    <a:pt x="1" y="4"/>
                    <a:pt x="2" y="7"/>
                  </a:cubicBezTo>
                  <a:cubicBezTo>
                    <a:pt x="2" y="9"/>
                    <a:pt x="0" y="9"/>
                    <a:pt x="4" y="9"/>
                  </a:cubicBezTo>
                  <a:cubicBezTo>
                    <a:pt x="8" y="9"/>
                    <a:pt x="8" y="8"/>
                    <a:pt x="8" y="6"/>
                  </a:cubicBezTo>
                  <a:cubicBezTo>
                    <a:pt x="8" y="3"/>
                    <a:pt x="5" y="0"/>
                    <a:pt x="4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78" name="Freeform 137"/>
            <p:cNvSpPr>
              <a:spLocks/>
            </p:cNvSpPr>
            <p:nvPr/>
          </p:nvSpPr>
          <p:spPr bwMode="auto">
            <a:xfrm>
              <a:off x="3605" y="1619"/>
              <a:ext cx="8" cy="5"/>
            </a:xfrm>
            <a:custGeom>
              <a:avLst/>
              <a:gdLst>
                <a:gd name="T0" fmla="*/ 6 w 11"/>
                <a:gd name="T1" fmla="*/ 0 h 7"/>
                <a:gd name="T2" fmla="*/ 3 w 11"/>
                <a:gd name="T3" fmla="*/ 2 h 7"/>
                <a:gd name="T4" fmla="*/ 3 w 11"/>
                <a:gd name="T5" fmla="*/ 6 h 7"/>
                <a:gd name="T6" fmla="*/ 7 w 11"/>
                <a:gd name="T7" fmla="*/ 6 h 7"/>
                <a:gd name="T8" fmla="*/ 9 w 11"/>
                <a:gd name="T9" fmla="*/ 2 h 7"/>
                <a:gd name="T10" fmla="*/ 6 w 11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6" y="0"/>
                  </a:moveTo>
                  <a:cubicBezTo>
                    <a:pt x="5" y="1"/>
                    <a:pt x="3" y="1"/>
                    <a:pt x="3" y="2"/>
                  </a:cubicBezTo>
                  <a:cubicBezTo>
                    <a:pt x="1" y="4"/>
                    <a:pt x="0" y="5"/>
                    <a:pt x="3" y="6"/>
                  </a:cubicBezTo>
                  <a:cubicBezTo>
                    <a:pt x="6" y="6"/>
                    <a:pt x="5" y="7"/>
                    <a:pt x="7" y="6"/>
                  </a:cubicBezTo>
                  <a:cubicBezTo>
                    <a:pt x="10" y="5"/>
                    <a:pt x="11" y="4"/>
                    <a:pt x="9" y="2"/>
                  </a:cubicBezTo>
                  <a:cubicBezTo>
                    <a:pt x="8" y="1"/>
                    <a:pt x="7" y="0"/>
                    <a:pt x="6" y="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79" name="Freeform 138"/>
            <p:cNvSpPr>
              <a:spLocks/>
            </p:cNvSpPr>
            <p:nvPr/>
          </p:nvSpPr>
          <p:spPr bwMode="auto">
            <a:xfrm>
              <a:off x="3601" y="1613"/>
              <a:ext cx="6" cy="6"/>
            </a:xfrm>
            <a:custGeom>
              <a:avLst/>
              <a:gdLst>
                <a:gd name="T0" fmla="*/ 5 w 8"/>
                <a:gd name="T1" fmla="*/ 2 h 8"/>
                <a:gd name="T2" fmla="*/ 3 w 8"/>
                <a:gd name="T3" fmla="*/ 2 h 8"/>
                <a:gd name="T4" fmla="*/ 6 w 8"/>
                <a:gd name="T5" fmla="*/ 5 h 8"/>
                <a:gd name="T6" fmla="*/ 5 w 8"/>
                <a:gd name="T7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5" y="2"/>
                  </a:moveTo>
                  <a:cubicBezTo>
                    <a:pt x="3" y="0"/>
                    <a:pt x="5" y="2"/>
                    <a:pt x="3" y="2"/>
                  </a:cubicBezTo>
                  <a:cubicBezTo>
                    <a:pt x="0" y="3"/>
                    <a:pt x="5" y="8"/>
                    <a:pt x="6" y="5"/>
                  </a:cubicBezTo>
                  <a:cubicBezTo>
                    <a:pt x="6" y="4"/>
                    <a:pt x="8" y="4"/>
                    <a:pt x="5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80" name="Freeform 139"/>
            <p:cNvSpPr>
              <a:spLocks/>
            </p:cNvSpPr>
            <p:nvPr/>
          </p:nvSpPr>
          <p:spPr bwMode="auto">
            <a:xfrm>
              <a:off x="3610" y="1617"/>
              <a:ext cx="8" cy="6"/>
            </a:xfrm>
            <a:custGeom>
              <a:avLst/>
              <a:gdLst>
                <a:gd name="T0" fmla="*/ 8 w 11"/>
                <a:gd name="T1" fmla="*/ 2 h 7"/>
                <a:gd name="T2" fmla="*/ 1 w 11"/>
                <a:gd name="T3" fmla="*/ 0 h 7"/>
                <a:gd name="T4" fmla="*/ 4 w 11"/>
                <a:gd name="T5" fmla="*/ 2 h 7"/>
                <a:gd name="T6" fmla="*/ 7 w 11"/>
                <a:gd name="T7" fmla="*/ 7 h 7"/>
                <a:gd name="T8" fmla="*/ 10 w 11"/>
                <a:gd name="T9" fmla="*/ 4 h 7"/>
                <a:gd name="T10" fmla="*/ 8 w 11"/>
                <a:gd name="T11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7">
                  <a:moveTo>
                    <a:pt x="8" y="2"/>
                  </a:moveTo>
                  <a:cubicBezTo>
                    <a:pt x="5" y="1"/>
                    <a:pt x="3" y="0"/>
                    <a:pt x="1" y="0"/>
                  </a:cubicBezTo>
                  <a:cubicBezTo>
                    <a:pt x="0" y="0"/>
                    <a:pt x="2" y="1"/>
                    <a:pt x="4" y="2"/>
                  </a:cubicBezTo>
                  <a:cubicBezTo>
                    <a:pt x="6" y="4"/>
                    <a:pt x="4" y="6"/>
                    <a:pt x="7" y="7"/>
                  </a:cubicBezTo>
                  <a:cubicBezTo>
                    <a:pt x="10" y="7"/>
                    <a:pt x="10" y="5"/>
                    <a:pt x="10" y="4"/>
                  </a:cubicBezTo>
                  <a:cubicBezTo>
                    <a:pt x="9" y="3"/>
                    <a:pt x="11" y="3"/>
                    <a:pt x="8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81" name="Freeform 140"/>
            <p:cNvSpPr>
              <a:spLocks/>
            </p:cNvSpPr>
            <p:nvPr/>
          </p:nvSpPr>
          <p:spPr bwMode="auto">
            <a:xfrm>
              <a:off x="3617" y="1626"/>
              <a:ext cx="8" cy="5"/>
            </a:xfrm>
            <a:custGeom>
              <a:avLst/>
              <a:gdLst>
                <a:gd name="T0" fmla="*/ 5 w 12"/>
                <a:gd name="T1" fmla="*/ 4 h 6"/>
                <a:gd name="T2" fmla="*/ 10 w 12"/>
                <a:gd name="T3" fmla="*/ 3 h 6"/>
                <a:gd name="T4" fmla="*/ 5 w 12"/>
                <a:gd name="T5" fmla="*/ 0 h 6"/>
                <a:gd name="T6" fmla="*/ 1 w 12"/>
                <a:gd name="T7" fmla="*/ 2 h 6"/>
                <a:gd name="T8" fmla="*/ 5 w 12"/>
                <a:gd name="T9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6">
                  <a:moveTo>
                    <a:pt x="5" y="4"/>
                  </a:moveTo>
                  <a:cubicBezTo>
                    <a:pt x="9" y="4"/>
                    <a:pt x="12" y="6"/>
                    <a:pt x="10" y="3"/>
                  </a:cubicBezTo>
                  <a:cubicBezTo>
                    <a:pt x="8" y="1"/>
                    <a:pt x="7" y="0"/>
                    <a:pt x="5" y="0"/>
                  </a:cubicBezTo>
                  <a:cubicBezTo>
                    <a:pt x="3" y="0"/>
                    <a:pt x="1" y="1"/>
                    <a:pt x="1" y="2"/>
                  </a:cubicBezTo>
                  <a:cubicBezTo>
                    <a:pt x="0" y="4"/>
                    <a:pt x="2" y="4"/>
                    <a:pt x="5" y="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82" name="Line 141"/>
            <p:cNvSpPr>
              <a:spLocks noChangeShapeType="1"/>
            </p:cNvSpPr>
            <p:nvPr/>
          </p:nvSpPr>
          <p:spPr bwMode="auto">
            <a:xfrm>
              <a:off x="5566" y="2632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83" name="Line 142"/>
            <p:cNvSpPr>
              <a:spLocks noChangeShapeType="1"/>
            </p:cNvSpPr>
            <p:nvPr/>
          </p:nvSpPr>
          <p:spPr bwMode="auto">
            <a:xfrm>
              <a:off x="5566" y="2632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84" name="Line 143"/>
            <p:cNvSpPr>
              <a:spLocks noChangeShapeType="1"/>
            </p:cNvSpPr>
            <p:nvPr/>
          </p:nvSpPr>
          <p:spPr bwMode="auto">
            <a:xfrm>
              <a:off x="5525" y="2668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85" name="Line 144"/>
            <p:cNvSpPr>
              <a:spLocks noChangeShapeType="1"/>
            </p:cNvSpPr>
            <p:nvPr/>
          </p:nvSpPr>
          <p:spPr bwMode="auto">
            <a:xfrm>
              <a:off x="5525" y="2668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86" name="Freeform 145"/>
            <p:cNvSpPr>
              <a:spLocks/>
            </p:cNvSpPr>
            <p:nvPr/>
          </p:nvSpPr>
          <p:spPr bwMode="auto">
            <a:xfrm>
              <a:off x="5564" y="2637"/>
              <a:ext cx="2" cy="1"/>
            </a:xfrm>
            <a:custGeom>
              <a:avLst/>
              <a:gdLst>
                <a:gd name="T0" fmla="*/ 2 w 2"/>
                <a:gd name="T1" fmla="*/ 0 h 2"/>
                <a:gd name="T2" fmla="*/ 1 w 2"/>
                <a:gd name="T3" fmla="*/ 1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1" y="1"/>
                    <a:pt x="0" y="2"/>
                    <a:pt x="1" y="1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87" name="Freeform 146"/>
            <p:cNvSpPr>
              <a:spLocks/>
            </p:cNvSpPr>
            <p:nvPr/>
          </p:nvSpPr>
          <p:spPr bwMode="auto">
            <a:xfrm>
              <a:off x="5275" y="2608"/>
              <a:ext cx="412" cy="309"/>
            </a:xfrm>
            <a:custGeom>
              <a:avLst/>
              <a:gdLst>
                <a:gd name="T0" fmla="*/ 546 w 553"/>
                <a:gd name="T1" fmla="*/ 223 h 414"/>
                <a:gd name="T2" fmla="*/ 540 w 553"/>
                <a:gd name="T3" fmla="*/ 202 h 414"/>
                <a:gd name="T4" fmla="*/ 514 w 553"/>
                <a:gd name="T5" fmla="*/ 171 h 414"/>
                <a:gd name="T6" fmla="*/ 497 w 553"/>
                <a:gd name="T7" fmla="*/ 159 h 414"/>
                <a:gd name="T8" fmla="*/ 483 w 553"/>
                <a:gd name="T9" fmla="*/ 132 h 414"/>
                <a:gd name="T10" fmla="*/ 456 w 553"/>
                <a:gd name="T11" fmla="*/ 115 h 414"/>
                <a:gd name="T12" fmla="*/ 441 w 553"/>
                <a:gd name="T13" fmla="*/ 81 h 414"/>
                <a:gd name="T14" fmla="*/ 429 w 553"/>
                <a:gd name="T15" fmla="*/ 49 h 414"/>
                <a:gd name="T16" fmla="*/ 412 w 553"/>
                <a:gd name="T17" fmla="*/ 25 h 414"/>
                <a:gd name="T18" fmla="*/ 400 w 553"/>
                <a:gd name="T19" fmla="*/ 1 h 414"/>
                <a:gd name="T20" fmla="*/ 392 w 553"/>
                <a:gd name="T21" fmla="*/ 29 h 414"/>
                <a:gd name="T22" fmla="*/ 387 w 553"/>
                <a:gd name="T23" fmla="*/ 56 h 414"/>
                <a:gd name="T24" fmla="*/ 385 w 553"/>
                <a:gd name="T25" fmla="*/ 78 h 414"/>
                <a:gd name="T26" fmla="*/ 366 w 553"/>
                <a:gd name="T27" fmla="*/ 96 h 414"/>
                <a:gd name="T28" fmla="*/ 347 w 553"/>
                <a:gd name="T29" fmla="*/ 85 h 414"/>
                <a:gd name="T30" fmla="*/ 321 w 553"/>
                <a:gd name="T31" fmla="*/ 72 h 414"/>
                <a:gd name="T32" fmla="*/ 312 w 553"/>
                <a:gd name="T33" fmla="*/ 49 h 414"/>
                <a:gd name="T34" fmla="*/ 321 w 553"/>
                <a:gd name="T35" fmla="*/ 31 h 414"/>
                <a:gd name="T36" fmla="*/ 311 w 553"/>
                <a:gd name="T37" fmla="*/ 16 h 414"/>
                <a:gd name="T38" fmla="*/ 282 w 553"/>
                <a:gd name="T39" fmla="*/ 15 h 414"/>
                <a:gd name="T40" fmla="*/ 258 w 553"/>
                <a:gd name="T41" fmla="*/ 7 h 414"/>
                <a:gd name="T42" fmla="*/ 258 w 553"/>
                <a:gd name="T43" fmla="*/ 22 h 414"/>
                <a:gd name="T44" fmla="*/ 235 w 553"/>
                <a:gd name="T45" fmla="*/ 35 h 414"/>
                <a:gd name="T46" fmla="*/ 212 w 553"/>
                <a:gd name="T47" fmla="*/ 60 h 414"/>
                <a:gd name="T48" fmla="*/ 175 w 553"/>
                <a:gd name="T49" fmla="*/ 55 h 414"/>
                <a:gd name="T50" fmla="*/ 146 w 553"/>
                <a:gd name="T51" fmla="*/ 82 h 414"/>
                <a:gd name="T52" fmla="*/ 125 w 553"/>
                <a:gd name="T53" fmla="*/ 96 h 414"/>
                <a:gd name="T54" fmla="*/ 105 w 553"/>
                <a:gd name="T55" fmla="*/ 128 h 414"/>
                <a:gd name="T56" fmla="*/ 73 w 553"/>
                <a:gd name="T57" fmla="*/ 136 h 414"/>
                <a:gd name="T58" fmla="*/ 36 w 553"/>
                <a:gd name="T59" fmla="*/ 151 h 414"/>
                <a:gd name="T60" fmla="*/ 17 w 553"/>
                <a:gd name="T61" fmla="*/ 160 h 414"/>
                <a:gd name="T62" fmla="*/ 9 w 553"/>
                <a:gd name="T63" fmla="*/ 186 h 414"/>
                <a:gd name="T64" fmla="*/ 16 w 553"/>
                <a:gd name="T65" fmla="*/ 221 h 414"/>
                <a:gd name="T66" fmla="*/ 6 w 553"/>
                <a:gd name="T67" fmla="*/ 221 h 414"/>
                <a:gd name="T68" fmla="*/ 12 w 553"/>
                <a:gd name="T69" fmla="*/ 226 h 414"/>
                <a:gd name="T70" fmla="*/ 29 w 553"/>
                <a:gd name="T71" fmla="*/ 269 h 414"/>
                <a:gd name="T72" fmla="*/ 38 w 553"/>
                <a:gd name="T73" fmla="*/ 304 h 414"/>
                <a:gd name="T74" fmla="*/ 30 w 553"/>
                <a:gd name="T75" fmla="*/ 335 h 414"/>
                <a:gd name="T76" fmla="*/ 54 w 553"/>
                <a:gd name="T77" fmla="*/ 351 h 414"/>
                <a:gd name="T78" fmla="*/ 96 w 553"/>
                <a:gd name="T79" fmla="*/ 336 h 414"/>
                <a:gd name="T80" fmla="*/ 129 w 553"/>
                <a:gd name="T81" fmla="*/ 333 h 414"/>
                <a:gd name="T82" fmla="*/ 161 w 553"/>
                <a:gd name="T83" fmla="*/ 317 h 414"/>
                <a:gd name="T84" fmla="*/ 206 w 553"/>
                <a:gd name="T85" fmla="*/ 306 h 414"/>
                <a:gd name="T86" fmla="*/ 243 w 553"/>
                <a:gd name="T87" fmla="*/ 298 h 414"/>
                <a:gd name="T88" fmla="*/ 274 w 553"/>
                <a:gd name="T89" fmla="*/ 305 h 414"/>
                <a:gd name="T90" fmla="*/ 297 w 553"/>
                <a:gd name="T91" fmla="*/ 324 h 414"/>
                <a:gd name="T92" fmla="*/ 313 w 553"/>
                <a:gd name="T93" fmla="*/ 349 h 414"/>
                <a:gd name="T94" fmla="*/ 332 w 553"/>
                <a:gd name="T95" fmla="*/ 327 h 414"/>
                <a:gd name="T96" fmla="*/ 336 w 553"/>
                <a:gd name="T97" fmla="*/ 331 h 414"/>
                <a:gd name="T98" fmla="*/ 329 w 553"/>
                <a:gd name="T99" fmla="*/ 354 h 414"/>
                <a:gd name="T100" fmla="*/ 347 w 553"/>
                <a:gd name="T101" fmla="*/ 351 h 414"/>
                <a:gd name="T102" fmla="*/ 363 w 553"/>
                <a:gd name="T103" fmla="*/ 369 h 414"/>
                <a:gd name="T104" fmla="*/ 377 w 553"/>
                <a:gd name="T105" fmla="*/ 397 h 414"/>
                <a:gd name="T106" fmla="*/ 408 w 553"/>
                <a:gd name="T107" fmla="*/ 405 h 414"/>
                <a:gd name="T108" fmla="*/ 428 w 553"/>
                <a:gd name="T109" fmla="*/ 401 h 414"/>
                <a:gd name="T110" fmla="*/ 438 w 553"/>
                <a:gd name="T111" fmla="*/ 403 h 414"/>
                <a:gd name="T112" fmla="*/ 457 w 553"/>
                <a:gd name="T113" fmla="*/ 408 h 414"/>
                <a:gd name="T114" fmla="*/ 488 w 553"/>
                <a:gd name="T115" fmla="*/ 393 h 414"/>
                <a:gd name="T116" fmla="*/ 505 w 553"/>
                <a:gd name="T117" fmla="*/ 371 h 414"/>
                <a:gd name="T118" fmla="*/ 516 w 553"/>
                <a:gd name="T119" fmla="*/ 342 h 414"/>
                <a:gd name="T120" fmla="*/ 530 w 553"/>
                <a:gd name="T121" fmla="*/ 318 h 414"/>
                <a:gd name="T122" fmla="*/ 544 w 553"/>
                <a:gd name="T123" fmla="*/ 290 h 414"/>
                <a:gd name="T124" fmla="*/ 552 w 553"/>
                <a:gd name="T125" fmla="*/ 258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3" h="414">
                  <a:moveTo>
                    <a:pt x="552" y="251"/>
                  </a:moveTo>
                  <a:cubicBezTo>
                    <a:pt x="551" y="250"/>
                    <a:pt x="550" y="247"/>
                    <a:pt x="550" y="247"/>
                  </a:cubicBezTo>
                  <a:cubicBezTo>
                    <a:pt x="550" y="247"/>
                    <a:pt x="550" y="246"/>
                    <a:pt x="549" y="244"/>
                  </a:cubicBezTo>
                  <a:cubicBezTo>
                    <a:pt x="549" y="243"/>
                    <a:pt x="549" y="240"/>
                    <a:pt x="548" y="240"/>
                  </a:cubicBezTo>
                  <a:cubicBezTo>
                    <a:pt x="548" y="240"/>
                    <a:pt x="547" y="239"/>
                    <a:pt x="547" y="238"/>
                  </a:cubicBezTo>
                  <a:cubicBezTo>
                    <a:pt x="546" y="237"/>
                    <a:pt x="546" y="235"/>
                    <a:pt x="545" y="235"/>
                  </a:cubicBezTo>
                  <a:cubicBezTo>
                    <a:pt x="544" y="234"/>
                    <a:pt x="544" y="233"/>
                    <a:pt x="544" y="232"/>
                  </a:cubicBezTo>
                  <a:cubicBezTo>
                    <a:pt x="545" y="231"/>
                    <a:pt x="545" y="229"/>
                    <a:pt x="545" y="228"/>
                  </a:cubicBezTo>
                  <a:cubicBezTo>
                    <a:pt x="545" y="228"/>
                    <a:pt x="546" y="224"/>
                    <a:pt x="546" y="223"/>
                  </a:cubicBezTo>
                  <a:cubicBezTo>
                    <a:pt x="546" y="222"/>
                    <a:pt x="547" y="219"/>
                    <a:pt x="547" y="218"/>
                  </a:cubicBezTo>
                  <a:cubicBezTo>
                    <a:pt x="546" y="218"/>
                    <a:pt x="547" y="216"/>
                    <a:pt x="546" y="215"/>
                  </a:cubicBezTo>
                  <a:cubicBezTo>
                    <a:pt x="546" y="213"/>
                    <a:pt x="546" y="212"/>
                    <a:pt x="546" y="211"/>
                  </a:cubicBezTo>
                  <a:cubicBezTo>
                    <a:pt x="546" y="210"/>
                    <a:pt x="545" y="210"/>
                    <a:pt x="546" y="208"/>
                  </a:cubicBezTo>
                  <a:cubicBezTo>
                    <a:pt x="548" y="206"/>
                    <a:pt x="549" y="209"/>
                    <a:pt x="548" y="204"/>
                  </a:cubicBezTo>
                  <a:cubicBezTo>
                    <a:pt x="548" y="199"/>
                    <a:pt x="548" y="197"/>
                    <a:pt x="547" y="197"/>
                  </a:cubicBezTo>
                  <a:cubicBezTo>
                    <a:pt x="547" y="198"/>
                    <a:pt x="544" y="203"/>
                    <a:pt x="544" y="203"/>
                  </a:cubicBezTo>
                  <a:cubicBezTo>
                    <a:pt x="542" y="205"/>
                    <a:pt x="541" y="204"/>
                    <a:pt x="541" y="204"/>
                  </a:cubicBezTo>
                  <a:cubicBezTo>
                    <a:pt x="541" y="204"/>
                    <a:pt x="540" y="204"/>
                    <a:pt x="540" y="202"/>
                  </a:cubicBezTo>
                  <a:cubicBezTo>
                    <a:pt x="539" y="201"/>
                    <a:pt x="536" y="199"/>
                    <a:pt x="536" y="199"/>
                  </a:cubicBezTo>
                  <a:cubicBezTo>
                    <a:pt x="535" y="198"/>
                    <a:pt x="534" y="192"/>
                    <a:pt x="533" y="192"/>
                  </a:cubicBezTo>
                  <a:cubicBezTo>
                    <a:pt x="531" y="192"/>
                    <a:pt x="527" y="188"/>
                    <a:pt x="527" y="188"/>
                  </a:cubicBezTo>
                  <a:cubicBezTo>
                    <a:pt x="527" y="188"/>
                    <a:pt x="527" y="186"/>
                    <a:pt x="526" y="186"/>
                  </a:cubicBezTo>
                  <a:cubicBezTo>
                    <a:pt x="525" y="186"/>
                    <a:pt x="522" y="184"/>
                    <a:pt x="522" y="184"/>
                  </a:cubicBezTo>
                  <a:cubicBezTo>
                    <a:pt x="522" y="184"/>
                    <a:pt x="519" y="183"/>
                    <a:pt x="519" y="182"/>
                  </a:cubicBezTo>
                  <a:cubicBezTo>
                    <a:pt x="518" y="182"/>
                    <a:pt x="518" y="179"/>
                    <a:pt x="517" y="179"/>
                  </a:cubicBezTo>
                  <a:cubicBezTo>
                    <a:pt x="516" y="179"/>
                    <a:pt x="515" y="178"/>
                    <a:pt x="515" y="177"/>
                  </a:cubicBezTo>
                  <a:cubicBezTo>
                    <a:pt x="514" y="175"/>
                    <a:pt x="515" y="171"/>
                    <a:pt x="514" y="171"/>
                  </a:cubicBezTo>
                  <a:cubicBezTo>
                    <a:pt x="514" y="170"/>
                    <a:pt x="515" y="170"/>
                    <a:pt x="514" y="168"/>
                  </a:cubicBezTo>
                  <a:cubicBezTo>
                    <a:pt x="513" y="165"/>
                    <a:pt x="512" y="164"/>
                    <a:pt x="512" y="164"/>
                  </a:cubicBezTo>
                  <a:cubicBezTo>
                    <a:pt x="512" y="164"/>
                    <a:pt x="512" y="166"/>
                    <a:pt x="510" y="166"/>
                  </a:cubicBezTo>
                  <a:cubicBezTo>
                    <a:pt x="509" y="166"/>
                    <a:pt x="507" y="165"/>
                    <a:pt x="507" y="165"/>
                  </a:cubicBezTo>
                  <a:cubicBezTo>
                    <a:pt x="507" y="164"/>
                    <a:pt x="507" y="163"/>
                    <a:pt x="506" y="163"/>
                  </a:cubicBezTo>
                  <a:cubicBezTo>
                    <a:pt x="505" y="162"/>
                    <a:pt x="507" y="161"/>
                    <a:pt x="505" y="161"/>
                  </a:cubicBezTo>
                  <a:cubicBezTo>
                    <a:pt x="503" y="161"/>
                    <a:pt x="503" y="159"/>
                    <a:pt x="502" y="160"/>
                  </a:cubicBezTo>
                  <a:cubicBezTo>
                    <a:pt x="500" y="163"/>
                    <a:pt x="500" y="166"/>
                    <a:pt x="499" y="165"/>
                  </a:cubicBezTo>
                  <a:cubicBezTo>
                    <a:pt x="497" y="164"/>
                    <a:pt x="497" y="161"/>
                    <a:pt x="497" y="159"/>
                  </a:cubicBezTo>
                  <a:cubicBezTo>
                    <a:pt x="496" y="158"/>
                    <a:pt x="495" y="157"/>
                    <a:pt x="495" y="155"/>
                  </a:cubicBezTo>
                  <a:cubicBezTo>
                    <a:pt x="495" y="153"/>
                    <a:pt x="496" y="152"/>
                    <a:pt x="495" y="150"/>
                  </a:cubicBezTo>
                  <a:cubicBezTo>
                    <a:pt x="493" y="148"/>
                    <a:pt x="495" y="148"/>
                    <a:pt x="492" y="146"/>
                  </a:cubicBezTo>
                  <a:cubicBezTo>
                    <a:pt x="490" y="145"/>
                    <a:pt x="492" y="143"/>
                    <a:pt x="490" y="143"/>
                  </a:cubicBezTo>
                  <a:cubicBezTo>
                    <a:pt x="488" y="142"/>
                    <a:pt x="489" y="142"/>
                    <a:pt x="488" y="141"/>
                  </a:cubicBezTo>
                  <a:cubicBezTo>
                    <a:pt x="487" y="140"/>
                    <a:pt x="486" y="139"/>
                    <a:pt x="486" y="139"/>
                  </a:cubicBezTo>
                  <a:cubicBezTo>
                    <a:pt x="486" y="139"/>
                    <a:pt x="485" y="138"/>
                    <a:pt x="486" y="136"/>
                  </a:cubicBezTo>
                  <a:cubicBezTo>
                    <a:pt x="487" y="135"/>
                    <a:pt x="489" y="134"/>
                    <a:pt x="487" y="133"/>
                  </a:cubicBezTo>
                  <a:cubicBezTo>
                    <a:pt x="485" y="133"/>
                    <a:pt x="486" y="134"/>
                    <a:pt x="483" y="132"/>
                  </a:cubicBezTo>
                  <a:cubicBezTo>
                    <a:pt x="481" y="131"/>
                    <a:pt x="478" y="131"/>
                    <a:pt x="478" y="131"/>
                  </a:cubicBezTo>
                  <a:cubicBezTo>
                    <a:pt x="478" y="131"/>
                    <a:pt x="482" y="130"/>
                    <a:pt x="480" y="129"/>
                  </a:cubicBezTo>
                  <a:cubicBezTo>
                    <a:pt x="478" y="127"/>
                    <a:pt x="473" y="128"/>
                    <a:pt x="473" y="127"/>
                  </a:cubicBezTo>
                  <a:cubicBezTo>
                    <a:pt x="473" y="126"/>
                    <a:pt x="471" y="126"/>
                    <a:pt x="471" y="125"/>
                  </a:cubicBezTo>
                  <a:cubicBezTo>
                    <a:pt x="471" y="123"/>
                    <a:pt x="470" y="122"/>
                    <a:pt x="469" y="121"/>
                  </a:cubicBezTo>
                  <a:cubicBezTo>
                    <a:pt x="467" y="121"/>
                    <a:pt x="468" y="120"/>
                    <a:pt x="466" y="120"/>
                  </a:cubicBezTo>
                  <a:cubicBezTo>
                    <a:pt x="464" y="120"/>
                    <a:pt x="465" y="119"/>
                    <a:pt x="463" y="120"/>
                  </a:cubicBezTo>
                  <a:cubicBezTo>
                    <a:pt x="460" y="120"/>
                    <a:pt x="459" y="119"/>
                    <a:pt x="458" y="118"/>
                  </a:cubicBezTo>
                  <a:cubicBezTo>
                    <a:pt x="457" y="117"/>
                    <a:pt x="457" y="116"/>
                    <a:pt x="456" y="115"/>
                  </a:cubicBezTo>
                  <a:cubicBezTo>
                    <a:pt x="453" y="111"/>
                    <a:pt x="453" y="110"/>
                    <a:pt x="453" y="109"/>
                  </a:cubicBezTo>
                  <a:cubicBezTo>
                    <a:pt x="453" y="107"/>
                    <a:pt x="454" y="106"/>
                    <a:pt x="452" y="106"/>
                  </a:cubicBezTo>
                  <a:cubicBezTo>
                    <a:pt x="451" y="105"/>
                    <a:pt x="450" y="104"/>
                    <a:pt x="450" y="103"/>
                  </a:cubicBezTo>
                  <a:cubicBezTo>
                    <a:pt x="449" y="101"/>
                    <a:pt x="449" y="98"/>
                    <a:pt x="449" y="97"/>
                  </a:cubicBezTo>
                  <a:cubicBezTo>
                    <a:pt x="449" y="95"/>
                    <a:pt x="449" y="93"/>
                    <a:pt x="449" y="93"/>
                  </a:cubicBezTo>
                  <a:cubicBezTo>
                    <a:pt x="449" y="93"/>
                    <a:pt x="452" y="94"/>
                    <a:pt x="448" y="89"/>
                  </a:cubicBezTo>
                  <a:cubicBezTo>
                    <a:pt x="444" y="84"/>
                    <a:pt x="444" y="85"/>
                    <a:pt x="444" y="85"/>
                  </a:cubicBezTo>
                  <a:cubicBezTo>
                    <a:pt x="444" y="85"/>
                    <a:pt x="443" y="84"/>
                    <a:pt x="443" y="83"/>
                  </a:cubicBezTo>
                  <a:cubicBezTo>
                    <a:pt x="442" y="82"/>
                    <a:pt x="443" y="81"/>
                    <a:pt x="441" y="81"/>
                  </a:cubicBezTo>
                  <a:cubicBezTo>
                    <a:pt x="440" y="80"/>
                    <a:pt x="440" y="81"/>
                    <a:pt x="440" y="78"/>
                  </a:cubicBezTo>
                  <a:cubicBezTo>
                    <a:pt x="439" y="76"/>
                    <a:pt x="440" y="73"/>
                    <a:pt x="439" y="72"/>
                  </a:cubicBezTo>
                  <a:cubicBezTo>
                    <a:pt x="439" y="71"/>
                    <a:pt x="439" y="68"/>
                    <a:pt x="439" y="67"/>
                  </a:cubicBezTo>
                  <a:cubicBezTo>
                    <a:pt x="439" y="66"/>
                    <a:pt x="439" y="66"/>
                    <a:pt x="438" y="62"/>
                  </a:cubicBezTo>
                  <a:cubicBezTo>
                    <a:pt x="438" y="58"/>
                    <a:pt x="440" y="59"/>
                    <a:pt x="438" y="58"/>
                  </a:cubicBezTo>
                  <a:cubicBezTo>
                    <a:pt x="437" y="56"/>
                    <a:pt x="436" y="55"/>
                    <a:pt x="435" y="55"/>
                  </a:cubicBezTo>
                  <a:cubicBezTo>
                    <a:pt x="434" y="55"/>
                    <a:pt x="435" y="55"/>
                    <a:pt x="433" y="54"/>
                  </a:cubicBezTo>
                  <a:cubicBezTo>
                    <a:pt x="431" y="53"/>
                    <a:pt x="432" y="52"/>
                    <a:pt x="430" y="50"/>
                  </a:cubicBezTo>
                  <a:cubicBezTo>
                    <a:pt x="429" y="49"/>
                    <a:pt x="430" y="49"/>
                    <a:pt x="429" y="49"/>
                  </a:cubicBezTo>
                  <a:cubicBezTo>
                    <a:pt x="426" y="50"/>
                    <a:pt x="424" y="51"/>
                    <a:pt x="424" y="51"/>
                  </a:cubicBezTo>
                  <a:cubicBezTo>
                    <a:pt x="422" y="52"/>
                    <a:pt x="423" y="52"/>
                    <a:pt x="421" y="51"/>
                  </a:cubicBezTo>
                  <a:cubicBezTo>
                    <a:pt x="418" y="50"/>
                    <a:pt x="419" y="50"/>
                    <a:pt x="418" y="48"/>
                  </a:cubicBezTo>
                  <a:cubicBezTo>
                    <a:pt x="416" y="47"/>
                    <a:pt x="417" y="46"/>
                    <a:pt x="416" y="45"/>
                  </a:cubicBezTo>
                  <a:cubicBezTo>
                    <a:pt x="416" y="45"/>
                    <a:pt x="416" y="43"/>
                    <a:pt x="415" y="42"/>
                  </a:cubicBezTo>
                  <a:cubicBezTo>
                    <a:pt x="415" y="41"/>
                    <a:pt x="416" y="41"/>
                    <a:pt x="415" y="39"/>
                  </a:cubicBezTo>
                  <a:cubicBezTo>
                    <a:pt x="414" y="36"/>
                    <a:pt x="414" y="34"/>
                    <a:pt x="414" y="33"/>
                  </a:cubicBezTo>
                  <a:cubicBezTo>
                    <a:pt x="413" y="32"/>
                    <a:pt x="414" y="31"/>
                    <a:pt x="413" y="29"/>
                  </a:cubicBezTo>
                  <a:cubicBezTo>
                    <a:pt x="412" y="28"/>
                    <a:pt x="413" y="26"/>
                    <a:pt x="412" y="25"/>
                  </a:cubicBezTo>
                  <a:cubicBezTo>
                    <a:pt x="411" y="24"/>
                    <a:pt x="413" y="24"/>
                    <a:pt x="411" y="22"/>
                  </a:cubicBezTo>
                  <a:cubicBezTo>
                    <a:pt x="409" y="21"/>
                    <a:pt x="409" y="21"/>
                    <a:pt x="409" y="19"/>
                  </a:cubicBezTo>
                  <a:cubicBezTo>
                    <a:pt x="408" y="18"/>
                    <a:pt x="409" y="17"/>
                    <a:pt x="408" y="16"/>
                  </a:cubicBezTo>
                  <a:cubicBezTo>
                    <a:pt x="408" y="15"/>
                    <a:pt x="409" y="15"/>
                    <a:pt x="407" y="13"/>
                  </a:cubicBezTo>
                  <a:cubicBezTo>
                    <a:pt x="404" y="10"/>
                    <a:pt x="405" y="12"/>
                    <a:pt x="404" y="10"/>
                  </a:cubicBezTo>
                  <a:cubicBezTo>
                    <a:pt x="403" y="9"/>
                    <a:pt x="404" y="8"/>
                    <a:pt x="404" y="6"/>
                  </a:cubicBezTo>
                  <a:cubicBezTo>
                    <a:pt x="403" y="5"/>
                    <a:pt x="403" y="5"/>
                    <a:pt x="403" y="3"/>
                  </a:cubicBezTo>
                  <a:cubicBezTo>
                    <a:pt x="402" y="1"/>
                    <a:pt x="403" y="1"/>
                    <a:pt x="402" y="1"/>
                  </a:cubicBezTo>
                  <a:cubicBezTo>
                    <a:pt x="400" y="1"/>
                    <a:pt x="402" y="0"/>
                    <a:pt x="400" y="1"/>
                  </a:cubicBezTo>
                  <a:cubicBezTo>
                    <a:pt x="399" y="2"/>
                    <a:pt x="398" y="2"/>
                    <a:pt x="397" y="3"/>
                  </a:cubicBezTo>
                  <a:cubicBezTo>
                    <a:pt x="397" y="4"/>
                    <a:pt x="397" y="4"/>
                    <a:pt x="396" y="6"/>
                  </a:cubicBezTo>
                  <a:cubicBezTo>
                    <a:pt x="396" y="8"/>
                    <a:pt x="396" y="10"/>
                    <a:pt x="396" y="11"/>
                  </a:cubicBezTo>
                  <a:cubicBezTo>
                    <a:pt x="396" y="13"/>
                    <a:pt x="397" y="12"/>
                    <a:pt x="395" y="14"/>
                  </a:cubicBezTo>
                  <a:cubicBezTo>
                    <a:pt x="393" y="17"/>
                    <a:pt x="393" y="18"/>
                    <a:pt x="393" y="19"/>
                  </a:cubicBezTo>
                  <a:cubicBezTo>
                    <a:pt x="393" y="20"/>
                    <a:pt x="392" y="20"/>
                    <a:pt x="391" y="22"/>
                  </a:cubicBezTo>
                  <a:cubicBezTo>
                    <a:pt x="390" y="24"/>
                    <a:pt x="389" y="22"/>
                    <a:pt x="390" y="24"/>
                  </a:cubicBezTo>
                  <a:cubicBezTo>
                    <a:pt x="390" y="26"/>
                    <a:pt x="391" y="26"/>
                    <a:pt x="391" y="27"/>
                  </a:cubicBezTo>
                  <a:cubicBezTo>
                    <a:pt x="392" y="28"/>
                    <a:pt x="393" y="28"/>
                    <a:pt x="392" y="29"/>
                  </a:cubicBezTo>
                  <a:cubicBezTo>
                    <a:pt x="390" y="32"/>
                    <a:pt x="391" y="29"/>
                    <a:pt x="390" y="32"/>
                  </a:cubicBezTo>
                  <a:cubicBezTo>
                    <a:pt x="389" y="35"/>
                    <a:pt x="391" y="35"/>
                    <a:pt x="390" y="37"/>
                  </a:cubicBezTo>
                  <a:cubicBezTo>
                    <a:pt x="389" y="38"/>
                    <a:pt x="390" y="38"/>
                    <a:pt x="390" y="38"/>
                  </a:cubicBezTo>
                  <a:cubicBezTo>
                    <a:pt x="390" y="38"/>
                    <a:pt x="390" y="38"/>
                    <a:pt x="390" y="38"/>
                  </a:cubicBezTo>
                  <a:cubicBezTo>
                    <a:pt x="390" y="39"/>
                    <a:pt x="389" y="39"/>
                    <a:pt x="389" y="39"/>
                  </a:cubicBezTo>
                  <a:cubicBezTo>
                    <a:pt x="387" y="42"/>
                    <a:pt x="387" y="41"/>
                    <a:pt x="388" y="43"/>
                  </a:cubicBezTo>
                  <a:cubicBezTo>
                    <a:pt x="388" y="45"/>
                    <a:pt x="389" y="45"/>
                    <a:pt x="389" y="47"/>
                  </a:cubicBezTo>
                  <a:cubicBezTo>
                    <a:pt x="389" y="48"/>
                    <a:pt x="388" y="50"/>
                    <a:pt x="388" y="51"/>
                  </a:cubicBezTo>
                  <a:cubicBezTo>
                    <a:pt x="387" y="54"/>
                    <a:pt x="387" y="55"/>
                    <a:pt x="387" y="56"/>
                  </a:cubicBezTo>
                  <a:cubicBezTo>
                    <a:pt x="387" y="58"/>
                    <a:pt x="388" y="58"/>
                    <a:pt x="389" y="59"/>
                  </a:cubicBezTo>
                  <a:cubicBezTo>
                    <a:pt x="390" y="62"/>
                    <a:pt x="391" y="63"/>
                    <a:pt x="390" y="64"/>
                  </a:cubicBezTo>
                  <a:cubicBezTo>
                    <a:pt x="388" y="65"/>
                    <a:pt x="389" y="63"/>
                    <a:pt x="388" y="65"/>
                  </a:cubicBezTo>
                  <a:cubicBezTo>
                    <a:pt x="387" y="67"/>
                    <a:pt x="387" y="67"/>
                    <a:pt x="387" y="68"/>
                  </a:cubicBezTo>
                  <a:cubicBezTo>
                    <a:pt x="387" y="67"/>
                    <a:pt x="387" y="66"/>
                    <a:pt x="387" y="68"/>
                  </a:cubicBezTo>
                  <a:cubicBezTo>
                    <a:pt x="387" y="68"/>
                    <a:pt x="387" y="68"/>
                    <a:pt x="387" y="68"/>
                  </a:cubicBezTo>
                  <a:cubicBezTo>
                    <a:pt x="387" y="72"/>
                    <a:pt x="387" y="69"/>
                    <a:pt x="387" y="72"/>
                  </a:cubicBezTo>
                  <a:cubicBezTo>
                    <a:pt x="386" y="75"/>
                    <a:pt x="385" y="76"/>
                    <a:pt x="385" y="76"/>
                  </a:cubicBezTo>
                  <a:cubicBezTo>
                    <a:pt x="385" y="76"/>
                    <a:pt x="386" y="76"/>
                    <a:pt x="385" y="78"/>
                  </a:cubicBezTo>
                  <a:cubicBezTo>
                    <a:pt x="385" y="80"/>
                    <a:pt x="385" y="78"/>
                    <a:pt x="385" y="80"/>
                  </a:cubicBezTo>
                  <a:cubicBezTo>
                    <a:pt x="385" y="82"/>
                    <a:pt x="385" y="80"/>
                    <a:pt x="385" y="82"/>
                  </a:cubicBezTo>
                  <a:cubicBezTo>
                    <a:pt x="384" y="84"/>
                    <a:pt x="386" y="83"/>
                    <a:pt x="384" y="84"/>
                  </a:cubicBezTo>
                  <a:cubicBezTo>
                    <a:pt x="382" y="86"/>
                    <a:pt x="380" y="87"/>
                    <a:pt x="380" y="89"/>
                  </a:cubicBezTo>
                  <a:cubicBezTo>
                    <a:pt x="380" y="90"/>
                    <a:pt x="380" y="90"/>
                    <a:pt x="379" y="91"/>
                  </a:cubicBezTo>
                  <a:cubicBezTo>
                    <a:pt x="378" y="93"/>
                    <a:pt x="376" y="95"/>
                    <a:pt x="376" y="95"/>
                  </a:cubicBezTo>
                  <a:cubicBezTo>
                    <a:pt x="374" y="97"/>
                    <a:pt x="374" y="94"/>
                    <a:pt x="372" y="96"/>
                  </a:cubicBezTo>
                  <a:cubicBezTo>
                    <a:pt x="371" y="97"/>
                    <a:pt x="370" y="95"/>
                    <a:pt x="369" y="97"/>
                  </a:cubicBezTo>
                  <a:cubicBezTo>
                    <a:pt x="368" y="98"/>
                    <a:pt x="369" y="95"/>
                    <a:pt x="366" y="96"/>
                  </a:cubicBezTo>
                  <a:cubicBezTo>
                    <a:pt x="364" y="97"/>
                    <a:pt x="364" y="97"/>
                    <a:pt x="364" y="97"/>
                  </a:cubicBezTo>
                  <a:cubicBezTo>
                    <a:pt x="364" y="97"/>
                    <a:pt x="363" y="95"/>
                    <a:pt x="362" y="95"/>
                  </a:cubicBezTo>
                  <a:cubicBezTo>
                    <a:pt x="362" y="95"/>
                    <a:pt x="361" y="94"/>
                    <a:pt x="359" y="94"/>
                  </a:cubicBezTo>
                  <a:cubicBezTo>
                    <a:pt x="358" y="94"/>
                    <a:pt x="359" y="92"/>
                    <a:pt x="357" y="92"/>
                  </a:cubicBezTo>
                  <a:cubicBezTo>
                    <a:pt x="356" y="92"/>
                    <a:pt x="354" y="91"/>
                    <a:pt x="354" y="91"/>
                  </a:cubicBezTo>
                  <a:cubicBezTo>
                    <a:pt x="354" y="91"/>
                    <a:pt x="355" y="89"/>
                    <a:pt x="354" y="89"/>
                  </a:cubicBezTo>
                  <a:cubicBezTo>
                    <a:pt x="353" y="88"/>
                    <a:pt x="352" y="86"/>
                    <a:pt x="352" y="86"/>
                  </a:cubicBezTo>
                  <a:cubicBezTo>
                    <a:pt x="352" y="86"/>
                    <a:pt x="351" y="85"/>
                    <a:pt x="350" y="86"/>
                  </a:cubicBezTo>
                  <a:cubicBezTo>
                    <a:pt x="349" y="86"/>
                    <a:pt x="348" y="84"/>
                    <a:pt x="347" y="85"/>
                  </a:cubicBezTo>
                  <a:cubicBezTo>
                    <a:pt x="346" y="86"/>
                    <a:pt x="346" y="83"/>
                    <a:pt x="344" y="84"/>
                  </a:cubicBezTo>
                  <a:cubicBezTo>
                    <a:pt x="342" y="85"/>
                    <a:pt x="342" y="84"/>
                    <a:pt x="341" y="83"/>
                  </a:cubicBezTo>
                  <a:cubicBezTo>
                    <a:pt x="341" y="82"/>
                    <a:pt x="339" y="82"/>
                    <a:pt x="338" y="81"/>
                  </a:cubicBezTo>
                  <a:cubicBezTo>
                    <a:pt x="336" y="80"/>
                    <a:pt x="338" y="81"/>
                    <a:pt x="336" y="80"/>
                  </a:cubicBezTo>
                  <a:cubicBezTo>
                    <a:pt x="333" y="77"/>
                    <a:pt x="333" y="77"/>
                    <a:pt x="332" y="76"/>
                  </a:cubicBezTo>
                  <a:cubicBezTo>
                    <a:pt x="330" y="74"/>
                    <a:pt x="331" y="72"/>
                    <a:pt x="329" y="72"/>
                  </a:cubicBezTo>
                  <a:cubicBezTo>
                    <a:pt x="327" y="72"/>
                    <a:pt x="329" y="72"/>
                    <a:pt x="327" y="72"/>
                  </a:cubicBezTo>
                  <a:cubicBezTo>
                    <a:pt x="326" y="72"/>
                    <a:pt x="325" y="73"/>
                    <a:pt x="324" y="73"/>
                  </a:cubicBezTo>
                  <a:cubicBezTo>
                    <a:pt x="323" y="73"/>
                    <a:pt x="322" y="72"/>
                    <a:pt x="321" y="72"/>
                  </a:cubicBezTo>
                  <a:cubicBezTo>
                    <a:pt x="320" y="72"/>
                    <a:pt x="320" y="71"/>
                    <a:pt x="319" y="70"/>
                  </a:cubicBezTo>
                  <a:cubicBezTo>
                    <a:pt x="318" y="70"/>
                    <a:pt x="318" y="70"/>
                    <a:pt x="317" y="69"/>
                  </a:cubicBezTo>
                  <a:cubicBezTo>
                    <a:pt x="316" y="68"/>
                    <a:pt x="317" y="67"/>
                    <a:pt x="316" y="66"/>
                  </a:cubicBezTo>
                  <a:cubicBezTo>
                    <a:pt x="315" y="65"/>
                    <a:pt x="314" y="64"/>
                    <a:pt x="313" y="64"/>
                  </a:cubicBezTo>
                  <a:cubicBezTo>
                    <a:pt x="311" y="62"/>
                    <a:pt x="309" y="61"/>
                    <a:pt x="308" y="61"/>
                  </a:cubicBezTo>
                  <a:cubicBezTo>
                    <a:pt x="305" y="57"/>
                    <a:pt x="305" y="57"/>
                    <a:pt x="305" y="57"/>
                  </a:cubicBezTo>
                  <a:cubicBezTo>
                    <a:pt x="307" y="55"/>
                    <a:pt x="307" y="55"/>
                    <a:pt x="307" y="55"/>
                  </a:cubicBezTo>
                  <a:cubicBezTo>
                    <a:pt x="309" y="53"/>
                    <a:pt x="309" y="52"/>
                    <a:pt x="310" y="51"/>
                  </a:cubicBezTo>
                  <a:cubicBezTo>
                    <a:pt x="311" y="51"/>
                    <a:pt x="312" y="49"/>
                    <a:pt x="312" y="49"/>
                  </a:cubicBezTo>
                  <a:cubicBezTo>
                    <a:pt x="312" y="49"/>
                    <a:pt x="313" y="47"/>
                    <a:pt x="313" y="46"/>
                  </a:cubicBezTo>
                  <a:cubicBezTo>
                    <a:pt x="313" y="45"/>
                    <a:pt x="315" y="44"/>
                    <a:pt x="314" y="43"/>
                  </a:cubicBezTo>
                  <a:cubicBezTo>
                    <a:pt x="312" y="42"/>
                    <a:pt x="317" y="42"/>
                    <a:pt x="317" y="42"/>
                  </a:cubicBezTo>
                  <a:cubicBezTo>
                    <a:pt x="314" y="41"/>
                    <a:pt x="312" y="42"/>
                    <a:pt x="312" y="41"/>
                  </a:cubicBezTo>
                  <a:cubicBezTo>
                    <a:pt x="312" y="38"/>
                    <a:pt x="312" y="37"/>
                    <a:pt x="313" y="37"/>
                  </a:cubicBezTo>
                  <a:cubicBezTo>
                    <a:pt x="318" y="37"/>
                    <a:pt x="317" y="38"/>
                    <a:pt x="319" y="38"/>
                  </a:cubicBezTo>
                  <a:cubicBezTo>
                    <a:pt x="320" y="37"/>
                    <a:pt x="320" y="39"/>
                    <a:pt x="321" y="37"/>
                  </a:cubicBezTo>
                  <a:cubicBezTo>
                    <a:pt x="322" y="35"/>
                    <a:pt x="322" y="36"/>
                    <a:pt x="322" y="34"/>
                  </a:cubicBezTo>
                  <a:cubicBezTo>
                    <a:pt x="321" y="33"/>
                    <a:pt x="320" y="33"/>
                    <a:pt x="321" y="31"/>
                  </a:cubicBezTo>
                  <a:cubicBezTo>
                    <a:pt x="322" y="29"/>
                    <a:pt x="322" y="33"/>
                    <a:pt x="323" y="29"/>
                  </a:cubicBezTo>
                  <a:cubicBezTo>
                    <a:pt x="325" y="24"/>
                    <a:pt x="326" y="25"/>
                    <a:pt x="326" y="25"/>
                  </a:cubicBezTo>
                  <a:cubicBezTo>
                    <a:pt x="324" y="22"/>
                    <a:pt x="323" y="21"/>
                    <a:pt x="322" y="20"/>
                  </a:cubicBezTo>
                  <a:cubicBezTo>
                    <a:pt x="320" y="19"/>
                    <a:pt x="321" y="15"/>
                    <a:pt x="319" y="17"/>
                  </a:cubicBezTo>
                  <a:cubicBezTo>
                    <a:pt x="318" y="20"/>
                    <a:pt x="318" y="19"/>
                    <a:pt x="318" y="21"/>
                  </a:cubicBezTo>
                  <a:cubicBezTo>
                    <a:pt x="317" y="24"/>
                    <a:pt x="319" y="23"/>
                    <a:pt x="317" y="24"/>
                  </a:cubicBezTo>
                  <a:cubicBezTo>
                    <a:pt x="315" y="24"/>
                    <a:pt x="315" y="23"/>
                    <a:pt x="314" y="22"/>
                  </a:cubicBezTo>
                  <a:cubicBezTo>
                    <a:pt x="312" y="21"/>
                    <a:pt x="313" y="22"/>
                    <a:pt x="312" y="21"/>
                  </a:cubicBezTo>
                  <a:cubicBezTo>
                    <a:pt x="311" y="16"/>
                    <a:pt x="312" y="15"/>
                    <a:pt x="311" y="16"/>
                  </a:cubicBezTo>
                  <a:cubicBezTo>
                    <a:pt x="310" y="17"/>
                    <a:pt x="309" y="18"/>
                    <a:pt x="308" y="19"/>
                  </a:cubicBezTo>
                  <a:cubicBezTo>
                    <a:pt x="307" y="20"/>
                    <a:pt x="306" y="20"/>
                    <a:pt x="305" y="21"/>
                  </a:cubicBezTo>
                  <a:cubicBezTo>
                    <a:pt x="304" y="21"/>
                    <a:pt x="303" y="22"/>
                    <a:pt x="302" y="21"/>
                  </a:cubicBezTo>
                  <a:cubicBezTo>
                    <a:pt x="300" y="20"/>
                    <a:pt x="300" y="19"/>
                    <a:pt x="299" y="19"/>
                  </a:cubicBezTo>
                  <a:cubicBezTo>
                    <a:pt x="296" y="19"/>
                    <a:pt x="297" y="18"/>
                    <a:pt x="295" y="19"/>
                  </a:cubicBezTo>
                  <a:cubicBezTo>
                    <a:pt x="294" y="19"/>
                    <a:pt x="294" y="17"/>
                    <a:pt x="293" y="18"/>
                  </a:cubicBezTo>
                  <a:cubicBezTo>
                    <a:pt x="291" y="18"/>
                    <a:pt x="292" y="21"/>
                    <a:pt x="292" y="20"/>
                  </a:cubicBezTo>
                  <a:cubicBezTo>
                    <a:pt x="289" y="18"/>
                    <a:pt x="287" y="17"/>
                    <a:pt x="286" y="17"/>
                  </a:cubicBezTo>
                  <a:cubicBezTo>
                    <a:pt x="283" y="16"/>
                    <a:pt x="283" y="14"/>
                    <a:pt x="282" y="15"/>
                  </a:cubicBezTo>
                  <a:cubicBezTo>
                    <a:pt x="281" y="16"/>
                    <a:pt x="281" y="14"/>
                    <a:pt x="279" y="14"/>
                  </a:cubicBezTo>
                  <a:cubicBezTo>
                    <a:pt x="276" y="15"/>
                    <a:pt x="277" y="14"/>
                    <a:pt x="276" y="14"/>
                  </a:cubicBezTo>
                  <a:cubicBezTo>
                    <a:pt x="275" y="14"/>
                    <a:pt x="275" y="12"/>
                    <a:pt x="274" y="12"/>
                  </a:cubicBezTo>
                  <a:cubicBezTo>
                    <a:pt x="272" y="12"/>
                    <a:pt x="274" y="9"/>
                    <a:pt x="272" y="9"/>
                  </a:cubicBezTo>
                  <a:cubicBezTo>
                    <a:pt x="271" y="10"/>
                    <a:pt x="270" y="10"/>
                    <a:pt x="269" y="10"/>
                  </a:cubicBezTo>
                  <a:cubicBezTo>
                    <a:pt x="268" y="10"/>
                    <a:pt x="267" y="8"/>
                    <a:pt x="267" y="8"/>
                  </a:cubicBezTo>
                  <a:cubicBezTo>
                    <a:pt x="266" y="7"/>
                    <a:pt x="267" y="6"/>
                    <a:pt x="265" y="6"/>
                  </a:cubicBezTo>
                  <a:cubicBezTo>
                    <a:pt x="264" y="6"/>
                    <a:pt x="264" y="4"/>
                    <a:pt x="262" y="6"/>
                  </a:cubicBezTo>
                  <a:cubicBezTo>
                    <a:pt x="260" y="7"/>
                    <a:pt x="259" y="5"/>
                    <a:pt x="258" y="7"/>
                  </a:cubicBezTo>
                  <a:cubicBezTo>
                    <a:pt x="257" y="10"/>
                    <a:pt x="257" y="9"/>
                    <a:pt x="257" y="10"/>
                  </a:cubicBezTo>
                  <a:cubicBezTo>
                    <a:pt x="257" y="10"/>
                    <a:pt x="258" y="12"/>
                    <a:pt x="260" y="12"/>
                  </a:cubicBezTo>
                  <a:cubicBezTo>
                    <a:pt x="262" y="12"/>
                    <a:pt x="263" y="12"/>
                    <a:pt x="264" y="12"/>
                  </a:cubicBezTo>
                  <a:cubicBezTo>
                    <a:pt x="265" y="13"/>
                    <a:pt x="266" y="13"/>
                    <a:pt x="266" y="14"/>
                  </a:cubicBezTo>
                  <a:cubicBezTo>
                    <a:pt x="266" y="15"/>
                    <a:pt x="267" y="17"/>
                    <a:pt x="267" y="18"/>
                  </a:cubicBezTo>
                  <a:cubicBezTo>
                    <a:pt x="266" y="19"/>
                    <a:pt x="265" y="20"/>
                    <a:pt x="265" y="20"/>
                  </a:cubicBezTo>
                  <a:cubicBezTo>
                    <a:pt x="263" y="21"/>
                    <a:pt x="263" y="21"/>
                    <a:pt x="263" y="21"/>
                  </a:cubicBezTo>
                  <a:cubicBezTo>
                    <a:pt x="263" y="21"/>
                    <a:pt x="261" y="20"/>
                    <a:pt x="260" y="20"/>
                  </a:cubicBezTo>
                  <a:cubicBezTo>
                    <a:pt x="259" y="21"/>
                    <a:pt x="259" y="20"/>
                    <a:pt x="258" y="22"/>
                  </a:cubicBezTo>
                  <a:cubicBezTo>
                    <a:pt x="257" y="23"/>
                    <a:pt x="256" y="24"/>
                    <a:pt x="256" y="24"/>
                  </a:cubicBezTo>
                  <a:cubicBezTo>
                    <a:pt x="253" y="24"/>
                    <a:pt x="252" y="20"/>
                    <a:pt x="251" y="20"/>
                  </a:cubicBezTo>
                  <a:cubicBezTo>
                    <a:pt x="251" y="20"/>
                    <a:pt x="247" y="22"/>
                    <a:pt x="246" y="23"/>
                  </a:cubicBezTo>
                  <a:cubicBezTo>
                    <a:pt x="244" y="24"/>
                    <a:pt x="245" y="26"/>
                    <a:pt x="244" y="26"/>
                  </a:cubicBezTo>
                  <a:cubicBezTo>
                    <a:pt x="243" y="26"/>
                    <a:pt x="240" y="27"/>
                    <a:pt x="239" y="27"/>
                  </a:cubicBezTo>
                  <a:cubicBezTo>
                    <a:pt x="239" y="27"/>
                    <a:pt x="238" y="28"/>
                    <a:pt x="238" y="29"/>
                  </a:cubicBezTo>
                  <a:cubicBezTo>
                    <a:pt x="238" y="30"/>
                    <a:pt x="236" y="29"/>
                    <a:pt x="235" y="30"/>
                  </a:cubicBezTo>
                  <a:cubicBezTo>
                    <a:pt x="234" y="31"/>
                    <a:pt x="234" y="30"/>
                    <a:pt x="234" y="31"/>
                  </a:cubicBezTo>
                  <a:cubicBezTo>
                    <a:pt x="234" y="33"/>
                    <a:pt x="234" y="35"/>
                    <a:pt x="235" y="35"/>
                  </a:cubicBezTo>
                  <a:cubicBezTo>
                    <a:pt x="235" y="35"/>
                    <a:pt x="233" y="39"/>
                    <a:pt x="233" y="41"/>
                  </a:cubicBezTo>
                  <a:cubicBezTo>
                    <a:pt x="233" y="42"/>
                    <a:pt x="230" y="41"/>
                    <a:pt x="229" y="42"/>
                  </a:cubicBezTo>
                  <a:cubicBezTo>
                    <a:pt x="227" y="44"/>
                    <a:pt x="226" y="45"/>
                    <a:pt x="225" y="47"/>
                  </a:cubicBezTo>
                  <a:cubicBezTo>
                    <a:pt x="225" y="52"/>
                    <a:pt x="225" y="50"/>
                    <a:pt x="225" y="52"/>
                  </a:cubicBezTo>
                  <a:cubicBezTo>
                    <a:pt x="225" y="55"/>
                    <a:pt x="225" y="55"/>
                    <a:pt x="226" y="57"/>
                  </a:cubicBezTo>
                  <a:cubicBezTo>
                    <a:pt x="228" y="58"/>
                    <a:pt x="228" y="61"/>
                    <a:pt x="228" y="61"/>
                  </a:cubicBezTo>
                  <a:cubicBezTo>
                    <a:pt x="225" y="62"/>
                    <a:pt x="223" y="62"/>
                    <a:pt x="222" y="61"/>
                  </a:cubicBezTo>
                  <a:cubicBezTo>
                    <a:pt x="222" y="61"/>
                    <a:pt x="219" y="57"/>
                    <a:pt x="217" y="58"/>
                  </a:cubicBezTo>
                  <a:cubicBezTo>
                    <a:pt x="216" y="60"/>
                    <a:pt x="212" y="60"/>
                    <a:pt x="212" y="60"/>
                  </a:cubicBezTo>
                  <a:cubicBezTo>
                    <a:pt x="208" y="66"/>
                    <a:pt x="206" y="66"/>
                    <a:pt x="206" y="66"/>
                  </a:cubicBezTo>
                  <a:cubicBezTo>
                    <a:pt x="206" y="62"/>
                    <a:pt x="206" y="62"/>
                    <a:pt x="206" y="62"/>
                  </a:cubicBezTo>
                  <a:cubicBezTo>
                    <a:pt x="206" y="58"/>
                    <a:pt x="204" y="55"/>
                    <a:pt x="204" y="55"/>
                  </a:cubicBezTo>
                  <a:cubicBezTo>
                    <a:pt x="200" y="51"/>
                    <a:pt x="201" y="49"/>
                    <a:pt x="198" y="49"/>
                  </a:cubicBezTo>
                  <a:cubicBezTo>
                    <a:pt x="194" y="49"/>
                    <a:pt x="198" y="52"/>
                    <a:pt x="194" y="49"/>
                  </a:cubicBezTo>
                  <a:cubicBezTo>
                    <a:pt x="191" y="46"/>
                    <a:pt x="188" y="45"/>
                    <a:pt x="188" y="45"/>
                  </a:cubicBezTo>
                  <a:cubicBezTo>
                    <a:pt x="188" y="45"/>
                    <a:pt x="185" y="46"/>
                    <a:pt x="185" y="48"/>
                  </a:cubicBezTo>
                  <a:cubicBezTo>
                    <a:pt x="185" y="48"/>
                    <a:pt x="181" y="47"/>
                    <a:pt x="180" y="49"/>
                  </a:cubicBezTo>
                  <a:cubicBezTo>
                    <a:pt x="178" y="53"/>
                    <a:pt x="175" y="55"/>
                    <a:pt x="175" y="55"/>
                  </a:cubicBezTo>
                  <a:cubicBezTo>
                    <a:pt x="171" y="55"/>
                    <a:pt x="170" y="54"/>
                    <a:pt x="168" y="55"/>
                  </a:cubicBezTo>
                  <a:cubicBezTo>
                    <a:pt x="164" y="58"/>
                    <a:pt x="164" y="59"/>
                    <a:pt x="164" y="59"/>
                  </a:cubicBezTo>
                  <a:cubicBezTo>
                    <a:pt x="163" y="66"/>
                    <a:pt x="163" y="66"/>
                    <a:pt x="163" y="66"/>
                  </a:cubicBezTo>
                  <a:cubicBezTo>
                    <a:pt x="163" y="66"/>
                    <a:pt x="158" y="66"/>
                    <a:pt x="158" y="69"/>
                  </a:cubicBezTo>
                  <a:cubicBezTo>
                    <a:pt x="158" y="69"/>
                    <a:pt x="156" y="71"/>
                    <a:pt x="156" y="73"/>
                  </a:cubicBezTo>
                  <a:cubicBezTo>
                    <a:pt x="156" y="73"/>
                    <a:pt x="158" y="76"/>
                    <a:pt x="158" y="78"/>
                  </a:cubicBezTo>
                  <a:cubicBezTo>
                    <a:pt x="153" y="79"/>
                    <a:pt x="153" y="79"/>
                    <a:pt x="153" y="79"/>
                  </a:cubicBezTo>
                  <a:cubicBezTo>
                    <a:pt x="147" y="76"/>
                    <a:pt x="147" y="76"/>
                    <a:pt x="147" y="76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50" y="83"/>
                    <a:pt x="150" y="85"/>
                  </a:cubicBezTo>
                  <a:cubicBezTo>
                    <a:pt x="145" y="92"/>
                    <a:pt x="145" y="92"/>
                    <a:pt x="145" y="92"/>
                  </a:cubicBezTo>
                  <a:cubicBezTo>
                    <a:pt x="144" y="96"/>
                    <a:pt x="144" y="96"/>
                    <a:pt x="144" y="96"/>
                  </a:cubicBezTo>
                  <a:cubicBezTo>
                    <a:pt x="141" y="88"/>
                    <a:pt x="141" y="88"/>
                    <a:pt x="141" y="88"/>
                  </a:cubicBezTo>
                  <a:cubicBezTo>
                    <a:pt x="137" y="83"/>
                    <a:pt x="137" y="83"/>
                    <a:pt x="137" y="83"/>
                  </a:cubicBezTo>
                  <a:cubicBezTo>
                    <a:pt x="137" y="83"/>
                    <a:pt x="135" y="82"/>
                    <a:pt x="135" y="83"/>
                  </a:cubicBezTo>
                  <a:cubicBezTo>
                    <a:pt x="134" y="83"/>
                    <a:pt x="133" y="84"/>
                    <a:pt x="132" y="87"/>
                  </a:cubicBezTo>
                  <a:cubicBezTo>
                    <a:pt x="130" y="90"/>
                    <a:pt x="126" y="93"/>
                    <a:pt x="125" y="93"/>
                  </a:cubicBezTo>
                  <a:cubicBezTo>
                    <a:pt x="125" y="94"/>
                    <a:pt x="125" y="95"/>
                    <a:pt x="125" y="96"/>
                  </a:cubicBezTo>
                  <a:cubicBezTo>
                    <a:pt x="126" y="97"/>
                    <a:pt x="127" y="97"/>
                    <a:pt x="127" y="98"/>
                  </a:cubicBezTo>
                  <a:cubicBezTo>
                    <a:pt x="127" y="100"/>
                    <a:pt x="126" y="103"/>
                    <a:pt x="126" y="104"/>
                  </a:cubicBezTo>
                  <a:cubicBezTo>
                    <a:pt x="128" y="107"/>
                    <a:pt x="126" y="107"/>
                    <a:pt x="125" y="108"/>
                  </a:cubicBezTo>
                  <a:cubicBezTo>
                    <a:pt x="124" y="109"/>
                    <a:pt x="121" y="111"/>
                    <a:pt x="121" y="111"/>
                  </a:cubicBezTo>
                  <a:cubicBezTo>
                    <a:pt x="121" y="111"/>
                    <a:pt x="123" y="111"/>
                    <a:pt x="121" y="113"/>
                  </a:cubicBezTo>
                  <a:cubicBezTo>
                    <a:pt x="120" y="115"/>
                    <a:pt x="117" y="118"/>
                    <a:pt x="116" y="119"/>
                  </a:cubicBezTo>
                  <a:cubicBezTo>
                    <a:pt x="116" y="120"/>
                    <a:pt x="115" y="120"/>
                    <a:pt x="114" y="122"/>
                  </a:cubicBezTo>
                  <a:cubicBezTo>
                    <a:pt x="113" y="123"/>
                    <a:pt x="111" y="124"/>
                    <a:pt x="111" y="124"/>
                  </a:cubicBezTo>
                  <a:cubicBezTo>
                    <a:pt x="108" y="126"/>
                    <a:pt x="105" y="128"/>
                    <a:pt x="105" y="128"/>
                  </a:cubicBezTo>
                  <a:cubicBezTo>
                    <a:pt x="105" y="128"/>
                    <a:pt x="104" y="128"/>
                    <a:pt x="100" y="128"/>
                  </a:cubicBezTo>
                  <a:cubicBezTo>
                    <a:pt x="97" y="129"/>
                    <a:pt x="97" y="129"/>
                    <a:pt x="95" y="130"/>
                  </a:cubicBezTo>
                  <a:cubicBezTo>
                    <a:pt x="94" y="130"/>
                    <a:pt x="94" y="130"/>
                    <a:pt x="93" y="131"/>
                  </a:cubicBezTo>
                  <a:cubicBezTo>
                    <a:pt x="91" y="132"/>
                    <a:pt x="89" y="133"/>
                    <a:pt x="89" y="133"/>
                  </a:cubicBezTo>
                  <a:cubicBezTo>
                    <a:pt x="89" y="133"/>
                    <a:pt x="88" y="132"/>
                    <a:pt x="87" y="133"/>
                  </a:cubicBezTo>
                  <a:cubicBezTo>
                    <a:pt x="86" y="134"/>
                    <a:pt x="86" y="131"/>
                    <a:pt x="85" y="131"/>
                  </a:cubicBezTo>
                  <a:cubicBezTo>
                    <a:pt x="83" y="131"/>
                    <a:pt x="82" y="132"/>
                    <a:pt x="80" y="133"/>
                  </a:cubicBezTo>
                  <a:cubicBezTo>
                    <a:pt x="79" y="133"/>
                    <a:pt x="79" y="133"/>
                    <a:pt x="78" y="134"/>
                  </a:cubicBezTo>
                  <a:cubicBezTo>
                    <a:pt x="77" y="135"/>
                    <a:pt x="73" y="136"/>
                    <a:pt x="73" y="136"/>
                  </a:cubicBezTo>
                  <a:cubicBezTo>
                    <a:pt x="73" y="136"/>
                    <a:pt x="71" y="137"/>
                    <a:pt x="70" y="138"/>
                  </a:cubicBezTo>
                  <a:cubicBezTo>
                    <a:pt x="70" y="138"/>
                    <a:pt x="67" y="140"/>
                    <a:pt x="66" y="140"/>
                  </a:cubicBezTo>
                  <a:cubicBezTo>
                    <a:pt x="65" y="141"/>
                    <a:pt x="64" y="140"/>
                    <a:pt x="64" y="140"/>
                  </a:cubicBezTo>
                  <a:cubicBezTo>
                    <a:pt x="64" y="140"/>
                    <a:pt x="57" y="139"/>
                    <a:pt x="56" y="139"/>
                  </a:cubicBezTo>
                  <a:cubicBezTo>
                    <a:pt x="54" y="140"/>
                    <a:pt x="52" y="140"/>
                    <a:pt x="52" y="141"/>
                  </a:cubicBezTo>
                  <a:cubicBezTo>
                    <a:pt x="51" y="142"/>
                    <a:pt x="49" y="141"/>
                    <a:pt x="49" y="142"/>
                  </a:cubicBezTo>
                  <a:cubicBezTo>
                    <a:pt x="45" y="145"/>
                    <a:pt x="46" y="143"/>
                    <a:pt x="45" y="145"/>
                  </a:cubicBezTo>
                  <a:cubicBezTo>
                    <a:pt x="43" y="148"/>
                    <a:pt x="44" y="146"/>
                    <a:pt x="42" y="148"/>
                  </a:cubicBezTo>
                  <a:cubicBezTo>
                    <a:pt x="41" y="150"/>
                    <a:pt x="36" y="151"/>
                    <a:pt x="36" y="151"/>
                  </a:cubicBezTo>
                  <a:cubicBezTo>
                    <a:pt x="36" y="151"/>
                    <a:pt x="35" y="152"/>
                    <a:pt x="34" y="153"/>
                  </a:cubicBezTo>
                  <a:cubicBezTo>
                    <a:pt x="34" y="154"/>
                    <a:pt x="33" y="155"/>
                    <a:pt x="32" y="155"/>
                  </a:cubicBezTo>
                  <a:cubicBezTo>
                    <a:pt x="31" y="156"/>
                    <a:pt x="28" y="155"/>
                    <a:pt x="28" y="155"/>
                  </a:cubicBezTo>
                  <a:cubicBezTo>
                    <a:pt x="28" y="155"/>
                    <a:pt x="26" y="156"/>
                    <a:pt x="27" y="157"/>
                  </a:cubicBezTo>
                  <a:cubicBezTo>
                    <a:pt x="27" y="158"/>
                    <a:pt x="22" y="162"/>
                    <a:pt x="22" y="162"/>
                  </a:cubicBezTo>
                  <a:cubicBezTo>
                    <a:pt x="22" y="163"/>
                    <a:pt x="21" y="165"/>
                    <a:pt x="21" y="166"/>
                  </a:cubicBezTo>
                  <a:cubicBezTo>
                    <a:pt x="20" y="168"/>
                    <a:pt x="17" y="165"/>
                    <a:pt x="17" y="165"/>
                  </a:cubicBezTo>
                  <a:cubicBezTo>
                    <a:pt x="17" y="165"/>
                    <a:pt x="15" y="164"/>
                    <a:pt x="16" y="163"/>
                  </a:cubicBezTo>
                  <a:cubicBezTo>
                    <a:pt x="17" y="162"/>
                    <a:pt x="17" y="161"/>
                    <a:pt x="17" y="160"/>
                  </a:cubicBezTo>
                  <a:cubicBezTo>
                    <a:pt x="18" y="159"/>
                    <a:pt x="17" y="157"/>
                    <a:pt x="17" y="157"/>
                  </a:cubicBezTo>
                  <a:cubicBezTo>
                    <a:pt x="17" y="157"/>
                    <a:pt x="17" y="157"/>
                    <a:pt x="15" y="158"/>
                  </a:cubicBezTo>
                  <a:cubicBezTo>
                    <a:pt x="14" y="160"/>
                    <a:pt x="14" y="162"/>
                    <a:pt x="13" y="164"/>
                  </a:cubicBezTo>
                  <a:cubicBezTo>
                    <a:pt x="13" y="166"/>
                    <a:pt x="13" y="166"/>
                    <a:pt x="12" y="168"/>
                  </a:cubicBezTo>
                  <a:cubicBezTo>
                    <a:pt x="11" y="170"/>
                    <a:pt x="12" y="170"/>
                    <a:pt x="12" y="171"/>
                  </a:cubicBezTo>
                  <a:cubicBezTo>
                    <a:pt x="12" y="172"/>
                    <a:pt x="13" y="175"/>
                    <a:pt x="12" y="176"/>
                  </a:cubicBezTo>
                  <a:cubicBezTo>
                    <a:pt x="12" y="177"/>
                    <a:pt x="12" y="177"/>
                    <a:pt x="12" y="179"/>
                  </a:cubicBezTo>
                  <a:cubicBezTo>
                    <a:pt x="11" y="181"/>
                    <a:pt x="12" y="181"/>
                    <a:pt x="11" y="183"/>
                  </a:cubicBezTo>
                  <a:cubicBezTo>
                    <a:pt x="10" y="184"/>
                    <a:pt x="10" y="184"/>
                    <a:pt x="9" y="186"/>
                  </a:cubicBezTo>
                  <a:cubicBezTo>
                    <a:pt x="8" y="188"/>
                    <a:pt x="8" y="189"/>
                    <a:pt x="7" y="191"/>
                  </a:cubicBezTo>
                  <a:cubicBezTo>
                    <a:pt x="7" y="192"/>
                    <a:pt x="7" y="192"/>
                    <a:pt x="7" y="194"/>
                  </a:cubicBezTo>
                  <a:cubicBezTo>
                    <a:pt x="8" y="197"/>
                    <a:pt x="9" y="199"/>
                    <a:pt x="9" y="200"/>
                  </a:cubicBezTo>
                  <a:cubicBezTo>
                    <a:pt x="10" y="201"/>
                    <a:pt x="10" y="197"/>
                    <a:pt x="11" y="201"/>
                  </a:cubicBezTo>
                  <a:cubicBezTo>
                    <a:pt x="13" y="205"/>
                    <a:pt x="15" y="208"/>
                    <a:pt x="15" y="209"/>
                  </a:cubicBezTo>
                  <a:cubicBezTo>
                    <a:pt x="16" y="210"/>
                    <a:pt x="17" y="212"/>
                    <a:pt x="17" y="212"/>
                  </a:cubicBezTo>
                  <a:cubicBezTo>
                    <a:pt x="17" y="213"/>
                    <a:pt x="16" y="214"/>
                    <a:pt x="16" y="215"/>
                  </a:cubicBezTo>
                  <a:cubicBezTo>
                    <a:pt x="16" y="216"/>
                    <a:pt x="18" y="215"/>
                    <a:pt x="18" y="218"/>
                  </a:cubicBezTo>
                  <a:cubicBezTo>
                    <a:pt x="17" y="220"/>
                    <a:pt x="16" y="221"/>
                    <a:pt x="16" y="221"/>
                  </a:cubicBezTo>
                  <a:cubicBezTo>
                    <a:pt x="16" y="221"/>
                    <a:pt x="15" y="217"/>
                    <a:pt x="13" y="217"/>
                  </a:cubicBezTo>
                  <a:cubicBezTo>
                    <a:pt x="11" y="217"/>
                    <a:pt x="13" y="214"/>
                    <a:pt x="10" y="214"/>
                  </a:cubicBezTo>
                  <a:cubicBezTo>
                    <a:pt x="8" y="213"/>
                    <a:pt x="7" y="211"/>
                    <a:pt x="7" y="213"/>
                  </a:cubicBezTo>
                  <a:cubicBezTo>
                    <a:pt x="7" y="214"/>
                    <a:pt x="11" y="216"/>
                    <a:pt x="11" y="217"/>
                  </a:cubicBezTo>
                  <a:cubicBezTo>
                    <a:pt x="11" y="219"/>
                    <a:pt x="12" y="220"/>
                    <a:pt x="13" y="221"/>
                  </a:cubicBezTo>
                  <a:cubicBezTo>
                    <a:pt x="14" y="222"/>
                    <a:pt x="13" y="220"/>
                    <a:pt x="14" y="222"/>
                  </a:cubicBezTo>
                  <a:cubicBezTo>
                    <a:pt x="14" y="225"/>
                    <a:pt x="13" y="225"/>
                    <a:pt x="13" y="225"/>
                  </a:cubicBezTo>
                  <a:cubicBezTo>
                    <a:pt x="12" y="225"/>
                    <a:pt x="12" y="223"/>
                    <a:pt x="10" y="223"/>
                  </a:cubicBezTo>
                  <a:cubicBezTo>
                    <a:pt x="7" y="222"/>
                    <a:pt x="6" y="221"/>
                    <a:pt x="6" y="221"/>
                  </a:cubicBezTo>
                  <a:cubicBezTo>
                    <a:pt x="5" y="220"/>
                    <a:pt x="6" y="218"/>
                    <a:pt x="4" y="217"/>
                  </a:cubicBezTo>
                  <a:cubicBezTo>
                    <a:pt x="4" y="216"/>
                    <a:pt x="3" y="215"/>
                    <a:pt x="3" y="215"/>
                  </a:cubicBezTo>
                  <a:cubicBezTo>
                    <a:pt x="3" y="214"/>
                    <a:pt x="2" y="214"/>
                    <a:pt x="2" y="214"/>
                  </a:cubicBezTo>
                  <a:cubicBezTo>
                    <a:pt x="1" y="212"/>
                    <a:pt x="0" y="211"/>
                    <a:pt x="0" y="211"/>
                  </a:cubicBezTo>
                  <a:cubicBezTo>
                    <a:pt x="0" y="211"/>
                    <a:pt x="1" y="218"/>
                    <a:pt x="2" y="218"/>
                  </a:cubicBezTo>
                  <a:cubicBezTo>
                    <a:pt x="4" y="218"/>
                    <a:pt x="4" y="219"/>
                    <a:pt x="4" y="220"/>
                  </a:cubicBezTo>
                  <a:cubicBezTo>
                    <a:pt x="4" y="221"/>
                    <a:pt x="6" y="223"/>
                    <a:pt x="6" y="224"/>
                  </a:cubicBezTo>
                  <a:cubicBezTo>
                    <a:pt x="7" y="224"/>
                    <a:pt x="7" y="224"/>
                    <a:pt x="8" y="225"/>
                  </a:cubicBezTo>
                  <a:cubicBezTo>
                    <a:pt x="10" y="226"/>
                    <a:pt x="10" y="226"/>
                    <a:pt x="12" y="226"/>
                  </a:cubicBezTo>
                  <a:cubicBezTo>
                    <a:pt x="13" y="227"/>
                    <a:pt x="12" y="231"/>
                    <a:pt x="13" y="231"/>
                  </a:cubicBezTo>
                  <a:cubicBezTo>
                    <a:pt x="14" y="232"/>
                    <a:pt x="14" y="231"/>
                    <a:pt x="15" y="233"/>
                  </a:cubicBezTo>
                  <a:cubicBezTo>
                    <a:pt x="16" y="235"/>
                    <a:pt x="17" y="235"/>
                    <a:pt x="17" y="236"/>
                  </a:cubicBezTo>
                  <a:cubicBezTo>
                    <a:pt x="18" y="238"/>
                    <a:pt x="17" y="242"/>
                    <a:pt x="17" y="243"/>
                  </a:cubicBezTo>
                  <a:cubicBezTo>
                    <a:pt x="17" y="244"/>
                    <a:pt x="19" y="248"/>
                    <a:pt x="19" y="248"/>
                  </a:cubicBezTo>
                  <a:cubicBezTo>
                    <a:pt x="20" y="250"/>
                    <a:pt x="22" y="253"/>
                    <a:pt x="22" y="254"/>
                  </a:cubicBezTo>
                  <a:cubicBezTo>
                    <a:pt x="22" y="255"/>
                    <a:pt x="21" y="252"/>
                    <a:pt x="23" y="256"/>
                  </a:cubicBezTo>
                  <a:cubicBezTo>
                    <a:pt x="25" y="261"/>
                    <a:pt x="27" y="261"/>
                    <a:pt x="27" y="262"/>
                  </a:cubicBezTo>
                  <a:cubicBezTo>
                    <a:pt x="27" y="263"/>
                    <a:pt x="29" y="268"/>
                    <a:pt x="29" y="269"/>
                  </a:cubicBezTo>
                  <a:cubicBezTo>
                    <a:pt x="28" y="270"/>
                    <a:pt x="28" y="273"/>
                    <a:pt x="28" y="273"/>
                  </a:cubicBezTo>
                  <a:cubicBezTo>
                    <a:pt x="28" y="273"/>
                    <a:pt x="29" y="274"/>
                    <a:pt x="28" y="275"/>
                  </a:cubicBezTo>
                  <a:cubicBezTo>
                    <a:pt x="27" y="276"/>
                    <a:pt x="28" y="277"/>
                    <a:pt x="28" y="279"/>
                  </a:cubicBezTo>
                  <a:cubicBezTo>
                    <a:pt x="28" y="281"/>
                    <a:pt x="29" y="281"/>
                    <a:pt x="29" y="283"/>
                  </a:cubicBezTo>
                  <a:cubicBezTo>
                    <a:pt x="30" y="285"/>
                    <a:pt x="29" y="285"/>
                    <a:pt x="31" y="287"/>
                  </a:cubicBezTo>
                  <a:cubicBezTo>
                    <a:pt x="33" y="289"/>
                    <a:pt x="34" y="292"/>
                    <a:pt x="35" y="292"/>
                  </a:cubicBezTo>
                  <a:cubicBezTo>
                    <a:pt x="36" y="293"/>
                    <a:pt x="38" y="295"/>
                    <a:pt x="38" y="296"/>
                  </a:cubicBezTo>
                  <a:cubicBezTo>
                    <a:pt x="39" y="299"/>
                    <a:pt x="39" y="299"/>
                    <a:pt x="39" y="302"/>
                  </a:cubicBezTo>
                  <a:cubicBezTo>
                    <a:pt x="38" y="304"/>
                    <a:pt x="39" y="301"/>
                    <a:pt x="38" y="304"/>
                  </a:cubicBezTo>
                  <a:cubicBezTo>
                    <a:pt x="38" y="307"/>
                    <a:pt x="39" y="311"/>
                    <a:pt x="39" y="311"/>
                  </a:cubicBezTo>
                  <a:cubicBezTo>
                    <a:pt x="39" y="311"/>
                    <a:pt x="38" y="314"/>
                    <a:pt x="38" y="315"/>
                  </a:cubicBezTo>
                  <a:cubicBezTo>
                    <a:pt x="37" y="316"/>
                    <a:pt x="37" y="314"/>
                    <a:pt x="37" y="316"/>
                  </a:cubicBezTo>
                  <a:cubicBezTo>
                    <a:pt x="37" y="318"/>
                    <a:pt x="38" y="319"/>
                    <a:pt x="38" y="321"/>
                  </a:cubicBezTo>
                  <a:cubicBezTo>
                    <a:pt x="38" y="322"/>
                    <a:pt x="38" y="322"/>
                    <a:pt x="37" y="324"/>
                  </a:cubicBezTo>
                  <a:cubicBezTo>
                    <a:pt x="37" y="327"/>
                    <a:pt x="38" y="326"/>
                    <a:pt x="37" y="327"/>
                  </a:cubicBezTo>
                  <a:cubicBezTo>
                    <a:pt x="35" y="328"/>
                    <a:pt x="33" y="328"/>
                    <a:pt x="32" y="329"/>
                  </a:cubicBezTo>
                  <a:cubicBezTo>
                    <a:pt x="31" y="330"/>
                    <a:pt x="30" y="329"/>
                    <a:pt x="30" y="331"/>
                  </a:cubicBezTo>
                  <a:cubicBezTo>
                    <a:pt x="29" y="332"/>
                    <a:pt x="30" y="333"/>
                    <a:pt x="30" y="335"/>
                  </a:cubicBezTo>
                  <a:cubicBezTo>
                    <a:pt x="30" y="337"/>
                    <a:pt x="29" y="335"/>
                    <a:pt x="30" y="337"/>
                  </a:cubicBezTo>
                  <a:cubicBezTo>
                    <a:pt x="30" y="338"/>
                    <a:pt x="32" y="338"/>
                    <a:pt x="33" y="338"/>
                  </a:cubicBezTo>
                  <a:cubicBezTo>
                    <a:pt x="34" y="338"/>
                    <a:pt x="35" y="338"/>
                    <a:pt x="36" y="339"/>
                  </a:cubicBezTo>
                  <a:cubicBezTo>
                    <a:pt x="38" y="340"/>
                    <a:pt x="39" y="340"/>
                    <a:pt x="39" y="340"/>
                  </a:cubicBezTo>
                  <a:cubicBezTo>
                    <a:pt x="39" y="341"/>
                    <a:pt x="41" y="342"/>
                    <a:pt x="41" y="343"/>
                  </a:cubicBezTo>
                  <a:cubicBezTo>
                    <a:pt x="41" y="344"/>
                    <a:pt x="43" y="345"/>
                    <a:pt x="43" y="346"/>
                  </a:cubicBezTo>
                  <a:cubicBezTo>
                    <a:pt x="43" y="348"/>
                    <a:pt x="47" y="349"/>
                    <a:pt x="47" y="349"/>
                  </a:cubicBezTo>
                  <a:cubicBezTo>
                    <a:pt x="47" y="349"/>
                    <a:pt x="50" y="350"/>
                    <a:pt x="51" y="350"/>
                  </a:cubicBezTo>
                  <a:cubicBezTo>
                    <a:pt x="51" y="351"/>
                    <a:pt x="54" y="351"/>
                    <a:pt x="54" y="351"/>
                  </a:cubicBezTo>
                  <a:cubicBezTo>
                    <a:pt x="60" y="350"/>
                    <a:pt x="60" y="350"/>
                    <a:pt x="60" y="350"/>
                  </a:cubicBezTo>
                  <a:cubicBezTo>
                    <a:pt x="60" y="350"/>
                    <a:pt x="64" y="350"/>
                    <a:pt x="66" y="351"/>
                  </a:cubicBezTo>
                  <a:cubicBezTo>
                    <a:pt x="68" y="352"/>
                    <a:pt x="74" y="350"/>
                    <a:pt x="74" y="350"/>
                  </a:cubicBezTo>
                  <a:cubicBezTo>
                    <a:pt x="77" y="348"/>
                    <a:pt x="77" y="348"/>
                    <a:pt x="77" y="348"/>
                  </a:cubicBezTo>
                  <a:cubicBezTo>
                    <a:pt x="80" y="346"/>
                    <a:pt x="80" y="346"/>
                    <a:pt x="80" y="346"/>
                  </a:cubicBezTo>
                  <a:cubicBezTo>
                    <a:pt x="83" y="343"/>
                    <a:pt x="83" y="343"/>
                    <a:pt x="83" y="343"/>
                  </a:cubicBezTo>
                  <a:cubicBezTo>
                    <a:pt x="87" y="342"/>
                    <a:pt x="87" y="342"/>
                    <a:pt x="87" y="342"/>
                  </a:cubicBezTo>
                  <a:cubicBezTo>
                    <a:pt x="94" y="339"/>
                    <a:pt x="94" y="339"/>
                    <a:pt x="94" y="339"/>
                  </a:cubicBezTo>
                  <a:cubicBezTo>
                    <a:pt x="96" y="336"/>
                    <a:pt x="96" y="336"/>
                    <a:pt x="96" y="336"/>
                  </a:cubicBezTo>
                  <a:cubicBezTo>
                    <a:pt x="97" y="334"/>
                    <a:pt x="97" y="334"/>
                    <a:pt x="97" y="334"/>
                  </a:cubicBezTo>
                  <a:cubicBezTo>
                    <a:pt x="97" y="334"/>
                    <a:pt x="102" y="333"/>
                    <a:pt x="104" y="333"/>
                  </a:cubicBezTo>
                  <a:cubicBezTo>
                    <a:pt x="105" y="334"/>
                    <a:pt x="108" y="334"/>
                    <a:pt x="108" y="334"/>
                  </a:cubicBezTo>
                  <a:cubicBezTo>
                    <a:pt x="108" y="335"/>
                    <a:pt x="113" y="332"/>
                    <a:pt x="113" y="332"/>
                  </a:cubicBezTo>
                  <a:cubicBezTo>
                    <a:pt x="113" y="332"/>
                    <a:pt x="115" y="332"/>
                    <a:pt x="116" y="332"/>
                  </a:cubicBezTo>
                  <a:cubicBezTo>
                    <a:pt x="117" y="332"/>
                    <a:pt x="119" y="332"/>
                    <a:pt x="119" y="332"/>
                  </a:cubicBezTo>
                  <a:cubicBezTo>
                    <a:pt x="119" y="332"/>
                    <a:pt x="121" y="331"/>
                    <a:pt x="121" y="332"/>
                  </a:cubicBezTo>
                  <a:cubicBezTo>
                    <a:pt x="122" y="332"/>
                    <a:pt x="123" y="331"/>
                    <a:pt x="124" y="332"/>
                  </a:cubicBezTo>
                  <a:cubicBezTo>
                    <a:pt x="125" y="334"/>
                    <a:pt x="129" y="333"/>
                    <a:pt x="129" y="333"/>
                  </a:cubicBezTo>
                  <a:cubicBezTo>
                    <a:pt x="134" y="333"/>
                    <a:pt x="134" y="333"/>
                    <a:pt x="134" y="333"/>
                  </a:cubicBezTo>
                  <a:cubicBezTo>
                    <a:pt x="137" y="333"/>
                    <a:pt x="137" y="333"/>
                    <a:pt x="137" y="333"/>
                  </a:cubicBezTo>
                  <a:cubicBezTo>
                    <a:pt x="137" y="333"/>
                    <a:pt x="139" y="332"/>
                    <a:pt x="140" y="332"/>
                  </a:cubicBezTo>
                  <a:cubicBezTo>
                    <a:pt x="140" y="333"/>
                    <a:pt x="143" y="332"/>
                    <a:pt x="143" y="332"/>
                  </a:cubicBezTo>
                  <a:cubicBezTo>
                    <a:pt x="143" y="332"/>
                    <a:pt x="145" y="331"/>
                    <a:pt x="146" y="331"/>
                  </a:cubicBezTo>
                  <a:cubicBezTo>
                    <a:pt x="146" y="331"/>
                    <a:pt x="149" y="328"/>
                    <a:pt x="149" y="328"/>
                  </a:cubicBezTo>
                  <a:cubicBezTo>
                    <a:pt x="149" y="328"/>
                    <a:pt x="152" y="326"/>
                    <a:pt x="152" y="325"/>
                  </a:cubicBezTo>
                  <a:cubicBezTo>
                    <a:pt x="152" y="325"/>
                    <a:pt x="151" y="325"/>
                    <a:pt x="154" y="322"/>
                  </a:cubicBezTo>
                  <a:cubicBezTo>
                    <a:pt x="157" y="318"/>
                    <a:pt x="160" y="317"/>
                    <a:pt x="161" y="317"/>
                  </a:cubicBezTo>
                  <a:cubicBezTo>
                    <a:pt x="162" y="317"/>
                    <a:pt x="165" y="315"/>
                    <a:pt x="166" y="315"/>
                  </a:cubicBezTo>
                  <a:cubicBezTo>
                    <a:pt x="167" y="315"/>
                    <a:pt x="170" y="313"/>
                    <a:pt x="170" y="313"/>
                  </a:cubicBezTo>
                  <a:cubicBezTo>
                    <a:pt x="174" y="309"/>
                    <a:pt x="174" y="309"/>
                    <a:pt x="174" y="309"/>
                  </a:cubicBezTo>
                  <a:cubicBezTo>
                    <a:pt x="174" y="309"/>
                    <a:pt x="176" y="307"/>
                    <a:pt x="177" y="308"/>
                  </a:cubicBezTo>
                  <a:cubicBezTo>
                    <a:pt x="177" y="309"/>
                    <a:pt x="180" y="308"/>
                    <a:pt x="180" y="308"/>
                  </a:cubicBezTo>
                  <a:cubicBezTo>
                    <a:pt x="191" y="308"/>
                    <a:pt x="191" y="308"/>
                    <a:pt x="191" y="308"/>
                  </a:cubicBezTo>
                  <a:cubicBezTo>
                    <a:pt x="191" y="308"/>
                    <a:pt x="195" y="308"/>
                    <a:pt x="196" y="308"/>
                  </a:cubicBezTo>
                  <a:cubicBezTo>
                    <a:pt x="197" y="308"/>
                    <a:pt x="202" y="306"/>
                    <a:pt x="202" y="306"/>
                  </a:cubicBezTo>
                  <a:cubicBezTo>
                    <a:pt x="206" y="306"/>
                    <a:pt x="206" y="306"/>
                    <a:pt x="206" y="306"/>
                  </a:cubicBezTo>
                  <a:cubicBezTo>
                    <a:pt x="208" y="304"/>
                    <a:pt x="208" y="304"/>
                    <a:pt x="208" y="304"/>
                  </a:cubicBezTo>
                  <a:cubicBezTo>
                    <a:pt x="208" y="304"/>
                    <a:pt x="211" y="303"/>
                    <a:pt x="212" y="302"/>
                  </a:cubicBezTo>
                  <a:cubicBezTo>
                    <a:pt x="213" y="300"/>
                    <a:pt x="213" y="300"/>
                    <a:pt x="214" y="299"/>
                  </a:cubicBezTo>
                  <a:cubicBezTo>
                    <a:pt x="216" y="299"/>
                    <a:pt x="217" y="299"/>
                    <a:pt x="218" y="299"/>
                  </a:cubicBezTo>
                  <a:cubicBezTo>
                    <a:pt x="219" y="299"/>
                    <a:pt x="222" y="299"/>
                    <a:pt x="222" y="299"/>
                  </a:cubicBezTo>
                  <a:cubicBezTo>
                    <a:pt x="222" y="299"/>
                    <a:pt x="225" y="298"/>
                    <a:pt x="226" y="299"/>
                  </a:cubicBezTo>
                  <a:cubicBezTo>
                    <a:pt x="227" y="300"/>
                    <a:pt x="230" y="298"/>
                    <a:pt x="231" y="298"/>
                  </a:cubicBezTo>
                  <a:cubicBezTo>
                    <a:pt x="232" y="298"/>
                    <a:pt x="232" y="297"/>
                    <a:pt x="236" y="298"/>
                  </a:cubicBezTo>
                  <a:cubicBezTo>
                    <a:pt x="239" y="299"/>
                    <a:pt x="242" y="297"/>
                    <a:pt x="243" y="298"/>
                  </a:cubicBezTo>
                  <a:cubicBezTo>
                    <a:pt x="244" y="298"/>
                    <a:pt x="247" y="297"/>
                    <a:pt x="247" y="297"/>
                  </a:cubicBezTo>
                  <a:cubicBezTo>
                    <a:pt x="247" y="297"/>
                    <a:pt x="250" y="296"/>
                    <a:pt x="252" y="297"/>
                  </a:cubicBezTo>
                  <a:cubicBezTo>
                    <a:pt x="253" y="297"/>
                    <a:pt x="256" y="299"/>
                    <a:pt x="256" y="299"/>
                  </a:cubicBezTo>
                  <a:cubicBezTo>
                    <a:pt x="256" y="299"/>
                    <a:pt x="258" y="301"/>
                    <a:pt x="260" y="302"/>
                  </a:cubicBezTo>
                  <a:cubicBezTo>
                    <a:pt x="261" y="302"/>
                    <a:pt x="260" y="305"/>
                    <a:pt x="260" y="305"/>
                  </a:cubicBezTo>
                  <a:cubicBezTo>
                    <a:pt x="261" y="305"/>
                    <a:pt x="264" y="306"/>
                    <a:pt x="264" y="306"/>
                  </a:cubicBezTo>
                  <a:cubicBezTo>
                    <a:pt x="268" y="306"/>
                    <a:pt x="268" y="306"/>
                    <a:pt x="268" y="306"/>
                  </a:cubicBezTo>
                  <a:cubicBezTo>
                    <a:pt x="268" y="306"/>
                    <a:pt x="271" y="305"/>
                    <a:pt x="272" y="304"/>
                  </a:cubicBezTo>
                  <a:cubicBezTo>
                    <a:pt x="272" y="304"/>
                    <a:pt x="274" y="305"/>
                    <a:pt x="274" y="305"/>
                  </a:cubicBezTo>
                  <a:cubicBezTo>
                    <a:pt x="275" y="307"/>
                    <a:pt x="277" y="308"/>
                    <a:pt x="277" y="308"/>
                  </a:cubicBezTo>
                  <a:cubicBezTo>
                    <a:pt x="280" y="307"/>
                    <a:pt x="280" y="307"/>
                    <a:pt x="281" y="307"/>
                  </a:cubicBezTo>
                  <a:cubicBezTo>
                    <a:pt x="283" y="307"/>
                    <a:pt x="283" y="308"/>
                    <a:pt x="284" y="309"/>
                  </a:cubicBezTo>
                  <a:cubicBezTo>
                    <a:pt x="286" y="311"/>
                    <a:pt x="287" y="311"/>
                    <a:pt x="287" y="312"/>
                  </a:cubicBezTo>
                  <a:cubicBezTo>
                    <a:pt x="288" y="312"/>
                    <a:pt x="290" y="311"/>
                    <a:pt x="290" y="313"/>
                  </a:cubicBezTo>
                  <a:cubicBezTo>
                    <a:pt x="290" y="315"/>
                    <a:pt x="292" y="312"/>
                    <a:pt x="290" y="315"/>
                  </a:cubicBezTo>
                  <a:cubicBezTo>
                    <a:pt x="289" y="318"/>
                    <a:pt x="287" y="317"/>
                    <a:pt x="288" y="318"/>
                  </a:cubicBezTo>
                  <a:cubicBezTo>
                    <a:pt x="290" y="321"/>
                    <a:pt x="292" y="321"/>
                    <a:pt x="292" y="322"/>
                  </a:cubicBezTo>
                  <a:cubicBezTo>
                    <a:pt x="293" y="324"/>
                    <a:pt x="297" y="324"/>
                    <a:pt x="297" y="324"/>
                  </a:cubicBezTo>
                  <a:cubicBezTo>
                    <a:pt x="298" y="326"/>
                    <a:pt x="298" y="327"/>
                    <a:pt x="298" y="327"/>
                  </a:cubicBezTo>
                  <a:cubicBezTo>
                    <a:pt x="299" y="330"/>
                    <a:pt x="300" y="330"/>
                    <a:pt x="300" y="331"/>
                  </a:cubicBezTo>
                  <a:cubicBezTo>
                    <a:pt x="300" y="332"/>
                    <a:pt x="302" y="332"/>
                    <a:pt x="302" y="333"/>
                  </a:cubicBezTo>
                  <a:cubicBezTo>
                    <a:pt x="302" y="335"/>
                    <a:pt x="302" y="335"/>
                    <a:pt x="302" y="336"/>
                  </a:cubicBezTo>
                  <a:cubicBezTo>
                    <a:pt x="302" y="337"/>
                    <a:pt x="303" y="338"/>
                    <a:pt x="303" y="338"/>
                  </a:cubicBezTo>
                  <a:cubicBezTo>
                    <a:pt x="304" y="341"/>
                    <a:pt x="304" y="342"/>
                    <a:pt x="304" y="343"/>
                  </a:cubicBezTo>
                  <a:cubicBezTo>
                    <a:pt x="305" y="345"/>
                    <a:pt x="307" y="348"/>
                    <a:pt x="307" y="348"/>
                  </a:cubicBezTo>
                  <a:cubicBezTo>
                    <a:pt x="307" y="348"/>
                    <a:pt x="311" y="348"/>
                    <a:pt x="311" y="349"/>
                  </a:cubicBezTo>
                  <a:cubicBezTo>
                    <a:pt x="311" y="349"/>
                    <a:pt x="313" y="349"/>
                    <a:pt x="313" y="349"/>
                  </a:cubicBezTo>
                  <a:cubicBezTo>
                    <a:pt x="313" y="349"/>
                    <a:pt x="315" y="346"/>
                    <a:pt x="314" y="346"/>
                  </a:cubicBezTo>
                  <a:cubicBezTo>
                    <a:pt x="313" y="346"/>
                    <a:pt x="314" y="345"/>
                    <a:pt x="314" y="344"/>
                  </a:cubicBezTo>
                  <a:cubicBezTo>
                    <a:pt x="315" y="343"/>
                    <a:pt x="316" y="341"/>
                    <a:pt x="316" y="341"/>
                  </a:cubicBezTo>
                  <a:cubicBezTo>
                    <a:pt x="320" y="337"/>
                    <a:pt x="320" y="337"/>
                    <a:pt x="320" y="337"/>
                  </a:cubicBezTo>
                  <a:cubicBezTo>
                    <a:pt x="323" y="334"/>
                    <a:pt x="323" y="334"/>
                    <a:pt x="323" y="334"/>
                  </a:cubicBezTo>
                  <a:cubicBezTo>
                    <a:pt x="323" y="334"/>
                    <a:pt x="326" y="333"/>
                    <a:pt x="325" y="333"/>
                  </a:cubicBezTo>
                  <a:cubicBezTo>
                    <a:pt x="325" y="332"/>
                    <a:pt x="327" y="330"/>
                    <a:pt x="327" y="330"/>
                  </a:cubicBezTo>
                  <a:cubicBezTo>
                    <a:pt x="327" y="330"/>
                    <a:pt x="329" y="330"/>
                    <a:pt x="330" y="329"/>
                  </a:cubicBezTo>
                  <a:cubicBezTo>
                    <a:pt x="330" y="329"/>
                    <a:pt x="332" y="327"/>
                    <a:pt x="332" y="327"/>
                  </a:cubicBezTo>
                  <a:cubicBezTo>
                    <a:pt x="334" y="325"/>
                    <a:pt x="334" y="324"/>
                    <a:pt x="334" y="323"/>
                  </a:cubicBezTo>
                  <a:cubicBezTo>
                    <a:pt x="335" y="323"/>
                    <a:pt x="336" y="321"/>
                    <a:pt x="336" y="321"/>
                  </a:cubicBezTo>
                  <a:cubicBezTo>
                    <a:pt x="337" y="319"/>
                    <a:pt x="337" y="319"/>
                    <a:pt x="337" y="319"/>
                  </a:cubicBezTo>
                  <a:cubicBezTo>
                    <a:pt x="337" y="319"/>
                    <a:pt x="337" y="318"/>
                    <a:pt x="337" y="316"/>
                  </a:cubicBezTo>
                  <a:cubicBezTo>
                    <a:pt x="338" y="315"/>
                    <a:pt x="341" y="320"/>
                    <a:pt x="340" y="320"/>
                  </a:cubicBezTo>
                  <a:cubicBezTo>
                    <a:pt x="339" y="320"/>
                    <a:pt x="340" y="322"/>
                    <a:pt x="339" y="323"/>
                  </a:cubicBezTo>
                  <a:cubicBezTo>
                    <a:pt x="338" y="323"/>
                    <a:pt x="339" y="324"/>
                    <a:pt x="338" y="325"/>
                  </a:cubicBezTo>
                  <a:cubicBezTo>
                    <a:pt x="338" y="326"/>
                    <a:pt x="339" y="328"/>
                    <a:pt x="338" y="328"/>
                  </a:cubicBezTo>
                  <a:cubicBezTo>
                    <a:pt x="338" y="329"/>
                    <a:pt x="336" y="331"/>
                    <a:pt x="336" y="331"/>
                  </a:cubicBezTo>
                  <a:cubicBezTo>
                    <a:pt x="336" y="332"/>
                    <a:pt x="335" y="334"/>
                    <a:pt x="335" y="335"/>
                  </a:cubicBezTo>
                  <a:cubicBezTo>
                    <a:pt x="335" y="336"/>
                    <a:pt x="335" y="337"/>
                    <a:pt x="335" y="338"/>
                  </a:cubicBezTo>
                  <a:cubicBezTo>
                    <a:pt x="334" y="340"/>
                    <a:pt x="334" y="339"/>
                    <a:pt x="334" y="341"/>
                  </a:cubicBezTo>
                  <a:cubicBezTo>
                    <a:pt x="334" y="342"/>
                    <a:pt x="336" y="342"/>
                    <a:pt x="335" y="344"/>
                  </a:cubicBezTo>
                  <a:cubicBezTo>
                    <a:pt x="333" y="347"/>
                    <a:pt x="335" y="346"/>
                    <a:pt x="333" y="347"/>
                  </a:cubicBezTo>
                  <a:cubicBezTo>
                    <a:pt x="332" y="348"/>
                    <a:pt x="332" y="348"/>
                    <a:pt x="330" y="348"/>
                  </a:cubicBezTo>
                  <a:cubicBezTo>
                    <a:pt x="329" y="349"/>
                    <a:pt x="330" y="346"/>
                    <a:pt x="329" y="349"/>
                  </a:cubicBezTo>
                  <a:cubicBezTo>
                    <a:pt x="327" y="351"/>
                    <a:pt x="327" y="352"/>
                    <a:pt x="327" y="352"/>
                  </a:cubicBezTo>
                  <a:cubicBezTo>
                    <a:pt x="329" y="354"/>
                    <a:pt x="329" y="354"/>
                    <a:pt x="329" y="354"/>
                  </a:cubicBezTo>
                  <a:cubicBezTo>
                    <a:pt x="331" y="351"/>
                    <a:pt x="331" y="351"/>
                    <a:pt x="331" y="351"/>
                  </a:cubicBezTo>
                  <a:cubicBezTo>
                    <a:pt x="334" y="351"/>
                    <a:pt x="334" y="351"/>
                    <a:pt x="334" y="351"/>
                  </a:cubicBezTo>
                  <a:cubicBezTo>
                    <a:pt x="334" y="351"/>
                    <a:pt x="335" y="350"/>
                    <a:pt x="336" y="350"/>
                  </a:cubicBezTo>
                  <a:cubicBezTo>
                    <a:pt x="337" y="351"/>
                    <a:pt x="338" y="350"/>
                    <a:pt x="338" y="349"/>
                  </a:cubicBezTo>
                  <a:cubicBezTo>
                    <a:pt x="338" y="349"/>
                    <a:pt x="339" y="347"/>
                    <a:pt x="340" y="345"/>
                  </a:cubicBezTo>
                  <a:cubicBezTo>
                    <a:pt x="340" y="344"/>
                    <a:pt x="341" y="342"/>
                    <a:pt x="341" y="342"/>
                  </a:cubicBezTo>
                  <a:cubicBezTo>
                    <a:pt x="344" y="342"/>
                    <a:pt x="348" y="344"/>
                    <a:pt x="347" y="344"/>
                  </a:cubicBezTo>
                  <a:cubicBezTo>
                    <a:pt x="346" y="345"/>
                    <a:pt x="348" y="346"/>
                    <a:pt x="348" y="347"/>
                  </a:cubicBezTo>
                  <a:cubicBezTo>
                    <a:pt x="347" y="347"/>
                    <a:pt x="348" y="349"/>
                    <a:pt x="347" y="351"/>
                  </a:cubicBezTo>
                  <a:cubicBezTo>
                    <a:pt x="347" y="352"/>
                    <a:pt x="346" y="353"/>
                    <a:pt x="346" y="354"/>
                  </a:cubicBezTo>
                  <a:cubicBezTo>
                    <a:pt x="346" y="355"/>
                    <a:pt x="346" y="355"/>
                    <a:pt x="346" y="356"/>
                  </a:cubicBezTo>
                  <a:cubicBezTo>
                    <a:pt x="345" y="357"/>
                    <a:pt x="345" y="357"/>
                    <a:pt x="346" y="358"/>
                  </a:cubicBezTo>
                  <a:cubicBezTo>
                    <a:pt x="349" y="359"/>
                    <a:pt x="352" y="358"/>
                    <a:pt x="352" y="358"/>
                  </a:cubicBezTo>
                  <a:cubicBezTo>
                    <a:pt x="352" y="358"/>
                    <a:pt x="357" y="357"/>
                    <a:pt x="357" y="358"/>
                  </a:cubicBezTo>
                  <a:cubicBezTo>
                    <a:pt x="357" y="359"/>
                    <a:pt x="359" y="359"/>
                    <a:pt x="358" y="360"/>
                  </a:cubicBezTo>
                  <a:cubicBezTo>
                    <a:pt x="358" y="361"/>
                    <a:pt x="357" y="364"/>
                    <a:pt x="357" y="364"/>
                  </a:cubicBezTo>
                  <a:cubicBezTo>
                    <a:pt x="357" y="364"/>
                    <a:pt x="360" y="366"/>
                    <a:pt x="360" y="366"/>
                  </a:cubicBezTo>
                  <a:cubicBezTo>
                    <a:pt x="362" y="368"/>
                    <a:pt x="363" y="368"/>
                    <a:pt x="363" y="369"/>
                  </a:cubicBezTo>
                  <a:cubicBezTo>
                    <a:pt x="363" y="372"/>
                    <a:pt x="363" y="373"/>
                    <a:pt x="363" y="373"/>
                  </a:cubicBezTo>
                  <a:cubicBezTo>
                    <a:pt x="363" y="373"/>
                    <a:pt x="363" y="375"/>
                    <a:pt x="363" y="375"/>
                  </a:cubicBezTo>
                  <a:cubicBezTo>
                    <a:pt x="363" y="376"/>
                    <a:pt x="365" y="377"/>
                    <a:pt x="364" y="378"/>
                  </a:cubicBezTo>
                  <a:cubicBezTo>
                    <a:pt x="363" y="379"/>
                    <a:pt x="364" y="378"/>
                    <a:pt x="364" y="379"/>
                  </a:cubicBezTo>
                  <a:cubicBezTo>
                    <a:pt x="365" y="383"/>
                    <a:pt x="366" y="383"/>
                    <a:pt x="366" y="385"/>
                  </a:cubicBezTo>
                  <a:cubicBezTo>
                    <a:pt x="366" y="387"/>
                    <a:pt x="366" y="387"/>
                    <a:pt x="367" y="388"/>
                  </a:cubicBezTo>
                  <a:cubicBezTo>
                    <a:pt x="369" y="390"/>
                    <a:pt x="370" y="391"/>
                    <a:pt x="370" y="392"/>
                  </a:cubicBezTo>
                  <a:cubicBezTo>
                    <a:pt x="372" y="394"/>
                    <a:pt x="373" y="395"/>
                    <a:pt x="373" y="396"/>
                  </a:cubicBezTo>
                  <a:cubicBezTo>
                    <a:pt x="374" y="397"/>
                    <a:pt x="377" y="396"/>
                    <a:pt x="377" y="397"/>
                  </a:cubicBezTo>
                  <a:cubicBezTo>
                    <a:pt x="377" y="397"/>
                    <a:pt x="381" y="397"/>
                    <a:pt x="381" y="397"/>
                  </a:cubicBezTo>
                  <a:cubicBezTo>
                    <a:pt x="381" y="397"/>
                    <a:pt x="386" y="400"/>
                    <a:pt x="386" y="400"/>
                  </a:cubicBezTo>
                  <a:cubicBezTo>
                    <a:pt x="386" y="400"/>
                    <a:pt x="389" y="402"/>
                    <a:pt x="390" y="402"/>
                  </a:cubicBezTo>
                  <a:cubicBezTo>
                    <a:pt x="390" y="402"/>
                    <a:pt x="391" y="401"/>
                    <a:pt x="392" y="401"/>
                  </a:cubicBezTo>
                  <a:cubicBezTo>
                    <a:pt x="393" y="402"/>
                    <a:pt x="393" y="401"/>
                    <a:pt x="395" y="402"/>
                  </a:cubicBezTo>
                  <a:cubicBezTo>
                    <a:pt x="396" y="402"/>
                    <a:pt x="400" y="403"/>
                    <a:pt x="400" y="403"/>
                  </a:cubicBezTo>
                  <a:cubicBezTo>
                    <a:pt x="400" y="403"/>
                    <a:pt x="404" y="402"/>
                    <a:pt x="403" y="403"/>
                  </a:cubicBezTo>
                  <a:cubicBezTo>
                    <a:pt x="403" y="404"/>
                    <a:pt x="406" y="405"/>
                    <a:pt x="406" y="405"/>
                  </a:cubicBezTo>
                  <a:cubicBezTo>
                    <a:pt x="408" y="405"/>
                    <a:pt x="408" y="405"/>
                    <a:pt x="408" y="405"/>
                  </a:cubicBezTo>
                  <a:cubicBezTo>
                    <a:pt x="408" y="405"/>
                    <a:pt x="410" y="406"/>
                    <a:pt x="410" y="407"/>
                  </a:cubicBezTo>
                  <a:cubicBezTo>
                    <a:pt x="410" y="408"/>
                    <a:pt x="413" y="409"/>
                    <a:pt x="413" y="409"/>
                  </a:cubicBezTo>
                  <a:cubicBezTo>
                    <a:pt x="413" y="409"/>
                    <a:pt x="415" y="408"/>
                    <a:pt x="415" y="408"/>
                  </a:cubicBezTo>
                  <a:cubicBezTo>
                    <a:pt x="415" y="409"/>
                    <a:pt x="415" y="409"/>
                    <a:pt x="415" y="409"/>
                  </a:cubicBezTo>
                  <a:cubicBezTo>
                    <a:pt x="419" y="406"/>
                    <a:pt x="419" y="406"/>
                    <a:pt x="419" y="406"/>
                  </a:cubicBezTo>
                  <a:cubicBezTo>
                    <a:pt x="423" y="404"/>
                    <a:pt x="423" y="404"/>
                    <a:pt x="423" y="404"/>
                  </a:cubicBezTo>
                  <a:cubicBezTo>
                    <a:pt x="424" y="402"/>
                    <a:pt x="424" y="402"/>
                    <a:pt x="424" y="402"/>
                  </a:cubicBezTo>
                  <a:cubicBezTo>
                    <a:pt x="427" y="401"/>
                    <a:pt x="427" y="401"/>
                    <a:pt x="427" y="401"/>
                  </a:cubicBezTo>
                  <a:cubicBezTo>
                    <a:pt x="428" y="401"/>
                    <a:pt x="428" y="401"/>
                    <a:pt x="428" y="401"/>
                  </a:cubicBezTo>
                  <a:cubicBezTo>
                    <a:pt x="430" y="400"/>
                    <a:pt x="430" y="400"/>
                    <a:pt x="430" y="400"/>
                  </a:cubicBezTo>
                  <a:cubicBezTo>
                    <a:pt x="430" y="398"/>
                    <a:pt x="431" y="397"/>
                    <a:pt x="431" y="397"/>
                  </a:cubicBezTo>
                  <a:cubicBezTo>
                    <a:pt x="433" y="395"/>
                    <a:pt x="433" y="395"/>
                    <a:pt x="433" y="395"/>
                  </a:cubicBezTo>
                  <a:cubicBezTo>
                    <a:pt x="433" y="395"/>
                    <a:pt x="436" y="396"/>
                    <a:pt x="435" y="397"/>
                  </a:cubicBezTo>
                  <a:cubicBezTo>
                    <a:pt x="435" y="398"/>
                    <a:pt x="435" y="400"/>
                    <a:pt x="434" y="400"/>
                  </a:cubicBezTo>
                  <a:cubicBezTo>
                    <a:pt x="436" y="402"/>
                    <a:pt x="436" y="402"/>
                    <a:pt x="436" y="402"/>
                  </a:cubicBezTo>
                  <a:cubicBezTo>
                    <a:pt x="440" y="399"/>
                    <a:pt x="440" y="399"/>
                    <a:pt x="440" y="399"/>
                  </a:cubicBezTo>
                  <a:cubicBezTo>
                    <a:pt x="440" y="399"/>
                    <a:pt x="443" y="401"/>
                    <a:pt x="441" y="402"/>
                  </a:cubicBezTo>
                  <a:cubicBezTo>
                    <a:pt x="440" y="403"/>
                    <a:pt x="438" y="403"/>
                    <a:pt x="438" y="403"/>
                  </a:cubicBezTo>
                  <a:cubicBezTo>
                    <a:pt x="438" y="404"/>
                    <a:pt x="439" y="404"/>
                    <a:pt x="440" y="405"/>
                  </a:cubicBezTo>
                  <a:cubicBezTo>
                    <a:pt x="441" y="405"/>
                    <a:pt x="443" y="406"/>
                    <a:pt x="443" y="406"/>
                  </a:cubicBezTo>
                  <a:cubicBezTo>
                    <a:pt x="447" y="406"/>
                    <a:pt x="447" y="406"/>
                    <a:pt x="447" y="406"/>
                  </a:cubicBezTo>
                  <a:cubicBezTo>
                    <a:pt x="449" y="407"/>
                    <a:pt x="449" y="407"/>
                    <a:pt x="449" y="407"/>
                  </a:cubicBezTo>
                  <a:cubicBezTo>
                    <a:pt x="449" y="407"/>
                    <a:pt x="450" y="409"/>
                    <a:pt x="450" y="409"/>
                  </a:cubicBezTo>
                  <a:cubicBezTo>
                    <a:pt x="450" y="410"/>
                    <a:pt x="452" y="411"/>
                    <a:pt x="452" y="411"/>
                  </a:cubicBezTo>
                  <a:cubicBezTo>
                    <a:pt x="452" y="411"/>
                    <a:pt x="453" y="413"/>
                    <a:pt x="453" y="414"/>
                  </a:cubicBezTo>
                  <a:cubicBezTo>
                    <a:pt x="453" y="414"/>
                    <a:pt x="455" y="412"/>
                    <a:pt x="455" y="411"/>
                  </a:cubicBezTo>
                  <a:cubicBezTo>
                    <a:pt x="455" y="410"/>
                    <a:pt x="457" y="408"/>
                    <a:pt x="457" y="408"/>
                  </a:cubicBezTo>
                  <a:cubicBezTo>
                    <a:pt x="459" y="408"/>
                    <a:pt x="459" y="408"/>
                    <a:pt x="459" y="408"/>
                  </a:cubicBezTo>
                  <a:cubicBezTo>
                    <a:pt x="461" y="407"/>
                    <a:pt x="461" y="407"/>
                    <a:pt x="461" y="407"/>
                  </a:cubicBezTo>
                  <a:cubicBezTo>
                    <a:pt x="464" y="403"/>
                    <a:pt x="467" y="402"/>
                    <a:pt x="467" y="401"/>
                  </a:cubicBezTo>
                  <a:cubicBezTo>
                    <a:pt x="468" y="400"/>
                    <a:pt x="470" y="398"/>
                    <a:pt x="470" y="398"/>
                  </a:cubicBezTo>
                  <a:cubicBezTo>
                    <a:pt x="470" y="398"/>
                    <a:pt x="470" y="397"/>
                    <a:pt x="472" y="396"/>
                  </a:cubicBezTo>
                  <a:cubicBezTo>
                    <a:pt x="475" y="394"/>
                    <a:pt x="476" y="392"/>
                    <a:pt x="476" y="393"/>
                  </a:cubicBezTo>
                  <a:cubicBezTo>
                    <a:pt x="476" y="394"/>
                    <a:pt x="479" y="393"/>
                    <a:pt x="479" y="394"/>
                  </a:cubicBezTo>
                  <a:cubicBezTo>
                    <a:pt x="479" y="394"/>
                    <a:pt x="484" y="391"/>
                    <a:pt x="484" y="392"/>
                  </a:cubicBezTo>
                  <a:cubicBezTo>
                    <a:pt x="485" y="393"/>
                    <a:pt x="488" y="393"/>
                    <a:pt x="488" y="393"/>
                  </a:cubicBezTo>
                  <a:cubicBezTo>
                    <a:pt x="488" y="393"/>
                    <a:pt x="490" y="393"/>
                    <a:pt x="491" y="393"/>
                  </a:cubicBezTo>
                  <a:cubicBezTo>
                    <a:pt x="492" y="393"/>
                    <a:pt x="494" y="392"/>
                    <a:pt x="494" y="392"/>
                  </a:cubicBezTo>
                  <a:cubicBezTo>
                    <a:pt x="494" y="392"/>
                    <a:pt x="497" y="392"/>
                    <a:pt x="497" y="392"/>
                  </a:cubicBezTo>
                  <a:cubicBezTo>
                    <a:pt x="498" y="392"/>
                    <a:pt x="500" y="391"/>
                    <a:pt x="500" y="391"/>
                  </a:cubicBezTo>
                  <a:cubicBezTo>
                    <a:pt x="501" y="389"/>
                    <a:pt x="502" y="387"/>
                    <a:pt x="502" y="387"/>
                  </a:cubicBezTo>
                  <a:cubicBezTo>
                    <a:pt x="503" y="384"/>
                    <a:pt x="504" y="382"/>
                    <a:pt x="504" y="382"/>
                  </a:cubicBezTo>
                  <a:cubicBezTo>
                    <a:pt x="504" y="382"/>
                    <a:pt x="505" y="381"/>
                    <a:pt x="504" y="380"/>
                  </a:cubicBezTo>
                  <a:cubicBezTo>
                    <a:pt x="503" y="378"/>
                    <a:pt x="504" y="374"/>
                    <a:pt x="504" y="374"/>
                  </a:cubicBezTo>
                  <a:cubicBezTo>
                    <a:pt x="504" y="374"/>
                    <a:pt x="505" y="373"/>
                    <a:pt x="505" y="371"/>
                  </a:cubicBezTo>
                  <a:cubicBezTo>
                    <a:pt x="505" y="370"/>
                    <a:pt x="505" y="370"/>
                    <a:pt x="506" y="369"/>
                  </a:cubicBezTo>
                  <a:cubicBezTo>
                    <a:pt x="506" y="368"/>
                    <a:pt x="506" y="367"/>
                    <a:pt x="506" y="366"/>
                  </a:cubicBezTo>
                  <a:cubicBezTo>
                    <a:pt x="506" y="365"/>
                    <a:pt x="506" y="363"/>
                    <a:pt x="506" y="363"/>
                  </a:cubicBezTo>
                  <a:cubicBezTo>
                    <a:pt x="508" y="361"/>
                    <a:pt x="508" y="360"/>
                    <a:pt x="508" y="359"/>
                  </a:cubicBezTo>
                  <a:cubicBezTo>
                    <a:pt x="508" y="358"/>
                    <a:pt x="510" y="355"/>
                    <a:pt x="510" y="355"/>
                  </a:cubicBezTo>
                  <a:cubicBezTo>
                    <a:pt x="513" y="351"/>
                    <a:pt x="513" y="351"/>
                    <a:pt x="513" y="351"/>
                  </a:cubicBezTo>
                  <a:cubicBezTo>
                    <a:pt x="513" y="351"/>
                    <a:pt x="514" y="349"/>
                    <a:pt x="514" y="348"/>
                  </a:cubicBezTo>
                  <a:cubicBezTo>
                    <a:pt x="515" y="347"/>
                    <a:pt x="515" y="346"/>
                    <a:pt x="515" y="345"/>
                  </a:cubicBezTo>
                  <a:cubicBezTo>
                    <a:pt x="515" y="345"/>
                    <a:pt x="516" y="343"/>
                    <a:pt x="516" y="342"/>
                  </a:cubicBezTo>
                  <a:cubicBezTo>
                    <a:pt x="516" y="341"/>
                    <a:pt x="516" y="340"/>
                    <a:pt x="516" y="339"/>
                  </a:cubicBezTo>
                  <a:cubicBezTo>
                    <a:pt x="517" y="339"/>
                    <a:pt x="518" y="337"/>
                    <a:pt x="518" y="337"/>
                  </a:cubicBezTo>
                  <a:cubicBezTo>
                    <a:pt x="518" y="337"/>
                    <a:pt x="519" y="334"/>
                    <a:pt x="519" y="334"/>
                  </a:cubicBezTo>
                  <a:cubicBezTo>
                    <a:pt x="519" y="333"/>
                    <a:pt x="522" y="330"/>
                    <a:pt x="522" y="330"/>
                  </a:cubicBezTo>
                  <a:cubicBezTo>
                    <a:pt x="522" y="330"/>
                    <a:pt x="522" y="329"/>
                    <a:pt x="523" y="328"/>
                  </a:cubicBezTo>
                  <a:cubicBezTo>
                    <a:pt x="523" y="326"/>
                    <a:pt x="523" y="325"/>
                    <a:pt x="523" y="325"/>
                  </a:cubicBezTo>
                  <a:cubicBezTo>
                    <a:pt x="523" y="325"/>
                    <a:pt x="523" y="324"/>
                    <a:pt x="525" y="323"/>
                  </a:cubicBezTo>
                  <a:cubicBezTo>
                    <a:pt x="526" y="321"/>
                    <a:pt x="527" y="320"/>
                    <a:pt x="528" y="319"/>
                  </a:cubicBezTo>
                  <a:cubicBezTo>
                    <a:pt x="528" y="319"/>
                    <a:pt x="528" y="319"/>
                    <a:pt x="530" y="318"/>
                  </a:cubicBezTo>
                  <a:cubicBezTo>
                    <a:pt x="532" y="316"/>
                    <a:pt x="532" y="315"/>
                    <a:pt x="533" y="314"/>
                  </a:cubicBezTo>
                  <a:cubicBezTo>
                    <a:pt x="535" y="313"/>
                    <a:pt x="534" y="314"/>
                    <a:pt x="535" y="312"/>
                  </a:cubicBezTo>
                  <a:cubicBezTo>
                    <a:pt x="537" y="310"/>
                    <a:pt x="539" y="308"/>
                    <a:pt x="539" y="308"/>
                  </a:cubicBezTo>
                  <a:cubicBezTo>
                    <a:pt x="539" y="308"/>
                    <a:pt x="540" y="304"/>
                    <a:pt x="539" y="304"/>
                  </a:cubicBezTo>
                  <a:cubicBezTo>
                    <a:pt x="538" y="304"/>
                    <a:pt x="539" y="302"/>
                    <a:pt x="539" y="302"/>
                  </a:cubicBezTo>
                  <a:cubicBezTo>
                    <a:pt x="539" y="302"/>
                    <a:pt x="541" y="300"/>
                    <a:pt x="541" y="299"/>
                  </a:cubicBezTo>
                  <a:cubicBezTo>
                    <a:pt x="541" y="298"/>
                    <a:pt x="541" y="297"/>
                    <a:pt x="541" y="297"/>
                  </a:cubicBezTo>
                  <a:cubicBezTo>
                    <a:pt x="541" y="297"/>
                    <a:pt x="542" y="295"/>
                    <a:pt x="542" y="294"/>
                  </a:cubicBezTo>
                  <a:cubicBezTo>
                    <a:pt x="542" y="293"/>
                    <a:pt x="544" y="291"/>
                    <a:pt x="544" y="290"/>
                  </a:cubicBezTo>
                  <a:cubicBezTo>
                    <a:pt x="544" y="289"/>
                    <a:pt x="545" y="286"/>
                    <a:pt x="545" y="286"/>
                  </a:cubicBezTo>
                  <a:cubicBezTo>
                    <a:pt x="545" y="286"/>
                    <a:pt x="546" y="283"/>
                    <a:pt x="546" y="282"/>
                  </a:cubicBezTo>
                  <a:cubicBezTo>
                    <a:pt x="545" y="281"/>
                    <a:pt x="547" y="279"/>
                    <a:pt x="546" y="278"/>
                  </a:cubicBezTo>
                  <a:cubicBezTo>
                    <a:pt x="546" y="277"/>
                    <a:pt x="547" y="275"/>
                    <a:pt x="546" y="274"/>
                  </a:cubicBezTo>
                  <a:cubicBezTo>
                    <a:pt x="546" y="273"/>
                    <a:pt x="546" y="272"/>
                    <a:pt x="546" y="271"/>
                  </a:cubicBezTo>
                  <a:cubicBezTo>
                    <a:pt x="547" y="270"/>
                    <a:pt x="548" y="269"/>
                    <a:pt x="548" y="268"/>
                  </a:cubicBezTo>
                  <a:cubicBezTo>
                    <a:pt x="549" y="266"/>
                    <a:pt x="550" y="265"/>
                    <a:pt x="550" y="264"/>
                  </a:cubicBezTo>
                  <a:cubicBezTo>
                    <a:pt x="550" y="264"/>
                    <a:pt x="550" y="262"/>
                    <a:pt x="551" y="261"/>
                  </a:cubicBezTo>
                  <a:cubicBezTo>
                    <a:pt x="551" y="260"/>
                    <a:pt x="552" y="260"/>
                    <a:pt x="552" y="258"/>
                  </a:cubicBezTo>
                  <a:cubicBezTo>
                    <a:pt x="552" y="256"/>
                    <a:pt x="552" y="255"/>
                    <a:pt x="552" y="255"/>
                  </a:cubicBezTo>
                  <a:cubicBezTo>
                    <a:pt x="552" y="255"/>
                    <a:pt x="553" y="252"/>
                    <a:pt x="552" y="25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88" name="Line 147"/>
            <p:cNvSpPr>
              <a:spLocks noChangeShapeType="1"/>
            </p:cNvSpPr>
            <p:nvPr/>
          </p:nvSpPr>
          <p:spPr bwMode="auto">
            <a:xfrm>
              <a:off x="5595" y="2645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89" name="Line 148"/>
            <p:cNvSpPr>
              <a:spLocks noChangeShapeType="1"/>
            </p:cNvSpPr>
            <p:nvPr/>
          </p:nvSpPr>
          <p:spPr bwMode="auto">
            <a:xfrm>
              <a:off x="5595" y="2645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90" name="Freeform 149"/>
            <p:cNvSpPr>
              <a:spLocks/>
            </p:cNvSpPr>
            <p:nvPr/>
          </p:nvSpPr>
          <p:spPr bwMode="auto">
            <a:xfrm>
              <a:off x="5633" y="2543"/>
              <a:ext cx="40" cy="22"/>
            </a:xfrm>
            <a:custGeom>
              <a:avLst/>
              <a:gdLst>
                <a:gd name="T0" fmla="*/ 14 w 55"/>
                <a:gd name="T1" fmla="*/ 19 h 30"/>
                <a:gd name="T2" fmla="*/ 11 w 55"/>
                <a:gd name="T3" fmla="*/ 18 h 30"/>
                <a:gd name="T4" fmla="*/ 8 w 55"/>
                <a:gd name="T5" fmla="*/ 17 h 30"/>
                <a:gd name="T6" fmla="*/ 3 w 55"/>
                <a:gd name="T7" fmla="*/ 17 h 30"/>
                <a:gd name="T8" fmla="*/ 0 w 55"/>
                <a:gd name="T9" fmla="*/ 21 h 30"/>
                <a:gd name="T10" fmla="*/ 1 w 55"/>
                <a:gd name="T11" fmla="*/ 24 h 30"/>
                <a:gd name="T12" fmla="*/ 5 w 55"/>
                <a:gd name="T13" fmla="*/ 25 h 30"/>
                <a:gd name="T14" fmla="*/ 10 w 55"/>
                <a:gd name="T15" fmla="*/ 26 h 30"/>
                <a:gd name="T16" fmla="*/ 12 w 55"/>
                <a:gd name="T17" fmla="*/ 27 h 30"/>
                <a:gd name="T18" fmla="*/ 15 w 55"/>
                <a:gd name="T19" fmla="*/ 28 h 30"/>
                <a:gd name="T20" fmla="*/ 17 w 55"/>
                <a:gd name="T21" fmla="*/ 29 h 30"/>
                <a:gd name="T22" fmla="*/ 20 w 55"/>
                <a:gd name="T23" fmla="*/ 30 h 30"/>
                <a:gd name="T24" fmla="*/ 23 w 55"/>
                <a:gd name="T25" fmla="*/ 30 h 30"/>
                <a:gd name="T26" fmla="*/ 27 w 55"/>
                <a:gd name="T27" fmla="*/ 29 h 30"/>
                <a:gd name="T28" fmla="*/ 31 w 55"/>
                <a:gd name="T29" fmla="*/ 28 h 30"/>
                <a:gd name="T30" fmla="*/ 34 w 55"/>
                <a:gd name="T31" fmla="*/ 26 h 30"/>
                <a:gd name="T32" fmla="*/ 36 w 55"/>
                <a:gd name="T33" fmla="*/ 25 h 30"/>
                <a:gd name="T34" fmla="*/ 40 w 55"/>
                <a:gd name="T35" fmla="*/ 23 h 30"/>
                <a:gd name="T36" fmla="*/ 43 w 55"/>
                <a:gd name="T37" fmla="*/ 19 h 30"/>
                <a:gd name="T38" fmla="*/ 45 w 55"/>
                <a:gd name="T39" fmla="*/ 19 h 30"/>
                <a:gd name="T40" fmla="*/ 50 w 55"/>
                <a:gd name="T41" fmla="*/ 19 h 30"/>
                <a:gd name="T42" fmla="*/ 50 w 55"/>
                <a:gd name="T43" fmla="*/ 13 h 30"/>
                <a:gd name="T44" fmla="*/ 53 w 55"/>
                <a:gd name="T45" fmla="*/ 10 h 30"/>
                <a:gd name="T46" fmla="*/ 55 w 55"/>
                <a:gd name="T47" fmla="*/ 7 h 30"/>
                <a:gd name="T48" fmla="*/ 54 w 55"/>
                <a:gd name="T49" fmla="*/ 5 h 30"/>
                <a:gd name="T50" fmla="*/ 51 w 55"/>
                <a:gd name="T51" fmla="*/ 1 h 30"/>
                <a:gd name="T52" fmla="*/ 47 w 55"/>
                <a:gd name="T53" fmla="*/ 1 h 30"/>
                <a:gd name="T54" fmla="*/ 44 w 55"/>
                <a:gd name="T55" fmla="*/ 2 h 30"/>
                <a:gd name="T56" fmla="*/ 44 w 55"/>
                <a:gd name="T57" fmla="*/ 5 h 30"/>
                <a:gd name="T58" fmla="*/ 43 w 55"/>
                <a:gd name="T59" fmla="*/ 10 h 30"/>
                <a:gd name="T60" fmla="*/ 38 w 55"/>
                <a:gd name="T61" fmla="*/ 12 h 30"/>
                <a:gd name="T62" fmla="*/ 38 w 55"/>
                <a:gd name="T63" fmla="*/ 14 h 30"/>
                <a:gd name="T64" fmla="*/ 35 w 55"/>
                <a:gd name="T65" fmla="*/ 16 h 30"/>
                <a:gd name="T66" fmla="*/ 32 w 55"/>
                <a:gd name="T67" fmla="*/ 17 h 30"/>
                <a:gd name="T68" fmla="*/ 27 w 55"/>
                <a:gd name="T69" fmla="*/ 18 h 30"/>
                <a:gd name="T70" fmla="*/ 26 w 55"/>
                <a:gd name="T71" fmla="*/ 17 h 30"/>
                <a:gd name="T72" fmla="*/ 23 w 55"/>
                <a:gd name="T73" fmla="*/ 17 h 30"/>
                <a:gd name="T74" fmla="*/ 17 w 55"/>
                <a:gd name="T75" fmla="*/ 18 h 30"/>
                <a:gd name="T76" fmla="*/ 14 w 55"/>
                <a:gd name="T77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5" h="30">
                  <a:moveTo>
                    <a:pt x="14" y="19"/>
                  </a:moveTo>
                  <a:cubicBezTo>
                    <a:pt x="13" y="18"/>
                    <a:pt x="12" y="19"/>
                    <a:pt x="11" y="18"/>
                  </a:cubicBezTo>
                  <a:cubicBezTo>
                    <a:pt x="10" y="18"/>
                    <a:pt x="9" y="18"/>
                    <a:pt x="8" y="17"/>
                  </a:cubicBezTo>
                  <a:cubicBezTo>
                    <a:pt x="7" y="17"/>
                    <a:pt x="4" y="18"/>
                    <a:pt x="3" y="17"/>
                  </a:cubicBezTo>
                  <a:cubicBezTo>
                    <a:pt x="3" y="17"/>
                    <a:pt x="1" y="19"/>
                    <a:pt x="0" y="21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2" y="23"/>
                    <a:pt x="5" y="25"/>
                  </a:cubicBezTo>
                  <a:cubicBezTo>
                    <a:pt x="6" y="25"/>
                    <a:pt x="8" y="26"/>
                    <a:pt x="10" y="26"/>
                  </a:cubicBezTo>
                  <a:cubicBezTo>
                    <a:pt x="12" y="26"/>
                    <a:pt x="12" y="27"/>
                    <a:pt x="12" y="27"/>
                  </a:cubicBezTo>
                  <a:cubicBezTo>
                    <a:pt x="12" y="27"/>
                    <a:pt x="13" y="27"/>
                    <a:pt x="15" y="28"/>
                  </a:cubicBezTo>
                  <a:cubicBezTo>
                    <a:pt x="17" y="28"/>
                    <a:pt x="16" y="29"/>
                    <a:pt x="17" y="29"/>
                  </a:cubicBezTo>
                  <a:cubicBezTo>
                    <a:pt x="17" y="30"/>
                    <a:pt x="18" y="30"/>
                    <a:pt x="20" y="30"/>
                  </a:cubicBezTo>
                  <a:cubicBezTo>
                    <a:pt x="22" y="29"/>
                    <a:pt x="22" y="30"/>
                    <a:pt x="23" y="30"/>
                  </a:cubicBezTo>
                  <a:cubicBezTo>
                    <a:pt x="25" y="29"/>
                    <a:pt x="25" y="30"/>
                    <a:pt x="27" y="29"/>
                  </a:cubicBezTo>
                  <a:cubicBezTo>
                    <a:pt x="29" y="29"/>
                    <a:pt x="29" y="29"/>
                    <a:pt x="31" y="28"/>
                  </a:cubicBezTo>
                  <a:cubicBezTo>
                    <a:pt x="32" y="27"/>
                    <a:pt x="33" y="27"/>
                    <a:pt x="34" y="26"/>
                  </a:cubicBezTo>
                  <a:cubicBezTo>
                    <a:pt x="35" y="25"/>
                    <a:pt x="35" y="26"/>
                    <a:pt x="36" y="25"/>
                  </a:cubicBezTo>
                  <a:cubicBezTo>
                    <a:pt x="37" y="25"/>
                    <a:pt x="37" y="25"/>
                    <a:pt x="40" y="23"/>
                  </a:cubicBezTo>
                  <a:cubicBezTo>
                    <a:pt x="42" y="21"/>
                    <a:pt x="41" y="22"/>
                    <a:pt x="43" y="19"/>
                  </a:cubicBezTo>
                  <a:cubicBezTo>
                    <a:pt x="45" y="17"/>
                    <a:pt x="45" y="19"/>
                    <a:pt x="45" y="19"/>
                  </a:cubicBezTo>
                  <a:cubicBezTo>
                    <a:pt x="46" y="19"/>
                    <a:pt x="48" y="19"/>
                    <a:pt x="50" y="19"/>
                  </a:cubicBezTo>
                  <a:cubicBezTo>
                    <a:pt x="51" y="18"/>
                    <a:pt x="51" y="17"/>
                    <a:pt x="50" y="13"/>
                  </a:cubicBezTo>
                  <a:cubicBezTo>
                    <a:pt x="50" y="9"/>
                    <a:pt x="51" y="12"/>
                    <a:pt x="53" y="10"/>
                  </a:cubicBezTo>
                  <a:cubicBezTo>
                    <a:pt x="54" y="9"/>
                    <a:pt x="55" y="9"/>
                    <a:pt x="55" y="7"/>
                  </a:cubicBezTo>
                  <a:cubicBezTo>
                    <a:pt x="54" y="6"/>
                    <a:pt x="54" y="6"/>
                    <a:pt x="54" y="5"/>
                  </a:cubicBezTo>
                  <a:cubicBezTo>
                    <a:pt x="55" y="4"/>
                    <a:pt x="55" y="4"/>
                    <a:pt x="51" y="1"/>
                  </a:cubicBezTo>
                  <a:cubicBezTo>
                    <a:pt x="50" y="0"/>
                    <a:pt x="49" y="2"/>
                    <a:pt x="47" y="1"/>
                  </a:cubicBezTo>
                  <a:cubicBezTo>
                    <a:pt x="44" y="1"/>
                    <a:pt x="45" y="2"/>
                    <a:pt x="44" y="2"/>
                  </a:cubicBezTo>
                  <a:cubicBezTo>
                    <a:pt x="43" y="3"/>
                    <a:pt x="44" y="4"/>
                    <a:pt x="44" y="5"/>
                  </a:cubicBezTo>
                  <a:cubicBezTo>
                    <a:pt x="44" y="5"/>
                    <a:pt x="44" y="6"/>
                    <a:pt x="43" y="10"/>
                  </a:cubicBezTo>
                  <a:cubicBezTo>
                    <a:pt x="43" y="11"/>
                    <a:pt x="41" y="11"/>
                    <a:pt x="38" y="12"/>
                  </a:cubicBezTo>
                  <a:cubicBezTo>
                    <a:pt x="37" y="12"/>
                    <a:pt x="38" y="13"/>
                    <a:pt x="38" y="14"/>
                  </a:cubicBezTo>
                  <a:cubicBezTo>
                    <a:pt x="37" y="15"/>
                    <a:pt x="36" y="16"/>
                    <a:pt x="35" y="16"/>
                  </a:cubicBezTo>
                  <a:cubicBezTo>
                    <a:pt x="35" y="17"/>
                    <a:pt x="34" y="17"/>
                    <a:pt x="32" y="17"/>
                  </a:cubicBezTo>
                  <a:cubicBezTo>
                    <a:pt x="30" y="18"/>
                    <a:pt x="29" y="18"/>
                    <a:pt x="27" y="18"/>
                  </a:cubicBezTo>
                  <a:cubicBezTo>
                    <a:pt x="25" y="18"/>
                    <a:pt x="27" y="18"/>
                    <a:pt x="26" y="17"/>
                  </a:cubicBezTo>
                  <a:cubicBezTo>
                    <a:pt x="25" y="16"/>
                    <a:pt x="23" y="17"/>
                    <a:pt x="23" y="17"/>
                  </a:cubicBezTo>
                  <a:cubicBezTo>
                    <a:pt x="23" y="17"/>
                    <a:pt x="17" y="18"/>
                    <a:pt x="17" y="18"/>
                  </a:cubicBezTo>
                  <a:cubicBezTo>
                    <a:pt x="16" y="18"/>
                    <a:pt x="15" y="19"/>
                    <a:pt x="14" y="19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91" name="Freeform 150"/>
            <p:cNvSpPr>
              <a:spLocks/>
            </p:cNvSpPr>
            <p:nvPr/>
          </p:nvSpPr>
          <p:spPr bwMode="auto">
            <a:xfrm>
              <a:off x="5656" y="2529"/>
              <a:ext cx="26" cy="22"/>
            </a:xfrm>
            <a:custGeom>
              <a:avLst/>
              <a:gdLst>
                <a:gd name="T0" fmla="*/ 31 w 34"/>
                <a:gd name="T1" fmla="*/ 17 h 30"/>
                <a:gd name="T2" fmla="*/ 2 w 34"/>
                <a:gd name="T3" fmla="*/ 0 h 30"/>
                <a:gd name="T4" fmla="*/ 20 w 34"/>
                <a:gd name="T5" fmla="*/ 11 h 30"/>
                <a:gd name="T6" fmla="*/ 26 w 34"/>
                <a:gd name="T7" fmla="*/ 19 h 30"/>
                <a:gd name="T8" fmla="*/ 26 w 34"/>
                <a:gd name="T9" fmla="*/ 24 h 30"/>
                <a:gd name="T10" fmla="*/ 28 w 34"/>
                <a:gd name="T11" fmla="*/ 28 h 30"/>
                <a:gd name="T12" fmla="*/ 32 w 34"/>
                <a:gd name="T13" fmla="*/ 24 h 30"/>
                <a:gd name="T14" fmla="*/ 33 w 34"/>
                <a:gd name="T15" fmla="*/ 19 h 30"/>
                <a:gd name="T16" fmla="*/ 31 w 34"/>
                <a:gd name="T17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30">
                  <a:moveTo>
                    <a:pt x="31" y="17"/>
                  </a:moveTo>
                  <a:cubicBezTo>
                    <a:pt x="28" y="13"/>
                    <a:pt x="10" y="1"/>
                    <a:pt x="2" y="0"/>
                  </a:cubicBezTo>
                  <a:cubicBezTo>
                    <a:pt x="0" y="0"/>
                    <a:pt x="16" y="9"/>
                    <a:pt x="20" y="11"/>
                  </a:cubicBezTo>
                  <a:cubicBezTo>
                    <a:pt x="24" y="14"/>
                    <a:pt x="25" y="15"/>
                    <a:pt x="26" y="19"/>
                  </a:cubicBezTo>
                  <a:cubicBezTo>
                    <a:pt x="27" y="23"/>
                    <a:pt x="26" y="19"/>
                    <a:pt x="26" y="24"/>
                  </a:cubicBezTo>
                  <a:cubicBezTo>
                    <a:pt x="27" y="28"/>
                    <a:pt x="25" y="30"/>
                    <a:pt x="28" y="28"/>
                  </a:cubicBezTo>
                  <a:cubicBezTo>
                    <a:pt x="30" y="27"/>
                    <a:pt x="31" y="25"/>
                    <a:pt x="32" y="24"/>
                  </a:cubicBezTo>
                  <a:cubicBezTo>
                    <a:pt x="32" y="23"/>
                    <a:pt x="34" y="19"/>
                    <a:pt x="33" y="19"/>
                  </a:cubicBezTo>
                  <a:cubicBezTo>
                    <a:pt x="32" y="18"/>
                    <a:pt x="33" y="21"/>
                    <a:pt x="31" y="17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92" name="Freeform 151"/>
            <p:cNvSpPr>
              <a:spLocks/>
            </p:cNvSpPr>
            <p:nvPr/>
          </p:nvSpPr>
          <p:spPr bwMode="auto">
            <a:xfrm>
              <a:off x="5649" y="2524"/>
              <a:ext cx="4" cy="5"/>
            </a:xfrm>
            <a:custGeom>
              <a:avLst/>
              <a:gdLst>
                <a:gd name="T0" fmla="*/ 4 w 6"/>
                <a:gd name="T1" fmla="*/ 6 h 6"/>
                <a:gd name="T2" fmla="*/ 6 w 6"/>
                <a:gd name="T3" fmla="*/ 3 h 6"/>
                <a:gd name="T4" fmla="*/ 2 w 6"/>
                <a:gd name="T5" fmla="*/ 1 h 6"/>
                <a:gd name="T6" fmla="*/ 1 w 6"/>
                <a:gd name="T7" fmla="*/ 4 h 6"/>
                <a:gd name="T8" fmla="*/ 4 w 6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4" y="6"/>
                  </a:moveTo>
                  <a:cubicBezTo>
                    <a:pt x="5" y="6"/>
                    <a:pt x="6" y="5"/>
                    <a:pt x="6" y="3"/>
                  </a:cubicBezTo>
                  <a:cubicBezTo>
                    <a:pt x="5" y="0"/>
                    <a:pt x="4" y="0"/>
                    <a:pt x="2" y="1"/>
                  </a:cubicBezTo>
                  <a:cubicBezTo>
                    <a:pt x="2" y="1"/>
                    <a:pt x="0" y="3"/>
                    <a:pt x="1" y="4"/>
                  </a:cubicBezTo>
                  <a:cubicBezTo>
                    <a:pt x="2" y="6"/>
                    <a:pt x="2" y="6"/>
                    <a:pt x="4" y="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93" name="Freeform 152"/>
            <p:cNvSpPr>
              <a:spLocks/>
            </p:cNvSpPr>
            <p:nvPr/>
          </p:nvSpPr>
          <p:spPr bwMode="auto">
            <a:xfrm>
              <a:off x="5643" y="2515"/>
              <a:ext cx="4" cy="4"/>
            </a:xfrm>
            <a:custGeom>
              <a:avLst/>
              <a:gdLst>
                <a:gd name="T0" fmla="*/ 4 w 6"/>
                <a:gd name="T1" fmla="*/ 5 h 6"/>
                <a:gd name="T2" fmla="*/ 5 w 6"/>
                <a:gd name="T3" fmla="*/ 3 h 6"/>
                <a:gd name="T4" fmla="*/ 2 w 6"/>
                <a:gd name="T5" fmla="*/ 1 h 6"/>
                <a:gd name="T6" fmla="*/ 2 w 6"/>
                <a:gd name="T7" fmla="*/ 5 h 6"/>
                <a:gd name="T8" fmla="*/ 4 w 6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4" y="5"/>
                  </a:moveTo>
                  <a:cubicBezTo>
                    <a:pt x="5" y="4"/>
                    <a:pt x="6" y="4"/>
                    <a:pt x="5" y="3"/>
                  </a:cubicBezTo>
                  <a:cubicBezTo>
                    <a:pt x="3" y="1"/>
                    <a:pt x="2" y="0"/>
                    <a:pt x="2" y="1"/>
                  </a:cubicBezTo>
                  <a:cubicBezTo>
                    <a:pt x="0" y="2"/>
                    <a:pt x="1" y="5"/>
                    <a:pt x="2" y="5"/>
                  </a:cubicBezTo>
                  <a:cubicBezTo>
                    <a:pt x="4" y="5"/>
                    <a:pt x="4" y="6"/>
                    <a:pt x="4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94" name="Freeform 153"/>
            <p:cNvSpPr>
              <a:spLocks/>
            </p:cNvSpPr>
            <p:nvPr/>
          </p:nvSpPr>
          <p:spPr bwMode="auto">
            <a:xfrm>
              <a:off x="5613" y="2519"/>
              <a:ext cx="11" cy="5"/>
            </a:xfrm>
            <a:custGeom>
              <a:avLst/>
              <a:gdLst>
                <a:gd name="T0" fmla="*/ 3 w 15"/>
                <a:gd name="T1" fmla="*/ 5 h 7"/>
                <a:gd name="T2" fmla="*/ 7 w 15"/>
                <a:gd name="T3" fmla="*/ 6 h 7"/>
                <a:gd name="T4" fmla="*/ 12 w 15"/>
                <a:gd name="T5" fmla="*/ 6 h 7"/>
                <a:gd name="T6" fmla="*/ 12 w 15"/>
                <a:gd name="T7" fmla="*/ 1 h 7"/>
                <a:gd name="T8" fmla="*/ 9 w 15"/>
                <a:gd name="T9" fmla="*/ 2 h 7"/>
                <a:gd name="T10" fmla="*/ 2 w 15"/>
                <a:gd name="T11" fmla="*/ 2 h 7"/>
                <a:gd name="T12" fmla="*/ 1 w 15"/>
                <a:gd name="T13" fmla="*/ 4 h 7"/>
                <a:gd name="T14" fmla="*/ 3 w 15"/>
                <a:gd name="T1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5" h="7">
                  <a:moveTo>
                    <a:pt x="3" y="5"/>
                  </a:moveTo>
                  <a:cubicBezTo>
                    <a:pt x="6" y="6"/>
                    <a:pt x="5" y="6"/>
                    <a:pt x="7" y="6"/>
                  </a:cubicBezTo>
                  <a:cubicBezTo>
                    <a:pt x="8" y="6"/>
                    <a:pt x="11" y="7"/>
                    <a:pt x="12" y="6"/>
                  </a:cubicBezTo>
                  <a:cubicBezTo>
                    <a:pt x="14" y="4"/>
                    <a:pt x="15" y="3"/>
                    <a:pt x="12" y="1"/>
                  </a:cubicBezTo>
                  <a:cubicBezTo>
                    <a:pt x="10" y="0"/>
                    <a:pt x="10" y="2"/>
                    <a:pt x="9" y="2"/>
                  </a:cubicBezTo>
                  <a:cubicBezTo>
                    <a:pt x="8" y="2"/>
                    <a:pt x="5" y="2"/>
                    <a:pt x="2" y="2"/>
                  </a:cubicBezTo>
                  <a:cubicBezTo>
                    <a:pt x="0" y="3"/>
                    <a:pt x="2" y="3"/>
                    <a:pt x="1" y="4"/>
                  </a:cubicBezTo>
                  <a:cubicBezTo>
                    <a:pt x="1" y="5"/>
                    <a:pt x="1" y="5"/>
                    <a:pt x="3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95" name="Freeform 154"/>
            <p:cNvSpPr>
              <a:spLocks/>
            </p:cNvSpPr>
            <p:nvPr/>
          </p:nvSpPr>
          <p:spPr bwMode="auto">
            <a:xfrm>
              <a:off x="5694" y="2551"/>
              <a:ext cx="17" cy="20"/>
            </a:xfrm>
            <a:custGeom>
              <a:avLst/>
              <a:gdLst>
                <a:gd name="T0" fmla="*/ 21 w 23"/>
                <a:gd name="T1" fmla="*/ 21 h 27"/>
                <a:gd name="T2" fmla="*/ 17 w 23"/>
                <a:gd name="T3" fmla="*/ 18 h 27"/>
                <a:gd name="T4" fmla="*/ 14 w 23"/>
                <a:gd name="T5" fmla="*/ 15 h 27"/>
                <a:gd name="T6" fmla="*/ 11 w 23"/>
                <a:gd name="T7" fmla="*/ 12 h 27"/>
                <a:gd name="T8" fmla="*/ 8 w 23"/>
                <a:gd name="T9" fmla="*/ 10 h 27"/>
                <a:gd name="T10" fmla="*/ 7 w 23"/>
                <a:gd name="T11" fmla="*/ 7 h 27"/>
                <a:gd name="T12" fmla="*/ 2 w 23"/>
                <a:gd name="T13" fmla="*/ 1 h 27"/>
                <a:gd name="T14" fmla="*/ 2 w 23"/>
                <a:gd name="T15" fmla="*/ 8 h 27"/>
                <a:gd name="T16" fmla="*/ 4 w 23"/>
                <a:gd name="T17" fmla="*/ 13 h 27"/>
                <a:gd name="T18" fmla="*/ 6 w 23"/>
                <a:gd name="T19" fmla="*/ 18 h 27"/>
                <a:gd name="T20" fmla="*/ 10 w 23"/>
                <a:gd name="T21" fmla="*/ 23 h 27"/>
                <a:gd name="T22" fmla="*/ 14 w 23"/>
                <a:gd name="T23" fmla="*/ 24 h 27"/>
                <a:gd name="T24" fmla="*/ 15 w 23"/>
                <a:gd name="T25" fmla="*/ 27 h 27"/>
                <a:gd name="T26" fmla="*/ 19 w 23"/>
                <a:gd name="T27" fmla="*/ 26 h 27"/>
                <a:gd name="T28" fmla="*/ 22 w 23"/>
                <a:gd name="T29" fmla="*/ 23 h 27"/>
                <a:gd name="T30" fmla="*/ 21 w 23"/>
                <a:gd name="T31" fmla="*/ 21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3" h="27">
                  <a:moveTo>
                    <a:pt x="21" y="21"/>
                  </a:moveTo>
                  <a:cubicBezTo>
                    <a:pt x="19" y="19"/>
                    <a:pt x="19" y="18"/>
                    <a:pt x="17" y="18"/>
                  </a:cubicBezTo>
                  <a:cubicBezTo>
                    <a:pt x="16" y="17"/>
                    <a:pt x="16" y="15"/>
                    <a:pt x="14" y="15"/>
                  </a:cubicBezTo>
                  <a:cubicBezTo>
                    <a:pt x="12" y="15"/>
                    <a:pt x="12" y="13"/>
                    <a:pt x="11" y="12"/>
                  </a:cubicBezTo>
                  <a:cubicBezTo>
                    <a:pt x="10" y="12"/>
                    <a:pt x="9" y="11"/>
                    <a:pt x="8" y="10"/>
                  </a:cubicBezTo>
                  <a:cubicBezTo>
                    <a:pt x="7" y="9"/>
                    <a:pt x="8" y="10"/>
                    <a:pt x="7" y="7"/>
                  </a:cubicBezTo>
                  <a:cubicBezTo>
                    <a:pt x="5" y="5"/>
                    <a:pt x="5" y="2"/>
                    <a:pt x="2" y="1"/>
                  </a:cubicBezTo>
                  <a:cubicBezTo>
                    <a:pt x="0" y="0"/>
                    <a:pt x="2" y="6"/>
                    <a:pt x="2" y="8"/>
                  </a:cubicBezTo>
                  <a:cubicBezTo>
                    <a:pt x="3" y="9"/>
                    <a:pt x="3" y="11"/>
                    <a:pt x="4" y="13"/>
                  </a:cubicBezTo>
                  <a:cubicBezTo>
                    <a:pt x="4" y="15"/>
                    <a:pt x="5" y="16"/>
                    <a:pt x="6" y="18"/>
                  </a:cubicBezTo>
                  <a:cubicBezTo>
                    <a:pt x="7" y="20"/>
                    <a:pt x="8" y="22"/>
                    <a:pt x="10" y="23"/>
                  </a:cubicBezTo>
                  <a:cubicBezTo>
                    <a:pt x="11" y="23"/>
                    <a:pt x="14" y="23"/>
                    <a:pt x="14" y="24"/>
                  </a:cubicBezTo>
                  <a:cubicBezTo>
                    <a:pt x="14" y="25"/>
                    <a:pt x="14" y="27"/>
                    <a:pt x="15" y="27"/>
                  </a:cubicBezTo>
                  <a:cubicBezTo>
                    <a:pt x="17" y="27"/>
                    <a:pt x="19" y="26"/>
                    <a:pt x="19" y="26"/>
                  </a:cubicBezTo>
                  <a:cubicBezTo>
                    <a:pt x="21" y="25"/>
                    <a:pt x="22" y="23"/>
                    <a:pt x="22" y="23"/>
                  </a:cubicBezTo>
                  <a:cubicBezTo>
                    <a:pt x="22" y="23"/>
                    <a:pt x="23" y="23"/>
                    <a:pt x="21" y="2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96" name="Freeform 155"/>
            <p:cNvSpPr>
              <a:spLocks/>
            </p:cNvSpPr>
            <p:nvPr/>
          </p:nvSpPr>
          <p:spPr bwMode="auto">
            <a:xfrm>
              <a:off x="5715" y="2568"/>
              <a:ext cx="10" cy="8"/>
            </a:xfrm>
            <a:custGeom>
              <a:avLst/>
              <a:gdLst>
                <a:gd name="T0" fmla="*/ 5 w 13"/>
                <a:gd name="T1" fmla="*/ 8 h 11"/>
                <a:gd name="T2" fmla="*/ 9 w 13"/>
                <a:gd name="T3" fmla="*/ 11 h 11"/>
                <a:gd name="T4" fmla="*/ 11 w 13"/>
                <a:gd name="T5" fmla="*/ 11 h 11"/>
                <a:gd name="T6" fmla="*/ 12 w 13"/>
                <a:gd name="T7" fmla="*/ 9 h 11"/>
                <a:gd name="T8" fmla="*/ 8 w 13"/>
                <a:gd name="T9" fmla="*/ 6 h 11"/>
                <a:gd name="T10" fmla="*/ 5 w 13"/>
                <a:gd name="T11" fmla="*/ 3 h 11"/>
                <a:gd name="T12" fmla="*/ 4 w 13"/>
                <a:gd name="T13" fmla="*/ 1 h 11"/>
                <a:gd name="T14" fmla="*/ 1 w 13"/>
                <a:gd name="T15" fmla="*/ 0 h 11"/>
                <a:gd name="T16" fmla="*/ 1 w 13"/>
                <a:gd name="T17" fmla="*/ 4 h 11"/>
                <a:gd name="T18" fmla="*/ 5 w 13"/>
                <a:gd name="T1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1">
                  <a:moveTo>
                    <a:pt x="5" y="8"/>
                  </a:moveTo>
                  <a:cubicBezTo>
                    <a:pt x="7" y="9"/>
                    <a:pt x="7" y="11"/>
                    <a:pt x="9" y="11"/>
                  </a:cubicBezTo>
                  <a:cubicBezTo>
                    <a:pt x="10" y="11"/>
                    <a:pt x="11" y="11"/>
                    <a:pt x="11" y="11"/>
                  </a:cubicBezTo>
                  <a:cubicBezTo>
                    <a:pt x="12" y="10"/>
                    <a:pt x="13" y="9"/>
                    <a:pt x="12" y="9"/>
                  </a:cubicBezTo>
                  <a:cubicBezTo>
                    <a:pt x="11" y="9"/>
                    <a:pt x="9" y="7"/>
                    <a:pt x="8" y="6"/>
                  </a:cubicBezTo>
                  <a:cubicBezTo>
                    <a:pt x="7" y="5"/>
                    <a:pt x="6" y="4"/>
                    <a:pt x="5" y="3"/>
                  </a:cubicBezTo>
                  <a:cubicBezTo>
                    <a:pt x="4" y="2"/>
                    <a:pt x="5" y="3"/>
                    <a:pt x="4" y="1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2"/>
                    <a:pt x="0" y="2"/>
                    <a:pt x="1" y="4"/>
                  </a:cubicBezTo>
                  <a:cubicBezTo>
                    <a:pt x="3" y="5"/>
                    <a:pt x="4" y="6"/>
                    <a:pt x="5" y="8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97" name="Freeform 156"/>
            <p:cNvSpPr>
              <a:spLocks/>
            </p:cNvSpPr>
            <p:nvPr/>
          </p:nvSpPr>
          <p:spPr bwMode="auto">
            <a:xfrm>
              <a:off x="5714" y="2577"/>
              <a:ext cx="4" cy="8"/>
            </a:xfrm>
            <a:custGeom>
              <a:avLst/>
              <a:gdLst>
                <a:gd name="T0" fmla="*/ 4 w 5"/>
                <a:gd name="T1" fmla="*/ 1 h 11"/>
                <a:gd name="T2" fmla="*/ 2 w 5"/>
                <a:gd name="T3" fmla="*/ 1 h 11"/>
                <a:gd name="T4" fmla="*/ 0 w 5"/>
                <a:gd name="T5" fmla="*/ 7 h 11"/>
                <a:gd name="T6" fmla="*/ 1 w 5"/>
                <a:gd name="T7" fmla="*/ 10 h 11"/>
                <a:gd name="T8" fmla="*/ 2 w 5"/>
                <a:gd name="T9" fmla="*/ 7 h 11"/>
                <a:gd name="T10" fmla="*/ 3 w 5"/>
                <a:gd name="T11" fmla="*/ 4 h 11"/>
                <a:gd name="T12" fmla="*/ 4 w 5"/>
                <a:gd name="T13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1"/>
                  </a:moveTo>
                  <a:cubicBezTo>
                    <a:pt x="2" y="1"/>
                    <a:pt x="3" y="0"/>
                    <a:pt x="2" y="1"/>
                  </a:cubicBezTo>
                  <a:cubicBezTo>
                    <a:pt x="1" y="2"/>
                    <a:pt x="0" y="5"/>
                    <a:pt x="0" y="7"/>
                  </a:cubicBezTo>
                  <a:cubicBezTo>
                    <a:pt x="0" y="9"/>
                    <a:pt x="0" y="10"/>
                    <a:pt x="1" y="10"/>
                  </a:cubicBezTo>
                  <a:cubicBezTo>
                    <a:pt x="2" y="11"/>
                    <a:pt x="1" y="10"/>
                    <a:pt x="2" y="7"/>
                  </a:cubicBezTo>
                  <a:cubicBezTo>
                    <a:pt x="3" y="4"/>
                    <a:pt x="2" y="5"/>
                    <a:pt x="3" y="4"/>
                  </a:cubicBezTo>
                  <a:cubicBezTo>
                    <a:pt x="4" y="3"/>
                    <a:pt x="5" y="1"/>
                    <a:pt x="4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98" name="Freeform 157"/>
            <p:cNvSpPr>
              <a:spLocks/>
            </p:cNvSpPr>
            <p:nvPr/>
          </p:nvSpPr>
          <p:spPr bwMode="auto">
            <a:xfrm>
              <a:off x="5718" y="2580"/>
              <a:ext cx="13" cy="10"/>
            </a:xfrm>
            <a:custGeom>
              <a:avLst/>
              <a:gdLst>
                <a:gd name="T0" fmla="*/ 15 w 17"/>
                <a:gd name="T1" fmla="*/ 9 h 13"/>
                <a:gd name="T2" fmla="*/ 13 w 17"/>
                <a:gd name="T3" fmla="*/ 7 h 13"/>
                <a:gd name="T4" fmla="*/ 12 w 17"/>
                <a:gd name="T5" fmla="*/ 4 h 13"/>
                <a:gd name="T6" fmla="*/ 10 w 17"/>
                <a:gd name="T7" fmla="*/ 3 h 13"/>
                <a:gd name="T8" fmla="*/ 8 w 17"/>
                <a:gd name="T9" fmla="*/ 1 h 13"/>
                <a:gd name="T10" fmla="*/ 5 w 17"/>
                <a:gd name="T11" fmla="*/ 0 h 13"/>
                <a:gd name="T12" fmla="*/ 1 w 17"/>
                <a:gd name="T13" fmla="*/ 1 h 13"/>
                <a:gd name="T14" fmla="*/ 3 w 17"/>
                <a:gd name="T15" fmla="*/ 4 h 13"/>
                <a:gd name="T16" fmla="*/ 7 w 17"/>
                <a:gd name="T17" fmla="*/ 7 h 13"/>
                <a:gd name="T18" fmla="*/ 9 w 17"/>
                <a:gd name="T19" fmla="*/ 7 h 13"/>
                <a:gd name="T20" fmla="*/ 11 w 17"/>
                <a:gd name="T21" fmla="*/ 9 h 13"/>
                <a:gd name="T22" fmla="*/ 14 w 17"/>
                <a:gd name="T23" fmla="*/ 11 h 13"/>
                <a:gd name="T24" fmla="*/ 16 w 17"/>
                <a:gd name="T25" fmla="*/ 13 h 13"/>
                <a:gd name="T26" fmla="*/ 17 w 17"/>
                <a:gd name="T27" fmla="*/ 11 h 13"/>
                <a:gd name="T28" fmla="*/ 15 w 17"/>
                <a:gd name="T2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13">
                  <a:moveTo>
                    <a:pt x="15" y="9"/>
                  </a:moveTo>
                  <a:cubicBezTo>
                    <a:pt x="14" y="9"/>
                    <a:pt x="13" y="7"/>
                    <a:pt x="13" y="7"/>
                  </a:cubicBezTo>
                  <a:cubicBezTo>
                    <a:pt x="13" y="7"/>
                    <a:pt x="13" y="5"/>
                    <a:pt x="12" y="4"/>
                  </a:cubicBezTo>
                  <a:cubicBezTo>
                    <a:pt x="11" y="4"/>
                    <a:pt x="11" y="3"/>
                    <a:pt x="10" y="3"/>
                  </a:cubicBezTo>
                  <a:cubicBezTo>
                    <a:pt x="9" y="2"/>
                    <a:pt x="9" y="0"/>
                    <a:pt x="8" y="1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3"/>
                    <a:pt x="2" y="3"/>
                    <a:pt x="3" y="4"/>
                  </a:cubicBezTo>
                  <a:cubicBezTo>
                    <a:pt x="6" y="5"/>
                    <a:pt x="7" y="7"/>
                    <a:pt x="7" y="7"/>
                  </a:cubicBezTo>
                  <a:cubicBezTo>
                    <a:pt x="7" y="7"/>
                    <a:pt x="9" y="6"/>
                    <a:pt x="9" y="7"/>
                  </a:cubicBezTo>
                  <a:cubicBezTo>
                    <a:pt x="9" y="8"/>
                    <a:pt x="10" y="8"/>
                    <a:pt x="11" y="9"/>
                  </a:cubicBezTo>
                  <a:cubicBezTo>
                    <a:pt x="13" y="10"/>
                    <a:pt x="14" y="10"/>
                    <a:pt x="14" y="11"/>
                  </a:cubicBezTo>
                  <a:cubicBezTo>
                    <a:pt x="15" y="12"/>
                    <a:pt x="14" y="13"/>
                    <a:pt x="16" y="13"/>
                  </a:cubicBezTo>
                  <a:cubicBezTo>
                    <a:pt x="17" y="12"/>
                    <a:pt x="17" y="11"/>
                    <a:pt x="17" y="11"/>
                  </a:cubicBezTo>
                  <a:cubicBezTo>
                    <a:pt x="17" y="11"/>
                    <a:pt x="17" y="9"/>
                    <a:pt x="15" y="9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99" name="Freeform 158"/>
            <p:cNvSpPr>
              <a:spLocks/>
            </p:cNvSpPr>
            <p:nvPr/>
          </p:nvSpPr>
          <p:spPr bwMode="auto">
            <a:xfrm>
              <a:off x="5734" y="2577"/>
              <a:ext cx="13" cy="11"/>
            </a:xfrm>
            <a:custGeom>
              <a:avLst/>
              <a:gdLst>
                <a:gd name="T0" fmla="*/ 18 w 18"/>
                <a:gd name="T1" fmla="*/ 14 h 14"/>
                <a:gd name="T2" fmla="*/ 16 w 18"/>
                <a:gd name="T3" fmla="*/ 9 h 14"/>
                <a:gd name="T4" fmla="*/ 13 w 18"/>
                <a:gd name="T5" fmla="*/ 5 h 14"/>
                <a:gd name="T6" fmla="*/ 9 w 18"/>
                <a:gd name="T7" fmla="*/ 3 h 14"/>
                <a:gd name="T8" fmla="*/ 7 w 18"/>
                <a:gd name="T9" fmla="*/ 2 h 14"/>
                <a:gd name="T10" fmla="*/ 3 w 18"/>
                <a:gd name="T11" fmla="*/ 0 h 14"/>
                <a:gd name="T12" fmla="*/ 0 w 18"/>
                <a:gd name="T13" fmla="*/ 1 h 14"/>
                <a:gd name="T14" fmla="*/ 3 w 18"/>
                <a:gd name="T15" fmla="*/ 4 h 14"/>
                <a:gd name="T16" fmla="*/ 7 w 18"/>
                <a:gd name="T17" fmla="*/ 7 h 14"/>
                <a:gd name="T18" fmla="*/ 11 w 18"/>
                <a:gd name="T19" fmla="*/ 9 h 14"/>
                <a:gd name="T20" fmla="*/ 15 w 18"/>
                <a:gd name="T21" fmla="*/ 12 h 14"/>
                <a:gd name="T22" fmla="*/ 18 w 18"/>
                <a:gd name="T2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" h="14">
                  <a:moveTo>
                    <a:pt x="18" y="14"/>
                  </a:moveTo>
                  <a:cubicBezTo>
                    <a:pt x="17" y="11"/>
                    <a:pt x="17" y="9"/>
                    <a:pt x="16" y="9"/>
                  </a:cubicBezTo>
                  <a:cubicBezTo>
                    <a:pt x="15" y="8"/>
                    <a:pt x="14" y="6"/>
                    <a:pt x="13" y="5"/>
                  </a:cubicBezTo>
                  <a:cubicBezTo>
                    <a:pt x="11" y="5"/>
                    <a:pt x="9" y="3"/>
                    <a:pt x="9" y="3"/>
                  </a:cubicBezTo>
                  <a:cubicBezTo>
                    <a:pt x="9" y="3"/>
                    <a:pt x="8" y="2"/>
                    <a:pt x="7" y="2"/>
                  </a:cubicBezTo>
                  <a:cubicBezTo>
                    <a:pt x="6" y="1"/>
                    <a:pt x="5" y="0"/>
                    <a:pt x="3" y="0"/>
                  </a:cubicBezTo>
                  <a:cubicBezTo>
                    <a:pt x="1" y="1"/>
                    <a:pt x="0" y="1"/>
                    <a:pt x="0" y="1"/>
                  </a:cubicBezTo>
                  <a:cubicBezTo>
                    <a:pt x="0" y="3"/>
                    <a:pt x="2" y="3"/>
                    <a:pt x="3" y="4"/>
                  </a:cubicBezTo>
                  <a:cubicBezTo>
                    <a:pt x="4" y="5"/>
                    <a:pt x="6" y="6"/>
                    <a:pt x="7" y="7"/>
                  </a:cubicBezTo>
                  <a:cubicBezTo>
                    <a:pt x="7" y="8"/>
                    <a:pt x="10" y="8"/>
                    <a:pt x="11" y="9"/>
                  </a:cubicBezTo>
                  <a:cubicBezTo>
                    <a:pt x="11" y="10"/>
                    <a:pt x="14" y="11"/>
                    <a:pt x="15" y="12"/>
                  </a:cubicBezTo>
                  <a:cubicBezTo>
                    <a:pt x="17" y="13"/>
                    <a:pt x="18" y="14"/>
                    <a:pt x="18" y="1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00" name="Freeform 159"/>
            <p:cNvSpPr>
              <a:spLocks/>
            </p:cNvSpPr>
            <p:nvPr/>
          </p:nvSpPr>
          <p:spPr bwMode="auto">
            <a:xfrm>
              <a:off x="5756" y="2583"/>
              <a:ext cx="11" cy="17"/>
            </a:xfrm>
            <a:custGeom>
              <a:avLst/>
              <a:gdLst>
                <a:gd name="T0" fmla="*/ 9 w 14"/>
                <a:gd name="T1" fmla="*/ 14 h 23"/>
                <a:gd name="T2" fmla="*/ 5 w 14"/>
                <a:gd name="T3" fmla="*/ 10 h 23"/>
                <a:gd name="T4" fmla="*/ 4 w 14"/>
                <a:gd name="T5" fmla="*/ 7 h 23"/>
                <a:gd name="T6" fmla="*/ 4 w 14"/>
                <a:gd name="T7" fmla="*/ 2 h 23"/>
                <a:gd name="T8" fmla="*/ 2 w 14"/>
                <a:gd name="T9" fmla="*/ 0 h 23"/>
                <a:gd name="T10" fmla="*/ 1 w 14"/>
                <a:gd name="T11" fmla="*/ 2 h 23"/>
                <a:gd name="T12" fmla="*/ 0 w 14"/>
                <a:gd name="T13" fmla="*/ 5 h 23"/>
                <a:gd name="T14" fmla="*/ 1 w 14"/>
                <a:gd name="T15" fmla="*/ 9 h 23"/>
                <a:gd name="T16" fmla="*/ 2 w 14"/>
                <a:gd name="T17" fmla="*/ 13 h 23"/>
                <a:gd name="T18" fmla="*/ 6 w 14"/>
                <a:gd name="T19" fmla="*/ 17 h 23"/>
                <a:gd name="T20" fmla="*/ 9 w 14"/>
                <a:gd name="T21" fmla="*/ 20 h 23"/>
                <a:gd name="T22" fmla="*/ 11 w 14"/>
                <a:gd name="T23" fmla="*/ 23 h 23"/>
                <a:gd name="T24" fmla="*/ 13 w 14"/>
                <a:gd name="T25" fmla="*/ 21 h 23"/>
                <a:gd name="T26" fmla="*/ 12 w 14"/>
                <a:gd name="T27" fmla="*/ 17 h 23"/>
                <a:gd name="T28" fmla="*/ 9 w 14"/>
                <a:gd name="T29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" h="23">
                  <a:moveTo>
                    <a:pt x="9" y="14"/>
                  </a:moveTo>
                  <a:cubicBezTo>
                    <a:pt x="8" y="13"/>
                    <a:pt x="6" y="11"/>
                    <a:pt x="5" y="10"/>
                  </a:cubicBezTo>
                  <a:cubicBezTo>
                    <a:pt x="5" y="10"/>
                    <a:pt x="4" y="9"/>
                    <a:pt x="4" y="7"/>
                  </a:cubicBezTo>
                  <a:cubicBezTo>
                    <a:pt x="4" y="6"/>
                    <a:pt x="4" y="3"/>
                    <a:pt x="4" y="2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2" y="0"/>
                    <a:pt x="2" y="1"/>
                    <a:pt x="1" y="2"/>
                  </a:cubicBezTo>
                  <a:cubicBezTo>
                    <a:pt x="0" y="3"/>
                    <a:pt x="0" y="2"/>
                    <a:pt x="0" y="5"/>
                  </a:cubicBezTo>
                  <a:cubicBezTo>
                    <a:pt x="0" y="7"/>
                    <a:pt x="1" y="8"/>
                    <a:pt x="1" y="9"/>
                  </a:cubicBezTo>
                  <a:cubicBezTo>
                    <a:pt x="1" y="11"/>
                    <a:pt x="1" y="10"/>
                    <a:pt x="2" y="13"/>
                  </a:cubicBezTo>
                  <a:cubicBezTo>
                    <a:pt x="4" y="16"/>
                    <a:pt x="4" y="16"/>
                    <a:pt x="6" y="17"/>
                  </a:cubicBezTo>
                  <a:cubicBezTo>
                    <a:pt x="7" y="18"/>
                    <a:pt x="8" y="19"/>
                    <a:pt x="9" y="20"/>
                  </a:cubicBezTo>
                  <a:cubicBezTo>
                    <a:pt x="10" y="21"/>
                    <a:pt x="11" y="23"/>
                    <a:pt x="11" y="23"/>
                  </a:cubicBezTo>
                  <a:cubicBezTo>
                    <a:pt x="11" y="23"/>
                    <a:pt x="13" y="22"/>
                    <a:pt x="13" y="21"/>
                  </a:cubicBezTo>
                  <a:cubicBezTo>
                    <a:pt x="13" y="19"/>
                    <a:pt x="14" y="19"/>
                    <a:pt x="12" y="17"/>
                  </a:cubicBezTo>
                  <a:cubicBezTo>
                    <a:pt x="11" y="16"/>
                    <a:pt x="10" y="15"/>
                    <a:pt x="9" y="1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01" name="Freeform 160"/>
            <p:cNvSpPr>
              <a:spLocks/>
            </p:cNvSpPr>
            <p:nvPr/>
          </p:nvSpPr>
          <p:spPr bwMode="auto">
            <a:xfrm>
              <a:off x="5744" y="2594"/>
              <a:ext cx="14" cy="9"/>
            </a:xfrm>
            <a:custGeom>
              <a:avLst/>
              <a:gdLst>
                <a:gd name="T0" fmla="*/ 17 w 19"/>
                <a:gd name="T1" fmla="*/ 9 h 12"/>
                <a:gd name="T2" fmla="*/ 16 w 19"/>
                <a:gd name="T3" fmla="*/ 5 h 12"/>
                <a:gd name="T4" fmla="*/ 14 w 19"/>
                <a:gd name="T5" fmla="*/ 3 h 12"/>
                <a:gd name="T6" fmla="*/ 10 w 19"/>
                <a:gd name="T7" fmla="*/ 2 h 12"/>
                <a:gd name="T8" fmla="*/ 8 w 19"/>
                <a:gd name="T9" fmla="*/ 1 h 12"/>
                <a:gd name="T10" fmla="*/ 6 w 19"/>
                <a:gd name="T11" fmla="*/ 1 h 12"/>
                <a:gd name="T12" fmla="*/ 2 w 19"/>
                <a:gd name="T13" fmla="*/ 1 h 12"/>
                <a:gd name="T14" fmla="*/ 4 w 19"/>
                <a:gd name="T15" fmla="*/ 6 h 12"/>
                <a:gd name="T16" fmla="*/ 6 w 19"/>
                <a:gd name="T17" fmla="*/ 7 h 12"/>
                <a:gd name="T18" fmla="*/ 9 w 19"/>
                <a:gd name="T19" fmla="*/ 8 h 12"/>
                <a:gd name="T20" fmla="*/ 13 w 19"/>
                <a:gd name="T21" fmla="*/ 11 h 12"/>
                <a:gd name="T22" fmla="*/ 17 w 19"/>
                <a:gd name="T23" fmla="*/ 10 h 12"/>
                <a:gd name="T24" fmla="*/ 17 w 19"/>
                <a:gd name="T25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" h="12">
                  <a:moveTo>
                    <a:pt x="17" y="9"/>
                  </a:moveTo>
                  <a:cubicBezTo>
                    <a:pt x="17" y="7"/>
                    <a:pt x="17" y="7"/>
                    <a:pt x="16" y="5"/>
                  </a:cubicBezTo>
                  <a:cubicBezTo>
                    <a:pt x="14" y="3"/>
                    <a:pt x="15" y="5"/>
                    <a:pt x="14" y="3"/>
                  </a:cubicBezTo>
                  <a:cubicBezTo>
                    <a:pt x="13" y="2"/>
                    <a:pt x="13" y="2"/>
                    <a:pt x="10" y="2"/>
                  </a:cubicBezTo>
                  <a:cubicBezTo>
                    <a:pt x="9" y="2"/>
                    <a:pt x="9" y="1"/>
                    <a:pt x="8" y="1"/>
                  </a:cubicBezTo>
                  <a:cubicBezTo>
                    <a:pt x="7" y="0"/>
                    <a:pt x="7" y="1"/>
                    <a:pt x="6" y="1"/>
                  </a:cubicBezTo>
                  <a:cubicBezTo>
                    <a:pt x="5" y="0"/>
                    <a:pt x="4" y="1"/>
                    <a:pt x="2" y="1"/>
                  </a:cubicBezTo>
                  <a:cubicBezTo>
                    <a:pt x="0" y="3"/>
                    <a:pt x="4" y="6"/>
                    <a:pt x="4" y="6"/>
                  </a:cubicBezTo>
                  <a:cubicBezTo>
                    <a:pt x="4" y="6"/>
                    <a:pt x="5" y="7"/>
                    <a:pt x="6" y="7"/>
                  </a:cubicBezTo>
                  <a:cubicBezTo>
                    <a:pt x="7" y="7"/>
                    <a:pt x="8" y="8"/>
                    <a:pt x="9" y="8"/>
                  </a:cubicBezTo>
                  <a:cubicBezTo>
                    <a:pt x="10" y="9"/>
                    <a:pt x="12" y="10"/>
                    <a:pt x="13" y="11"/>
                  </a:cubicBezTo>
                  <a:cubicBezTo>
                    <a:pt x="14" y="12"/>
                    <a:pt x="16" y="12"/>
                    <a:pt x="17" y="10"/>
                  </a:cubicBezTo>
                  <a:cubicBezTo>
                    <a:pt x="19" y="9"/>
                    <a:pt x="17" y="10"/>
                    <a:pt x="17" y="9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02" name="Freeform 161"/>
            <p:cNvSpPr>
              <a:spLocks/>
            </p:cNvSpPr>
            <p:nvPr/>
          </p:nvSpPr>
          <p:spPr bwMode="auto">
            <a:xfrm>
              <a:off x="5877" y="2861"/>
              <a:ext cx="21" cy="22"/>
            </a:xfrm>
            <a:custGeom>
              <a:avLst/>
              <a:gdLst>
                <a:gd name="T0" fmla="*/ 19 w 29"/>
                <a:gd name="T1" fmla="*/ 9 h 30"/>
                <a:gd name="T2" fmla="*/ 2 w 29"/>
                <a:gd name="T3" fmla="*/ 2 h 30"/>
                <a:gd name="T4" fmla="*/ 7 w 29"/>
                <a:gd name="T5" fmla="*/ 11 h 30"/>
                <a:gd name="T6" fmla="*/ 12 w 29"/>
                <a:gd name="T7" fmla="*/ 18 h 30"/>
                <a:gd name="T8" fmla="*/ 21 w 29"/>
                <a:gd name="T9" fmla="*/ 28 h 30"/>
                <a:gd name="T10" fmla="*/ 27 w 29"/>
                <a:gd name="T11" fmla="*/ 25 h 30"/>
                <a:gd name="T12" fmla="*/ 27 w 29"/>
                <a:gd name="T13" fmla="*/ 17 h 30"/>
                <a:gd name="T14" fmla="*/ 19 w 29"/>
                <a:gd name="T15" fmla="*/ 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0">
                  <a:moveTo>
                    <a:pt x="19" y="9"/>
                  </a:moveTo>
                  <a:cubicBezTo>
                    <a:pt x="13" y="8"/>
                    <a:pt x="0" y="0"/>
                    <a:pt x="2" y="2"/>
                  </a:cubicBezTo>
                  <a:cubicBezTo>
                    <a:pt x="3" y="4"/>
                    <a:pt x="5" y="4"/>
                    <a:pt x="7" y="11"/>
                  </a:cubicBezTo>
                  <a:cubicBezTo>
                    <a:pt x="8" y="18"/>
                    <a:pt x="9" y="16"/>
                    <a:pt x="12" y="18"/>
                  </a:cubicBezTo>
                  <a:cubicBezTo>
                    <a:pt x="15" y="21"/>
                    <a:pt x="19" y="27"/>
                    <a:pt x="21" y="28"/>
                  </a:cubicBezTo>
                  <a:cubicBezTo>
                    <a:pt x="21" y="28"/>
                    <a:pt x="25" y="30"/>
                    <a:pt x="27" y="25"/>
                  </a:cubicBezTo>
                  <a:cubicBezTo>
                    <a:pt x="29" y="21"/>
                    <a:pt x="29" y="22"/>
                    <a:pt x="27" y="17"/>
                  </a:cubicBezTo>
                  <a:cubicBezTo>
                    <a:pt x="24" y="12"/>
                    <a:pt x="24" y="10"/>
                    <a:pt x="19" y="9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03" name="Freeform 162"/>
            <p:cNvSpPr>
              <a:spLocks/>
            </p:cNvSpPr>
            <p:nvPr/>
          </p:nvSpPr>
          <p:spPr bwMode="auto">
            <a:xfrm>
              <a:off x="5893" y="2882"/>
              <a:ext cx="8" cy="12"/>
            </a:xfrm>
            <a:custGeom>
              <a:avLst/>
              <a:gdLst>
                <a:gd name="T0" fmla="*/ 0 w 10"/>
                <a:gd name="T1" fmla="*/ 6 h 17"/>
                <a:gd name="T2" fmla="*/ 6 w 10"/>
                <a:gd name="T3" fmla="*/ 11 h 17"/>
                <a:gd name="T4" fmla="*/ 8 w 10"/>
                <a:gd name="T5" fmla="*/ 2 h 17"/>
                <a:gd name="T6" fmla="*/ 0 w 10"/>
                <a:gd name="T7" fmla="*/ 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7">
                  <a:moveTo>
                    <a:pt x="0" y="6"/>
                  </a:moveTo>
                  <a:cubicBezTo>
                    <a:pt x="0" y="11"/>
                    <a:pt x="4" y="17"/>
                    <a:pt x="6" y="11"/>
                  </a:cubicBezTo>
                  <a:cubicBezTo>
                    <a:pt x="8" y="5"/>
                    <a:pt x="10" y="3"/>
                    <a:pt x="8" y="2"/>
                  </a:cubicBezTo>
                  <a:cubicBezTo>
                    <a:pt x="6" y="0"/>
                    <a:pt x="0" y="4"/>
                    <a:pt x="0" y="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04" name="Freeform 163"/>
            <p:cNvSpPr>
              <a:spLocks/>
            </p:cNvSpPr>
            <p:nvPr/>
          </p:nvSpPr>
          <p:spPr bwMode="auto">
            <a:xfrm>
              <a:off x="5890" y="2885"/>
              <a:ext cx="49" cy="60"/>
            </a:xfrm>
            <a:custGeom>
              <a:avLst/>
              <a:gdLst>
                <a:gd name="T0" fmla="*/ 60 w 66"/>
                <a:gd name="T1" fmla="*/ 16 h 81"/>
                <a:gd name="T2" fmla="*/ 50 w 66"/>
                <a:gd name="T3" fmla="*/ 24 h 81"/>
                <a:gd name="T4" fmla="*/ 35 w 66"/>
                <a:gd name="T5" fmla="*/ 19 h 81"/>
                <a:gd name="T6" fmla="*/ 29 w 66"/>
                <a:gd name="T7" fmla="*/ 10 h 81"/>
                <a:gd name="T8" fmla="*/ 23 w 66"/>
                <a:gd name="T9" fmla="*/ 2 h 81"/>
                <a:gd name="T10" fmla="*/ 22 w 66"/>
                <a:gd name="T11" fmla="*/ 7 h 81"/>
                <a:gd name="T12" fmla="*/ 17 w 66"/>
                <a:gd name="T13" fmla="*/ 7 h 81"/>
                <a:gd name="T14" fmla="*/ 12 w 66"/>
                <a:gd name="T15" fmla="*/ 18 h 81"/>
                <a:gd name="T16" fmla="*/ 11 w 66"/>
                <a:gd name="T17" fmla="*/ 29 h 81"/>
                <a:gd name="T18" fmla="*/ 6 w 66"/>
                <a:gd name="T19" fmla="*/ 39 h 81"/>
                <a:gd name="T20" fmla="*/ 0 w 66"/>
                <a:gd name="T21" fmla="*/ 46 h 81"/>
                <a:gd name="T22" fmla="*/ 11 w 66"/>
                <a:gd name="T23" fmla="*/ 51 h 81"/>
                <a:gd name="T24" fmla="*/ 17 w 66"/>
                <a:gd name="T25" fmla="*/ 60 h 81"/>
                <a:gd name="T26" fmla="*/ 14 w 66"/>
                <a:gd name="T27" fmla="*/ 71 h 81"/>
                <a:gd name="T28" fmla="*/ 19 w 66"/>
                <a:gd name="T29" fmla="*/ 78 h 81"/>
                <a:gd name="T30" fmla="*/ 27 w 66"/>
                <a:gd name="T31" fmla="*/ 74 h 81"/>
                <a:gd name="T32" fmla="*/ 37 w 66"/>
                <a:gd name="T33" fmla="*/ 64 h 81"/>
                <a:gd name="T34" fmla="*/ 44 w 66"/>
                <a:gd name="T35" fmla="*/ 55 h 81"/>
                <a:gd name="T36" fmla="*/ 44 w 66"/>
                <a:gd name="T37" fmla="*/ 44 h 81"/>
                <a:gd name="T38" fmla="*/ 51 w 66"/>
                <a:gd name="T39" fmla="*/ 42 h 81"/>
                <a:gd name="T40" fmla="*/ 54 w 66"/>
                <a:gd name="T41" fmla="*/ 39 h 81"/>
                <a:gd name="T42" fmla="*/ 59 w 66"/>
                <a:gd name="T43" fmla="*/ 32 h 81"/>
                <a:gd name="T44" fmla="*/ 64 w 66"/>
                <a:gd name="T45" fmla="*/ 25 h 81"/>
                <a:gd name="T46" fmla="*/ 60 w 66"/>
                <a:gd name="T47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6" h="81">
                  <a:moveTo>
                    <a:pt x="60" y="16"/>
                  </a:moveTo>
                  <a:cubicBezTo>
                    <a:pt x="54" y="14"/>
                    <a:pt x="54" y="20"/>
                    <a:pt x="50" y="24"/>
                  </a:cubicBezTo>
                  <a:cubicBezTo>
                    <a:pt x="46" y="27"/>
                    <a:pt x="43" y="21"/>
                    <a:pt x="35" y="19"/>
                  </a:cubicBezTo>
                  <a:cubicBezTo>
                    <a:pt x="28" y="18"/>
                    <a:pt x="31" y="16"/>
                    <a:pt x="29" y="10"/>
                  </a:cubicBezTo>
                  <a:cubicBezTo>
                    <a:pt x="26" y="5"/>
                    <a:pt x="26" y="5"/>
                    <a:pt x="23" y="2"/>
                  </a:cubicBezTo>
                  <a:cubicBezTo>
                    <a:pt x="20" y="0"/>
                    <a:pt x="22" y="7"/>
                    <a:pt x="22" y="7"/>
                  </a:cubicBezTo>
                  <a:cubicBezTo>
                    <a:pt x="22" y="7"/>
                    <a:pt x="19" y="9"/>
                    <a:pt x="17" y="7"/>
                  </a:cubicBezTo>
                  <a:cubicBezTo>
                    <a:pt x="12" y="4"/>
                    <a:pt x="15" y="13"/>
                    <a:pt x="12" y="18"/>
                  </a:cubicBezTo>
                  <a:cubicBezTo>
                    <a:pt x="10" y="22"/>
                    <a:pt x="12" y="24"/>
                    <a:pt x="11" y="29"/>
                  </a:cubicBezTo>
                  <a:cubicBezTo>
                    <a:pt x="10" y="34"/>
                    <a:pt x="9" y="36"/>
                    <a:pt x="6" y="39"/>
                  </a:cubicBezTo>
                  <a:cubicBezTo>
                    <a:pt x="2" y="42"/>
                    <a:pt x="1" y="42"/>
                    <a:pt x="0" y="46"/>
                  </a:cubicBezTo>
                  <a:cubicBezTo>
                    <a:pt x="0" y="51"/>
                    <a:pt x="5" y="49"/>
                    <a:pt x="11" y="51"/>
                  </a:cubicBezTo>
                  <a:cubicBezTo>
                    <a:pt x="17" y="54"/>
                    <a:pt x="14" y="55"/>
                    <a:pt x="17" y="60"/>
                  </a:cubicBezTo>
                  <a:cubicBezTo>
                    <a:pt x="20" y="64"/>
                    <a:pt x="16" y="66"/>
                    <a:pt x="14" y="71"/>
                  </a:cubicBezTo>
                  <a:cubicBezTo>
                    <a:pt x="13" y="77"/>
                    <a:pt x="14" y="76"/>
                    <a:pt x="19" y="78"/>
                  </a:cubicBezTo>
                  <a:cubicBezTo>
                    <a:pt x="25" y="81"/>
                    <a:pt x="24" y="80"/>
                    <a:pt x="27" y="74"/>
                  </a:cubicBezTo>
                  <a:cubicBezTo>
                    <a:pt x="30" y="68"/>
                    <a:pt x="32" y="71"/>
                    <a:pt x="37" y="64"/>
                  </a:cubicBezTo>
                  <a:cubicBezTo>
                    <a:pt x="43" y="58"/>
                    <a:pt x="43" y="60"/>
                    <a:pt x="44" y="55"/>
                  </a:cubicBezTo>
                  <a:cubicBezTo>
                    <a:pt x="45" y="50"/>
                    <a:pt x="44" y="49"/>
                    <a:pt x="44" y="44"/>
                  </a:cubicBezTo>
                  <a:cubicBezTo>
                    <a:pt x="44" y="38"/>
                    <a:pt x="48" y="42"/>
                    <a:pt x="51" y="42"/>
                  </a:cubicBezTo>
                  <a:cubicBezTo>
                    <a:pt x="55" y="42"/>
                    <a:pt x="55" y="44"/>
                    <a:pt x="54" y="39"/>
                  </a:cubicBezTo>
                  <a:cubicBezTo>
                    <a:pt x="54" y="34"/>
                    <a:pt x="56" y="35"/>
                    <a:pt x="59" y="32"/>
                  </a:cubicBezTo>
                  <a:cubicBezTo>
                    <a:pt x="61" y="29"/>
                    <a:pt x="62" y="30"/>
                    <a:pt x="64" y="25"/>
                  </a:cubicBezTo>
                  <a:cubicBezTo>
                    <a:pt x="66" y="19"/>
                    <a:pt x="66" y="19"/>
                    <a:pt x="60" y="1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05" name="Freeform 164"/>
            <p:cNvSpPr>
              <a:spLocks/>
            </p:cNvSpPr>
            <p:nvPr/>
          </p:nvSpPr>
          <p:spPr bwMode="auto">
            <a:xfrm>
              <a:off x="5810" y="2930"/>
              <a:ext cx="88" cy="76"/>
            </a:xfrm>
            <a:custGeom>
              <a:avLst/>
              <a:gdLst>
                <a:gd name="T0" fmla="*/ 114 w 118"/>
                <a:gd name="T1" fmla="*/ 13 h 102"/>
                <a:gd name="T2" fmla="*/ 101 w 118"/>
                <a:gd name="T3" fmla="*/ 13 h 102"/>
                <a:gd name="T4" fmla="*/ 97 w 118"/>
                <a:gd name="T5" fmla="*/ 13 h 102"/>
                <a:gd name="T6" fmla="*/ 92 w 118"/>
                <a:gd name="T7" fmla="*/ 6 h 102"/>
                <a:gd name="T8" fmla="*/ 86 w 118"/>
                <a:gd name="T9" fmla="*/ 4 h 102"/>
                <a:gd name="T10" fmla="*/ 83 w 118"/>
                <a:gd name="T11" fmla="*/ 11 h 102"/>
                <a:gd name="T12" fmla="*/ 79 w 118"/>
                <a:gd name="T13" fmla="*/ 20 h 102"/>
                <a:gd name="T14" fmla="*/ 69 w 118"/>
                <a:gd name="T15" fmla="*/ 35 h 102"/>
                <a:gd name="T16" fmla="*/ 63 w 118"/>
                <a:gd name="T17" fmla="*/ 43 h 102"/>
                <a:gd name="T18" fmla="*/ 48 w 118"/>
                <a:gd name="T19" fmla="*/ 52 h 102"/>
                <a:gd name="T20" fmla="*/ 34 w 118"/>
                <a:gd name="T21" fmla="*/ 61 h 102"/>
                <a:gd name="T22" fmla="*/ 22 w 118"/>
                <a:gd name="T23" fmla="*/ 73 h 102"/>
                <a:gd name="T24" fmla="*/ 15 w 118"/>
                <a:gd name="T25" fmla="*/ 83 h 102"/>
                <a:gd name="T26" fmla="*/ 8 w 118"/>
                <a:gd name="T27" fmla="*/ 92 h 102"/>
                <a:gd name="T28" fmla="*/ 21 w 118"/>
                <a:gd name="T29" fmla="*/ 97 h 102"/>
                <a:gd name="T30" fmla="*/ 27 w 118"/>
                <a:gd name="T31" fmla="*/ 101 h 102"/>
                <a:gd name="T32" fmla="*/ 31 w 118"/>
                <a:gd name="T33" fmla="*/ 102 h 102"/>
                <a:gd name="T34" fmla="*/ 42 w 118"/>
                <a:gd name="T35" fmla="*/ 102 h 102"/>
                <a:gd name="T36" fmla="*/ 53 w 118"/>
                <a:gd name="T37" fmla="*/ 99 h 102"/>
                <a:gd name="T38" fmla="*/ 59 w 118"/>
                <a:gd name="T39" fmla="*/ 91 h 102"/>
                <a:gd name="T40" fmla="*/ 69 w 118"/>
                <a:gd name="T41" fmla="*/ 77 h 102"/>
                <a:gd name="T42" fmla="*/ 73 w 118"/>
                <a:gd name="T43" fmla="*/ 64 h 102"/>
                <a:gd name="T44" fmla="*/ 79 w 118"/>
                <a:gd name="T45" fmla="*/ 61 h 102"/>
                <a:gd name="T46" fmla="*/ 89 w 118"/>
                <a:gd name="T47" fmla="*/ 56 h 102"/>
                <a:gd name="T48" fmla="*/ 98 w 118"/>
                <a:gd name="T49" fmla="*/ 55 h 102"/>
                <a:gd name="T50" fmla="*/ 93 w 118"/>
                <a:gd name="T51" fmla="*/ 48 h 102"/>
                <a:gd name="T52" fmla="*/ 105 w 118"/>
                <a:gd name="T53" fmla="*/ 35 h 102"/>
                <a:gd name="T54" fmla="*/ 109 w 118"/>
                <a:gd name="T55" fmla="*/ 24 h 102"/>
                <a:gd name="T56" fmla="*/ 114 w 118"/>
                <a:gd name="T57" fmla="*/ 13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8" h="102">
                  <a:moveTo>
                    <a:pt x="114" y="13"/>
                  </a:moveTo>
                  <a:cubicBezTo>
                    <a:pt x="104" y="10"/>
                    <a:pt x="103" y="11"/>
                    <a:pt x="101" y="13"/>
                  </a:cubicBezTo>
                  <a:cubicBezTo>
                    <a:pt x="99" y="15"/>
                    <a:pt x="97" y="13"/>
                    <a:pt x="97" y="13"/>
                  </a:cubicBezTo>
                  <a:cubicBezTo>
                    <a:pt x="97" y="8"/>
                    <a:pt x="95" y="7"/>
                    <a:pt x="92" y="6"/>
                  </a:cubicBezTo>
                  <a:cubicBezTo>
                    <a:pt x="89" y="5"/>
                    <a:pt x="90" y="0"/>
                    <a:pt x="86" y="4"/>
                  </a:cubicBezTo>
                  <a:cubicBezTo>
                    <a:pt x="83" y="8"/>
                    <a:pt x="84" y="6"/>
                    <a:pt x="83" y="11"/>
                  </a:cubicBezTo>
                  <a:cubicBezTo>
                    <a:pt x="82" y="17"/>
                    <a:pt x="81" y="16"/>
                    <a:pt x="79" y="20"/>
                  </a:cubicBezTo>
                  <a:cubicBezTo>
                    <a:pt x="72" y="31"/>
                    <a:pt x="70" y="30"/>
                    <a:pt x="69" y="35"/>
                  </a:cubicBezTo>
                  <a:cubicBezTo>
                    <a:pt x="68" y="39"/>
                    <a:pt x="67" y="39"/>
                    <a:pt x="63" y="43"/>
                  </a:cubicBezTo>
                  <a:cubicBezTo>
                    <a:pt x="59" y="46"/>
                    <a:pt x="56" y="46"/>
                    <a:pt x="48" y="52"/>
                  </a:cubicBezTo>
                  <a:cubicBezTo>
                    <a:pt x="41" y="59"/>
                    <a:pt x="40" y="54"/>
                    <a:pt x="34" y="61"/>
                  </a:cubicBezTo>
                  <a:cubicBezTo>
                    <a:pt x="27" y="68"/>
                    <a:pt x="26" y="66"/>
                    <a:pt x="22" y="73"/>
                  </a:cubicBezTo>
                  <a:cubicBezTo>
                    <a:pt x="18" y="80"/>
                    <a:pt x="20" y="67"/>
                    <a:pt x="15" y="83"/>
                  </a:cubicBezTo>
                  <a:cubicBezTo>
                    <a:pt x="15" y="83"/>
                    <a:pt x="0" y="88"/>
                    <a:pt x="8" y="92"/>
                  </a:cubicBezTo>
                  <a:cubicBezTo>
                    <a:pt x="15" y="97"/>
                    <a:pt x="17" y="95"/>
                    <a:pt x="21" y="97"/>
                  </a:cubicBezTo>
                  <a:cubicBezTo>
                    <a:pt x="25" y="98"/>
                    <a:pt x="24" y="100"/>
                    <a:pt x="27" y="101"/>
                  </a:cubicBezTo>
                  <a:cubicBezTo>
                    <a:pt x="31" y="102"/>
                    <a:pt x="25" y="101"/>
                    <a:pt x="31" y="102"/>
                  </a:cubicBezTo>
                  <a:cubicBezTo>
                    <a:pt x="37" y="102"/>
                    <a:pt x="38" y="101"/>
                    <a:pt x="42" y="102"/>
                  </a:cubicBezTo>
                  <a:cubicBezTo>
                    <a:pt x="47" y="102"/>
                    <a:pt x="51" y="101"/>
                    <a:pt x="53" y="99"/>
                  </a:cubicBezTo>
                  <a:cubicBezTo>
                    <a:pt x="55" y="97"/>
                    <a:pt x="51" y="98"/>
                    <a:pt x="59" y="91"/>
                  </a:cubicBezTo>
                  <a:cubicBezTo>
                    <a:pt x="67" y="84"/>
                    <a:pt x="67" y="82"/>
                    <a:pt x="69" y="77"/>
                  </a:cubicBezTo>
                  <a:cubicBezTo>
                    <a:pt x="71" y="71"/>
                    <a:pt x="70" y="67"/>
                    <a:pt x="73" y="64"/>
                  </a:cubicBezTo>
                  <a:cubicBezTo>
                    <a:pt x="76" y="62"/>
                    <a:pt x="73" y="63"/>
                    <a:pt x="79" y="61"/>
                  </a:cubicBezTo>
                  <a:cubicBezTo>
                    <a:pt x="86" y="58"/>
                    <a:pt x="81" y="58"/>
                    <a:pt x="89" y="56"/>
                  </a:cubicBezTo>
                  <a:cubicBezTo>
                    <a:pt x="98" y="55"/>
                    <a:pt x="95" y="55"/>
                    <a:pt x="98" y="55"/>
                  </a:cubicBezTo>
                  <a:cubicBezTo>
                    <a:pt x="101" y="55"/>
                    <a:pt x="88" y="53"/>
                    <a:pt x="93" y="48"/>
                  </a:cubicBezTo>
                  <a:cubicBezTo>
                    <a:pt x="97" y="43"/>
                    <a:pt x="103" y="39"/>
                    <a:pt x="105" y="35"/>
                  </a:cubicBezTo>
                  <a:cubicBezTo>
                    <a:pt x="108" y="30"/>
                    <a:pt x="106" y="25"/>
                    <a:pt x="109" y="24"/>
                  </a:cubicBezTo>
                  <a:cubicBezTo>
                    <a:pt x="112" y="22"/>
                    <a:pt x="118" y="14"/>
                    <a:pt x="114" y="1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06" name="Freeform 165"/>
            <p:cNvSpPr>
              <a:spLocks/>
            </p:cNvSpPr>
            <p:nvPr/>
          </p:nvSpPr>
          <p:spPr bwMode="auto">
            <a:xfrm>
              <a:off x="5823" y="3009"/>
              <a:ext cx="10" cy="6"/>
            </a:xfrm>
            <a:custGeom>
              <a:avLst/>
              <a:gdLst>
                <a:gd name="T0" fmla="*/ 9 w 13"/>
                <a:gd name="T1" fmla="*/ 0 h 8"/>
                <a:gd name="T2" fmla="*/ 4 w 13"/>
                <a:gd name="T3" fmla="*/ 5 h 8"/>
                <a:gd name="T4" fmla="*/ 10 w 13"/>
                <a:gd name="T5" fmla="*/ 5 h 8"/>
                <a:gd name="T6" fmla="*/ 9 w 13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8">
                  <a:moveTo>
                    <a:pt x="9" y="0"/>
                  </a:moveTo>
                  <a:cubicBezTo>
                    <a:pt x="6" y="0"/>
                    <a:pt x="0" y="3"/>
                    <a:pt x="4" y="5"/>
                  </a:cubicBezTo>
                  <a:cubicBezTo>
                    <a:pt x="7" y="8"/>
                    <a:pt x="7" y="8"/>
                    <a:pt x="10" y="5"/>
                  </a:cubicBezTo>
                  <a:cubicBezTo>
                    <a:pt x="13" y="3"/>
                    <a:pt x="10" y="0"/>
                    <a:pt x="9" y="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07" name="Freeform 166"/>
            <p:cNvSpPr>
              <a:spLocks/>
            </p:cNvSpPr>
            <p:nvPr/>
          </p:nvSpPr>
          <p:spPr bwMode="auto">
            <a:xfrm>
              <a:off x="5594" y="2934"/>
              <a:ext cx="40" cy="37"/>
            </a:xfrm>
            <a:custGeom>
              <a:avLst/>
              <a:gdLst>
                <a:gd name="T0" fmla="*/ 51 w 54"/>
                <a:gd name="T1" fmla="*/ 5 h 50"/>
                <a:gd name="T2" fmla="*/ 45 w 54"/>
                <a:gd name="T3" fmla="*/ 3 h 50"/>
                <a:gd name="T4" fmla="*/ 36 w 54"/>
                <a:gd name="T5" fmla="*/ 7 h 50"/>
                <a:gd name="T6" fmla="*/ 29 w 54"/>
                <a:gd name="T7" fmla="*/ 9 h 50"/>
                <a:gd name="T8" fmla="*/ 25 w 54"/>
                <a:gd name="T9" fmla="*/ 8 h 50"/>
                <a:gd name="T10" fmla="*/ 20 w 54"/>
                <a:gd name="T11" fmla="*/ 6 h 50"/>
                <a:gd name="T12" fmla="*/ 12 w 54"/>
                <a:gd name="T13" fmla="*/ 3 h 50"/>
                <a:gd name="T14" fmla="*/ 7 w 54"/>
                <a:gd name="T15" fmla="*/ 1 h 50"/>
                <a:gd name="T16" fmla="*/ 5 w 54"/>
                <a:gd name="T17" fmla="*/ 3 h 50"/>
                <a:gd name="T18" fmla="*/ 2 w 54"/>
                <a:gd name="T19" fmla="*/ 8 h 50"/>
                <a:gd name="T20" fmla="*/ 7 w 54"/>
                <a:gd name="T21" fmla="*/ 15 h 50"/>
                <a:gd name="T22" fmla="*/ 10 w 54"/>
                <a:gd name="T23" fmla="*/ 23 h 50"/>
                <a:gd name="T24" fmla="*/ 11 w 54"/>
                <a:gd name="T25" fmla="*/ 29 h 50"/>
                <a:gd name="T26" fmla="*/ 11 w 54"/>
                <a:gd name="T27" fmla="*/ 35 h 50"/>
                <a:gd name="T28" fmla="*/ 18 w 54"/>
                <a:gd name="T29" fmla="*/ 42 h 50"/>
                <a:gd name="T30" fmla="*/ 22 w 54"/>
                <a:gd name="T31" fmla="*/ 45 h 50"/>
                <a:gd name="T32" fmla="*/ 27 w 54"/>
                <a:gd name="T33" fmla="*/ 48 h 50"/>
                <a:gd name="T34" fmla="*/ 32 w 54"/>
                <a:gd name="T35" fmla="*/ 48 h 50"/>
                <a:gd name="T36" fmla="*/ 35 w 54"/>
                <a:gd name="T37" fmla="*/ 43 h 50"/>
                <a:gd name="T38" fmla="*/ 39 w 54"/>
                <a:gd name="T39" fmla="*/ 44 h 50"/>
                <a:gd name="T40" fmla="*/ 39 w 54"/>
                <a:gd name="T41" fmla="*/ 38 h 50"/>
                <a:gd name="T42" fmla="*/ 43 w 54"/>
                <a:gd name="T43" fmla="*/ 38 h 50"/>
                <a:gd name="T44" fmla="*/ 48 w 54"/>
                <a:gd name="T45" fmla="*/ 42 h 50"/>
                <a:gd name="T46" fmla="*/ 48 w 54"/>
                <a:gd name="T47" fmla="*/ 34 h 50"/>
                <a:gd name="T48" fmla="*/ 48 w 54"/>
                <a:gd name="T49" fmla="*/ 28 h 50"/>
                <a:gd name="T50" fmla="*/ 51 w 54"/>
                <a:gd name="T51" fmla="*/ 25 h 50"/>
                <a:gd name="T52" fmla="*/ 52 w 54"/>
                <a:gd name="T53" fmla="*/ 17 h 50"/>
                <a:gd name="T54" fmla="*/ 51 w 54"/>
                <a:gd name="T55" fmla="*/ 8 h 50"/>
                <a:gd name="T56" fmla="*/ 51 w 54"/>
                <a:gd name="T57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4" h="50">
                  <a:moveTo>
                    <a:pt x="51" y="5"/>
                  </a:moveTo>
                  <a:cubicBezTo>
                    <a:pt x="49" y="4"/>
                    <a:pt x="46" y="2"/>
                    <a:pt x="45" y="3"/>
                  </a:cubicBezTo>
                  <a:cubicBezTo>
                    <a:pt x="43" y="4"/>
                    <a:pt x="37" y="5"/>
                    <a:pt x="36" y="7"/>
                  </a:cubicBezTo>
                  <a:cubicBezTo>
                    <a:pt x="34" y="8"/>
                    <a:pt x="30" y="9"/>
                    <a:pt x="29" y="9"/>
                  </a:cubicBezTo>
                  <a:cubicBezTo>
                    <a:pt x="28" y="8"/>
                    <a:pt x="28" y="7"/>
                    <a:pt x="25" y="8"/>
                  </a:cubicBezTo>
                  <a:cubicBezTo>
                    <a:pt x="23" y="9"/>
                    <a:pt x="23" y="6"/>
                    <a:pt x="20" y="6"/>
                  </a:cubicBezTo>
                  <a:cubicBezTo>
                    <a:pt x="16" y="6"/>
                    <a:pt x="15" y="4"/>
                    <a:pt x="12" y="3"/>
                  </a:cubicBezTo>
                  <a:cubicBezTo>
                    <a:pt x="9" y="1"/>
                    <a:pt x="8" y="0"/>
                    <a:pt x="7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5" y="5"/>
                    <a:pt x="0" y="4"/>
                    <a:pt x="2" y="8"/>
                  </a:cubicBezTo>
                  <a:cubicBezTo>
                    <a:pt x="3" y="13"/>
                    <a:pt x="3" y="11"/>
                    <a:pt x="7" y="15"/>
                  </a:cubicBezTo>
                  <a:cubicBezTo>
                    <a:pt x="10" y="18"/>
                    <a:pt x="9" y="20"/>
                    <a:pt x="10" y="23"/>
                  </a:cubicBezTo>
                  <a:cubicBezTo>
                    <a:pt x="11" y="27"/>
                    <a:pt x="10" y="25"/>
                    <a:pt x="11" y="29"/>
                  </a:cubicBezTo>
                  <a:cubicBezTo>
                    <a:pt x="12" y="32"/>
                    <a:pt x="7" y="30"/>
                    <a:pt x="11" y="35"/>
                  </a:cubicBezTo>
                  <a:cubicBezTo>
                    <a:pt x="15" y="39"/>
                    <a:pt x="14" y="40"/>
                    <a:pt x="18" y="42"/>
                  </a:cubicBezTo>
                  <a:cubicBezTo>
                    <a:pt x="21" y="44"/>
                    <a:pt x="20" y="44"/>
                    <a:pt x="22" y="45"/>
                  </a:cubicBezTo>
                  <a:cubicBezTo>
                    <a:pt x="25" y="47"/>
                    <a:pt x="24" y="47"/>
                    <a:pt x="27" y="48"/>
                  </a:cubicBezTo>
                  <a:cubicBezTo>
                    <a:pt x="30" y="48"/>
                    <a:pt x="30" y="47"/>
                    <a:pt x="32" y="48"/>
                  </a:cubicBezTo>
                  <a:cubicBezTo>
                    <a:pt x="34" y="50"/>
                    <a:pt x="33" y="43"/>
                    <a:pt x="35" y="43"/>
                  </a:cubicBezTo>
                  <a:cubicBezTo>
                    <a:pt x="38" y="44"/>
                    <a:pt x="38" y="44"/>
                    <a:pt x="39" y="44"/>
                  </a:cubicBezTo>
                  <a:cubicBezTo>
                    <a:pt x="40" y="44"/>
                    <a:pt x="38" y="39"/>
                    <a:pt x="39" y="38"/>
                  </a:cubicBezTo>
                  <a:cubicBezTo>
                    <a:pt x="41" y="37"/>
                    <a:pt x="42" y="36"/>
                    <a:pt x="43" y="38"/>
                  </a:cubicBezTo>
                  <a:cubicBezTo>
                    <a:pt x="44" y="41"/>
                    <a:pt x="45" y="42"/>
                    <a:pt x="48" y="42"/>
                  </a:cubicBezTo>
                  <a:cubicBezTo>
                    <a:pt x="50" y="41"/>
                    <a:pt x="47" y="36"/>
                    <a:pt x="48" y="34"/>
                  </a:cubicBezTo>
                  <a:cubicBezTo>
                    <a:pt x="48" y="33"/>
                    <a:pt x="47" y="30"/>
                    <a:pt x="48" y="28"/>
                  </a:cubicBezTo>
                  <a:cubicBezTo>
                    <a:pt x="50" y="26"/>
                    <a:pt x="50" y="28"/>
                    <a:pt x="51" y="25"/>
                  </a:cubicBezTo>
                  <a:cubicBezTo>
                    <a:pt x="52" y="22"/>
                    <a:pt x="52" y="20"/>
                    <a:pt x="52" y="17"/>
                  </a:cubicBezTo>
                  <a:cubicBezTo>
                    <a:pt x="52" y="14"/>
                    <a:pt x="52" y="11"/>
                    <a:pt x="51" y="8"/>
                  </a:cubicBezTo>
                  <a:cubicBezTo>
                    <a:pt x="51" y="5"/>
                    <a:pt x="54" y="6"/>
                    <a:pt x="51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08" name="Freeform 167"/>
            <p:cNvSpPr>
              <a:spLocks/>
            </p:cNvSpPr>
            <p:nvPr/>
          </p:nvSpPr>
          <p:spPr bwMode="auto">
            <a:xfrm>
              <a:off x="5626" y="2923"/>
              <a:ext cx="9" cy="8"/>
            </a:xfrm>
            <a:custGeom>
              <a:avLst/>
              <a:gdLst>
                <a:gd name="T0" fmla="*/ 7 w 12"/>
                <a:gd name="T1" fmla="*/ 3 h 11"/>
                <a:gd name="T2" fmla="*/ 2 w 12"/>
                <a:gd name="T3" fmla="*/ 1 h 11"/>
                <a:gd name="T4" fmla="*/ 4 w 12"/>
                <a:gd name="T5" fmla="*/ 5 h 11"/>
                <a:gd name="T6" fmla="*/ 7 w 12"/>
                <a:gd name="T7" fmla="*/ 10 h 11"/>
                <a:gd name="T8" fmla="*/ 10 w 12"/>
                <a:gd name="T9" fmla="*/ 6 h 11"/>
                <a:gd name="T10" fmla="*/ 7 w 12"/>
                <a:gd name="T1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7" y="3"/>
                  </a:moveTo>
                  <a:cubicBezTo>
                    <a:pt x="6" y="2"/>
                    <a:pt x="3" y="0"/>
                    <a:pt x="2" y="1"/>
                  </a:cubicBezTo>
                  <a:cubicBezTo>
                    <a:pt x="0" y="3"/>
                    <a:pt x="3" y="3"/>
                    <a:pt x="4" y="5"/>
                  </a:cubicBezTo>
                  <a:cubicBezTo>
                    <a:pt x="6" y="6"/>
                    <a:pt x="4" y="11"/>
                    <a:pt x="7" y="10"/>
                  </a:cubicBezTo>
                  <a:cubicBezTo>
                    <a:pt x="12" y="9"/>
                    <a:pt x="12" y="8"/>
                    <a:pt x="10" y="6"/>
                  </a:cubicBezTo>
                  <a:cubicBezTo>
                    <a:pt x="8" y="4"/>
                    <a:pt x="8" y="4"/>
                    <a:pt x="7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09" name="Freeform 168"/>
            <p:cNvSpPr>
              <a:spLocks/>
            </p:cNvSpPr>
            <p:nvPr/>
          </p:nvSpPr>
          <p:spPr bwMode="auto">
            <a:xfrm>
              <a:off x="5513" y="2875"/>
              <a:ext cx="15" cy="7"/>
            </a:xfrm>
            <a:custGeom>
              <a:avLst/>
              <a:gdLst>
                <a:gd name="T0" fmla="*/ 18 w 21"/>
                <a:gd name="T1" fmla="*/ 2 h 9"/>
                <a:gd name="T2" fmla="*/ 12 w 21"/>
                <a:gd name="T3" fmla="*/ 1 h 9"/>
                <a:gd name="T4" fmla="*/ 4 w 21"/>
                <a:gd name="T5" fmla="*/ 3 h 9"/>
                <a:gd name="T6" fmla="*/ 2 w 21"/>
                <a:gd name="T7" fmla="*/ 6 h 9"/>
                <a:gd name="T8" fmla="*/ 8 w 21"/>
                <a:gd name="T9" fmla="*/ 7 h 9"/>
                <a:gd name="T10" fmla="*/ 13 w 21"/>
                <a:gd name="T11" fmla="*/ 6 h 9"/>
                <a:gd name="T12" fmla="*/ 19 w 21"/>
                <a:gd name="T13" fmla="*/ 5 h 9"/>
                <a:gd name="T14" fmla="*/ 18 w 21"/>
                <a:gd name="T15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9">
                  <a:moveTo>
                    <a:pt x="18" y="2"/>
                  </a:moveTo>
                  <a:cubicBezTo>
                    <a:pt x="16" y="1"/>
                    <a:pt x="14" y="0"/>
                    <a:pt x="12" y="1"/>
                  </a:cubicBezTo>
                  <a:cubicBezTo>
                    <a:pt x="10" y="1"/>
                    <a:pt x="4" y="3"/>
                    <a:pt x="4" y="3"/>
                  </a:cubicBezTo>
                  <a:cubicBezTo>
                    <a:pt x="3" y="4"/>
                    <a:pt x="0" y="5"/>
                    <a:pt x="2" y="6"/>
                  </a:cubicBezTo>
                  <a:cubicBezTo>
                    <a:pt x="4" y="8"/>
                    <a:pt x="6" y="9"/>
                    <a:pt x="8" y="7"/>
                  </a:cubicBezTo>
                  <a:cubicBezTo>
                    <a:pt x="10" y="6"/>
                    <a:pt x="9" y="6"/>
                    <a:pt x="13" y="6"/>
                  </a:cubicBezTo>
                  <a:cubicBezTo>
                    <a:pt x="17" y="6"/>
                    <a:pt x="18" y="7"/>
                    <a:pt x="19" y="5"/>
                  </a:cubicBezTo>
                  <a:cubicBezTo>
                    <a:pt x="20" y="2"/>
                    <a:pt x="21" y="2"/>
                    <a:pt x="18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10" name="Freeform 169"/>
            <p:cNvSpPr>
              <a:spLocks/>
            </p:cNvSpPr>
            <p:nvPr/>
          </p:nvSpPr>
          <p:spPr bwMode="auto">
            <a:xfrm>
              <a:off x="5586" y="2922"/>
              <a:ext cx="6" cy="7"/>
            </a:xfrm>
            <a:custGeom>
              <a:avLst/>
              <a:gdLst>
                <a:gd name="T0" fmla="*/ 7 w 8"/>
                <a:gd name="T1" fmla="*/ 4 h 10"/>
                <a:gd name="T2" fmla="*/ 4 w 8"/>
                <a:gd name="T3" fmla="*/ 2 h 10"/>
                <a:gd name="T4" fmla="*/ 2 w 8"/>
                <a:gd name="T5" fmla="*/ 6 h 10"/>
                <a:gd name="T6" fmla="*/ 5 w 8"/>
                <a:gd name="T7" fmla="*/ 9 h 10"/>
                <a:gd name="T8" fmla="*/ 7 w 8"/>
                <a:gd name="T9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0">
                  <a:moveTo>
                    <a:pt x="7" y="4"/>
                  </a:moveTo>
                  <a:cubicBezTo>
                    <a:pt x="7" y="2"/>
                    <a:pt x="7" y="3"/>
                    <a:pt x="4" y="2"/>
                  </a:cubicBezTo>
                  <a:cubicBezTo>
                    <a:pt x="2" y="0"/>
                    <a:pt x="0" y="3"/>
                    <a:pt x="2" y="6"/>
                  </a:cubicBezTo>
                  <a:cubicBezTo>
                    <a:pt x="3" y="8"/>
                    <a:pt x="2" y="10"/>
                    <a:pt x="5" y="9"/>
                  </a:cubicBezTo>
                  <a:cubicBezTo>
                    <a:pt x="8" y="8"/>
                    <a:pt x="6" y="6"/>
                    <a:pt x="7" y="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11" name="Freeform 170"/>
            <p:cNvSpPr>
              <a:spLocks/>
            </p:cNvSpPr>
            <p:nvPr/>
          </p:nvSpPr>
          <p:spPr bwMode="auto">
            <a:xfrm>
              <a:off x="5450" y="2503"/>
              <a:ext cx="208" cy="107"/>
            </a:xfrm>
            <a:custGeom>
              <a:avLst/>
              <a:gdLst>
                <a:gd name="T0" fmla="*/ 186 w 279"/>
                <a:gd name="T1" fmla="*/ 48 h 144"/>
                <a:gd name="T2" fmla="*/ 156 w 279"/>
                <a:gd name="T3" fmla="*/ 37 h 144"/>
                <a:gd name="T4" fmla="*/ 145 w 279"/>
                <a:gd name="T5" fmla="*/ 30 h 144"/>
                <a:gd name="T6" fmla="*/ 124 w 279"/>
                <a:gd name="T7" fmla="*/ 24 h 144"/>
                <a:gd name="T8" fmla="*/ 106 w 279"/>
                <a:gd name="T9" fmla="*/ 16 h 144"/>
                <a:gd name="T10" fmla="*/ 93 w 279"/>
                <a:gd name="T11" fmla="*/ 19 h 144"/>
                <a:gd name="T12" fmla="*/ 86 w 279"/>
                <a:gd name="T13" fmla="*/ 25 h 144"/>
                <a:gd name="T14" fmla="*/ 71 w 279"/>
                <a:gd name="T15" fmla="*/ 39 h 144"/>
                <a:gd name="T16" fmla="*/ 58 w 279"/>
                <a:gd name="T17" fmla="*/ 32 h 144"/>
                <a:gd name="T18" fmla="*/ 53 w 279"/>
                <a:gd name="T19" fmla="*/ 20 h 144"/>
                <a:gd name="T20" fmla="*/ 48 w 279"/>
                <a:gd name="T21" fmla="*/ 6 h 144"/>
                <a:gd name="T22" fmla="*/ 28 w 279"/>
                <a:gd name="T23" fmla="*/ 0 h 144"/>
                <a:gd name="T24" fmla="*/ 12 w 279"/>
                <a:gd name="T25" fmla="*/ 9 h 144"/>
                <a:gd name="T26" fmla="*/ 9 w 279"/>
                <a:gd name="T27" fmla="*/ 13 h 144"/>
                <a:gd name="T28" fmla="*/ 22 w 279"/>
                <a:gd name="T29" fmla="*/ 18 h 144"/>
                <a:gd name="T30" fmla="*/ 33 w 279"/>
                <a:gd name="T31" fmla="*/ 25 h 144"/>
                <a:gd name="T32" fmla="*/ 47 w 279"/>
                <a:gd name="T33" fmla="*/ 27 h 144"/>
                <a:gd name="T34" fmla="*/ 41 w 279"/>
                <a:gd name="T35" fmla="*/ 28 h 144"/>
                <a:gd name="T36" fmla="*/ 29 w 279"/>
                <a:gd name="T37" fmla="*/ 31 h 144"/>
                <a:gd name="T38" fmla="*/ 31 w 279"/>
                <a:gd name="T39" fmla="*/ 39 h 144"/>
                <a:gd name="T40" fmla="*/ 38 w 279"/>
                <a:gd name="T41" fmla="*/ 51 h 144"/>
                <a:gd name="T42" fmla="*/ 45 w 279"/>
                <a:gd name="T43" fmla="*/ 43 h 144"/>
                <a:gd name="T44" fmla="*/ 48 w 279"/>
                <a:gd name="T45" fmla="*/ 46 h 144"/>
                <a:gd name="T46" fmla="*/ 61 w 279"/>
                <a:gd name="T47" fmla="*/ 49 h 144"/>
                <a:gd name="T48" fmla="*/ 68 w 279"/>
                <a:gd name="T49" fmla="*/ 55 h 144"/>
                <a:gd name="T50" fmla="*/ 86 w 279"/>
                <a:gd name="T51" fmla="*/ 61 h 144"/>
                <a:gd name="T52" fmla="*/ 103 w 279"/>
                <a:gd name="T53" fmla="*/ 68 h 144"/>
                <a:gd name="T54" fmla="*/ 113 w 279"/>
                <a:gd name="T55" fmla="*/ 84 h 144"/>
                <a:gd name="T56" fmla="*/ 114 w 279"/>
                <a:gd name="T57" fmla="*/ 93 h 144"/>
                <a:gd name="T58" fmla="*/ 103 w 279"/>
                <a:gd name="T59" fmla="*/ 102 h 144"/>
                <a:gd name="T60" fmla="*/ 115 w 279"/>
                <a:gd name="T61" fmla="*/ 109 h 144"/>
                <a:gd name="T62" fmla="*/ 121 w 279"/>
                <a:gd name="T63" fmla="*/ 106 h 144"/>
                <a:gd name="T64" fmla="*/ 133 w 279"/>
                <a:gd name="T65" fmla="*/ 105 h 144"/>
                <a:gd name="T66" fmla="*/ 144 w 279"/>
                <a:gd name="T67" fmla="*/ 118 h 144"/>
                <a:gd name="T68" fmla="*/ 155 w 279"/>
                <a:gd name="T69" fmla="*/ 123 h 144"/>
                <a:gd name="T70" fmla="*/ 171 w 279"/>
                <a:gd name="T71" fmla="*/ 123 h 144"/>
                <a:gd name="T72" fmla="*/ 176 w 279"/>
                <a:gd name="T73" fmla="*/ 114 h 144"/>
                <a:gd name="T74" fmla="*/ 169 w 279"/>
                <a:gd name="T75" fmla="*/ 111 h 144"/>
                <a:gd name="T76" fmla="*/ 180 w 279"/>
                <a:gd name="T77" fmla="*/ 107 h 144"/>
                <a:gd name="T78" fmla="*/ 190 w 279"/>
                <a:gd name="T79" fmla="*/ 103 h 144"/>
                <a:gd name="T80" fmla="*/ 204 w 279"/>
                <a:gd name="T81" fmla="*/ 105 h 144"/>
                <a:gd name="T82" fmla="*/ 218 w 279"/>
                <a:gd name="T83" fmla="*/ 116 h 144"/>
                <a:gd name="T84" fmla="*/ 228 w 279"/>
                <a:gd name="T85" fmla="*/ 126 h 144"/>
                <a:gd name="T86" fmla="*/ 237 w 279"/>
                <a:gd name="T87" fmla="*/ 134 h 144"/>
                <a:gd name="T88" fmla="*/ 252 w 279"/>
                <a:gd name="T89" fmla="*/ 136 h 144"/>
                <a:gd name="T90" fmla="*/ 268 w 279"/>
                <a:gd name="T91" fmla="*/ 141 h 144"/>
                <a:gd name="T92" fmla="*/ 276 w 279"/>
                <a:gd name="T93" fmla="*/ 140 h 144"/>
                <a:gd name="T94" fmla="*/ 270 w 279"/>
                <a:gd name="T95" fmla="*/ 135 h 144"/>
                <a:gd name="T96" fmla="*/ 258 w 279"/>
                <a:gd name="T97" fmla="*/ 127 h 144"/>
                <a:gd name="T98" fmla="*/ 252 w 279"/>
                <a:gd name="T99" fmla="*/ 120 h 144"/>
                <a:gd name="T100" fmla="*/ 242 w 279"/>
                <a:gd name="T101" fmla="*/ 109 h 144"/>
                <a:gd name="T102" fmla="*/ 230 w 279"/>
                <a:gd name="T103" fmla="*/ 97 h 144"/>
                <a:gd name="T104" fmla="*/ 236 w 279"/>
                <a:gd name="T105" fmla="*/ 88 h 144"/>
                <a:gd name="T106" fmla="*/ 232 w 279"/>
                <a:gd name="T107" fmla="*/ 79 h 144"/>
                <a:gd name="T108" fmla="*/ 214 w 279"/>
                <a:gd name="T109" fmla="*/ 7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9" h="144">
                  <a:moveTo>
                    <a:pt x="209" y="64"/>
                  </a:moveTo>
                  <a:cubicBezTo>
                    <a:pt x="204" y="59"/>
                    <a:pt x="199" y="57"/>
                    <a:pt x="199" y="57"/>
                  </a:cubicBezTo>
                  <a:cubicBezTo>
                    <a:pt x="198" y="54"/>
                    <a:pt x="194" y="52"/>
                    <a:pt x="193" y="51"/>
                  </a:cubicBezTo>
                  <a:cubicBezTo>
                    <a:pt x="192" y="51"/>
                    <a:pt x="187" y="49"/>
                    <a:pt x="186" y="48"/>
                  </a:cubicBezTo>
                  <a:cubicBezTo>
                    <a:pt x="185" y="48"/>
                    <a:pt x="182" y="46"/>
                    <a:pt x="180" y="45"/>
                  </a:cubicBezTo>
                  <a:cubicBezTo>
                    <a:pt x="178" y="45"/>
                    <a:pt x="177" y="44"/>
                    <a:pt x="173" y="42"/>
                  </a:cubicBezTo>
                  <a:cubicBezTo>
                    <a:pt x="168" y="41"/>
                    <a:pt x="167" y="42"/>
                    <a:pt x="165" y="41"/>
                  </a:cubicBezTo>
                  <a:cubicBezTo>
                    <a:pt x="164" y="41"/>
                    <a:pt x="157" y="37"/>
                    <a:pt x="156" y="37"/>
                  </a:cubicBezTo>
                  <a:cubicBezTo>
                    <a:pt x="154" y="36"/>
                    <a:pt x="152" y="34"/>
                    <a:pt x="150" y="34"/>
                  </a:cubicBezTo>
                  <a:cubicBezTo>
                    <a:pt x="149" y="33"/>
                    <a:pt x="147" y="33"/>
                    <a:pt x="146" y="33"/>
                  </a:cubicBezTo>
                  <a:cubicBezTo>
                    <a:pt x="146" y="30"/>
                    <a:pt x="146" y="30"/>
                    <a:pt x="146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3" y="31"/>
                    <a:pt x="141" y="30"/>
                  </a:cubicBezTo>
                  <a:cubicBezTo>
                    <a:pt x="139" y="29"/>
                    <a:pt x="141" y="27"/>
                    <a:pt x="138" y="27"/>
                  </a:cubicBezTo>
                  <a:cubicBezTo>
                    <a:pt x="136" y="27"/>
                    <a:pt x="134" y="26"/>
                    <a:pt x="131" y="26"/>
                  </a:cubicBezTo>
                  <a:cubicBezTo>
                    <a:pt x="128" y="26"/>
                    <a:pt x="127" y="25"/>
                    <a:pt x="124" y="24"/>
                  </a:cubicBezTo>
                  <a:cubicBezTo>
                    <a:pt x="122" y="23"/>
                    <a:pt x="122" y="19"/>
                    <a:pt x="120" y="20"/>
                  </a:cubicBezTo>
                  <a:cubicBezTo>
                    <a:pt x="117" y="20"/>
                    <a:pt x="116" y="19"/>
                    <a:pt x="114" y="19"/>
                  </a:cubicBezTo>
                  <a:cubicBezTo>
                    <a:pt x="112" y="19"/>
                    <a:pt x="112" y="18"/>
                    <a:pt x="110" y="17"/>
                  </a:cubicBezTo>
                  <a:cubicBezTo>
                    <a:pt x="108" y="17"/>
                    <a:pt x="107" y="17"/>
                    <a:pt x="106" y="16"/>
                  </a:cubicBezTo>
                  <a:cubicBezTo>
                    <a:pt x="105" y="16"/>
                    <a:pt x="104" y="14"/>
                    <a:pt x="103" y="14"/>
                  </a:cubicBezTo>
                  <a:cubicBezTo>
                    <a:pt x="102" y="15"/>
                    <a:pt x="102" y="14"/>
                    <a:pt x="101" y="14"/>
                  </a:cubicBezTo>
                  <a:cubicBezTo>
                    <a:pt x="100" y="15"/>
                    <a:pt x="97" y="16"/>
                    <a:pt x="96" y="17"/>
                  </a:cubicBezTo>
                  <a:cubicBezTo>
                    <a:pt x="95" y="19"/>
                    <a:pt x="93" y="18"/>
                    <a:pt x="93" y="19"/>
                  </a:cubicBezTo>
                  <a:cubicBezTo>
                    <a:pt x="93" y="20"/>
                    <a:pt x="93" y="21"/>
                    <a:pt x="93" y="21"/>
                  </a:cubicBezTo>
                  <a:cubicBezTo>
                    <a:pt x="93" y="22"/>
                    <a:pt x="92" y="23"/>
                    <a:pt x="92" y="23"/>
                  </a:cubicBezTo>
                  <a:cubicBezTo>
                    <a:pt x="89" y="26"/>
                    <a:pt x="89" y="26"/>
                    <a:pt x="88" y="26"/>
                  </a:cubicBezTo>
                  <a:cubicBezTo>
                    <a:pt x="87" y="26"/>
                    <a:pt x="87" y="25"/>
                    <a:pt x="86" y="25"/>
                  </a:cubicBezTo>
                  <a:cubicBezTo>
                    <a:pt x="85" y="26"/>
                    <a:pt x="83" y="26"/>
                    <a:pt x="83" y="26"/>
                  </a:cubicBezTo>
                  <a:cubicBezTo>
                    <a:pt x="81" y="30"/>
                    <a:pt x="79" y="30"/>
                    <a:pt x="78" y="32"/>
                  </a:cubicBezTo>
                  <a:cubicBezTo>
                    <a:pt x="76" y="34"/>
                    <a:pt x="75" y="33"/>
                    <a:pt x="74" y="36"/>
                  </a:cubicBezTo>
                  <a:cubicBezTo>
                    <a:pt x="73" y="38"/>
                    <a:pt x="72" y="38"/>
                    <a:pt x="71" y="39"/>
                  </a:cubicBezTo>
                  <a:cubicBezTo>
                    <a:pt x="70" y="40"/>
                    <a:pt x="70" y="39"/>
                    <a:pt x="68" y="40"/>
                  </a:cubicBezTo>
                  <a:cubicBezTo>
                    <a:pt x="65" y="40"/>
                    <a:pt x="62" y="39"/>
                    <a:pt x="62" y="39"/>
                  </a:cubicBezTo>
                  <a:cubicBezTo>
                    <a:pt x="61" y="38"/>
                    <a:pt x="61" y="38"/>
                    <a:pt x="61" y="36"/>
                  </a:cubicBezTo>
                  <a:cubicBezTo>
                    <a:pt x="60" y="35"/>
                    <a:pt x="58" y="33"/>
                    <a:pt x="58" y="32"/>
                  </a:cubicBezTo>
                  <a:cubicBezTo>
                    <a:pt x="57" y="31"/>
                    <a:pt x="56" y="29"/>
                    <a:pt x="56" y="28"/>
                  </a:cubicBezTo>
                  <a:cubicBezTo>
                    <a:pt x="55" y="28"/>
                    <a:pt x="56" y="24"/>
                    <a:pt x="54" y="26"/>
                  </a:cubicBezTo>
                  <a:cubicBezTo>
                    <a:pt x="54" y="24"/>
                    <a:pt x="54" y="23"/>
                    <a:pt x="53" y="21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3" y="20"/>
                    <a:pt x="53" y="19"/>
                    <a:pt x="54" y="18"/>
                  </a:cubicBezTo>
                  <a:cubicBezTo>
                    <a:pt x="57" y="14"/>
                    <a:pt x="54" y="18"/>
                    <a:pt x="54" y="13"/>
                  </a:cubicBezTo>
                  <a:cubicBezTo>
                    <a:pt x="54" y="8"/>
                    <a:pt x="54" y="10"/>
                    <a:pt x="54" y="7"/>
                  </a:cubicBezTo>
                  <a:cubicBezTo>
                    <a:pt x="54" y="4"/>
                    <a:pt x="49" y="6"/>
                    <a:pt x="48" y="6"/>
                  </a:cubicBezTo>
                  <a:cubicBezTo>
                    <a:pt x="47" y="6"/>
                    <a:pt x="44" y="6"/>
                    <a:pt x="44" y="6"/>
                  </a:cubicBezTo>
                  <a:cubicBezTo>
                    <a:pt x="44" y="6"/>
                    <a:pt x="40" y="4"/>
                    <a:pt x="39" y="2"/>
                  </a:cubicBezTo>
                  <a:cubicBezTo>
                    <a:pt x="37" y="0"/>
                    <a:pt x="37" y="1"/>
                    <a:pt x="36" y="1"/>
                  </a:cubicBezTo>
                  <a:cubicBezTo>
                    <a:pt x="34" y="1"/>
                    <a:pt x="30" y="1"/>
                    <a:pt x="28" y="0"/>
                  </a:cubicBezTo>
                  <a:cubicBezTo>
                    <a:pt x="26" y="0"/>
                    <a:pt x="24" y="3"/>
                    <a:pt x="23" y="4"/>
                  </a:cubicBezTo>
                  <a:cubicBezTo>
                    <a:pt x="21" y="5"/>
                    <a:pt x="21" y="4"/>
                    <a:pt x="19" y="4"/>
                  </a:cubicBezTo>
                  <a:cubicBezTo>
                    <a:pt x="18" y="4"/>
                    <a:pt x="15" y="7"/>
                    <a:pt x="15" y="7"/>
                  </a:cubicBezTo>
                  <a:cubicBezTo>
                    <a:pt x="15" y="7"/>
                    <a:pt x="14" y="11"/>
                    <a:pt x="12" y="9"/>
                  </a:cubicBezTo>
                  <a:cubicBezTo>
                    <a:pt x="10" y="8"/>
                    <a:pt x="12" y="9"/>
                    <a:pt x="10" y="6"/>
                  </a:cubicBezTo>
                  <a:cubicBezTo>
                    <a:pt x="8" y="3"/>
                    <a:pt x="7" y="5"/>
                    <a:pt x="3" y="6"/>
                  </a:cubicBezTo>
                  <a:cubicBezTo>
                    <a:pt x="0" y="7"/>
                    <a:pt x="2" y="7"/>
                    <a:pt x="5" y="10"/>
                  </a:cubicBezTo>
                  <a:cubicBezTo>
                    <a:pt x="5" y="11"/>
                    <a:pt x="9" y="13"/>
                    <a:pt x="9" y="13"/>
                  </a:cubicBezTo>
                  <a:cubicBezTo>
                    <a:pt x="9" y="13"/>
                    <a:pt x="10" y="15"/>
                    <a:pt x="12" y="16"/>
                  </a:cubicBezTo>
                  <a:cubicBezTo>
                    <a:pt x="13" y="17"/>
                    <a:pt x="12" y="16"/>
                    <a:pt x="15" y="16"/>
                  </a:cubicBezTo>
                  <a:cubicBezTo>
                    <a:pt x="18" y="16"/>
                    <a:pt x="18" y="16"/>
                    <a:pt x="19" y="16"/>
                  </a:cubicBezTo>
                  <a:cubicBezTo>
                    <a:pt x="19" y="16"/>
                    <a:pt x="21" y="17"/>
                    <a:pt x="22" y="18"/>
                  </a:cubicBezTo>
                  <a:cubicBezTo>
                    <a:pt x="24" y="18"/>
                    <a:pt x="23" y="20"/>
                    <a:pt x="23" y="22"/>
                  </a:cubicBezTo>
                  <a:cubicBezTo>
                    <a:pt x="23" y="23"/>
                    <a:pt x="24" y="24"/>
                    <a:pt x="25" y="26"/>
                  </a:cubicBezTo>
                  <a:cubicBezTo>
                    <a:pt x="26" y="27"/>
                    <a:pt x="27" y="27"/>
                    <a:pt x="28" y="26"/>
                  </a:cubicBezTo>
                  <a:cubicBezTo>
                    <a:pt x="29" y="26"/>
                    <a:pt x="32" y="26"/>
                    <a:pt x="33" y="25"/>
                  </a:cubicBezTo>
                  <a:cubicBezTo>
                    <a:pt x="35" y="25"/>
                    <a:pt x="33" y="25"/>
                    <a:pt x="36" y="27"/>
                  </a:cubicBezTo>
                  <a:cubicBezTo>
                    <a:pt x="38" y="28"/>
                    <a:pt x="37" y="28"/>
                    <a:pt x="39" y="27"/>
                  </a:cubicBezTo>
                  <a:cubicBezTo>
                    <a:pt x="41" y="26"/>
                    <a:pt x="42" y="27"/>
                    <a:pt x="44" y="26"/>
                  </a:cubicBezTo>
                  <a:cubicBezTo>
                    <a:pt x="46" y="24"/>
                    <a:pt x="47" y="26"/>
                    <a:pt x="47" y="27"/>
                  </a:cubicBezTo>
                  <a:cubicBezTo>
                    <a:pt x="48" y="27"/>
                    <a:pt x="49" y="27"/>
                    <a:pt x="49" y="27"/>
                  </a:cubicBezTo>
                  <a:cubicBezTo>
                    <a:pt x="49" y="27"/>
                    <a:pt x="48" y="27"/>
                    <a:pt x="48" y="28"/>
                  </a:cubicBezTo>
                  <a:cubicBezTo>
                    <a:pt x="46" y="29"/>
                    <a:pt x="48" y="29"/>
                    <a:pt x="45" y="29"/>
                  </a:cubicBezTo>
                  <a:cubicBezTo>
                    <a:pt x="42" y="29"/>
                    <a:pt x="43" y="28"/>
                    <a:pt x="41" y="28"/>
                  </a:cubicBezTo>
                  <a:cubicBezTo>
                    <a:pt x="40" y="29"/>
                    <a:pt x="38" y="29"/>
                    <a:pt x="38" y="29"/>
                  </a:cubicBezTo>
                  <a:cubicBezTo>
                    <a:pt x="38" y="29"/>
                    <a:pt x="35" y="30"/>
                    <a:pt x="35" y="31"/>
                  </a:cubicBezTo>
                  <a:cubicBezTo>
                    <a:pt x="35" y="33"/>
                    <a:pt x="35" y="34"/>
                    <a:pt x="32" y="34"/>
                  </a:cubicBezTo>
                  <a:cubicBezTo>
                    <a:pt x="30" y="34"/>
                    <a:pt x="31" y="31"/>
                    <a:pt x="29" y="31"/>
                  </a:cubicBezTo>
                  <a:cubicBezTo>
                    <a:pt x="27" y="31"/>
                    <a:pt x="27" y="29"/>
                    <a:pt x="27" y="31"/>
                  </a:cubicBezTo>
                  <a:cubicBezTo>
                    <a:pt x="25" y="34"/>
                    <a:pt x="24" y="34"/>
                    <a:pt x="25" y="35"/>
                  </a:cubicBezTo>
                  <a:cubicBezTo>
                    <a:pt x="27" y="36"/>
                    <a:pt x="27" y="36"/>
                    <a:pt x="28" y="37"/>
                  </a:cubicBezTo>
                  <a:cubicBezTo>
                    <a:pt x="30" y="37"/>
                    <a:pt x="30" y="37"/>
                    <a:pt x="31" y="39"/>
                  </a:cubicBezTo>
                  <a:cubicBezTo>
                    <a:pt x="33" y="40"/>
                    <a:pt x="32" y="40"/>
                    <a:pt x="33" y="41"/>
                  </a:cubicBezTo>
                  <a:cubicBezTo>
                    <a:pt x="34" y="43"/>
                    <a:pt x="34" y="44"/>
                    <a:pt x="34" y="46"/>
                  </a:cubicBezTo>
                  <a:cubicBezTo>
                    <a:pt x="34" y="47"/>
                    <a:pt x="35" y="47"/>
                    <a:pt x="35" y="49"/>
                  </a:cubicBezTo>
                  <a:cubicBezTo>
                    <a:pt x="35" y="50"/>
                    <a:pt x="35" y="50"/>
                    <a:pt x="38" y="51"/>
                  </a:cubicBezTo>
                  <a:cubicBezTo>
                    <a:pt x="40" y="51"/>
                    <a:pt x="40" y="51"/>
                    <a:pt x="41" y="51"/>
                  </a:cubicBezTo>
                  <a:cubicBezTo>
                    <a:pt x="42" y="51"/>
                    <a:pt x="42" y="51"/>
                    <a:pt x="43" y="50"/>
                  </a:cubicBezTo>
                  <a:cubicBezTo>
                    <a:pt x="45" y="48"/>
                    <a:pt x="44" y="46"/>
                    <a:pt x="44" y="46"/>
                  </a:cubicBezTo>
                  <a:cubicBezTo>
                    <a:pt x="45" y="45"/>
                    <a:pt x="45" y="44"/>
                    <a:pt x="45" y="43"/>
                  </a:cubicBezTo>
                  <a:cubicBezTo>
                    <a:pt x="46" y="41"/>
                    <a:pt x="45" y="40"/>
                    <a:pt x="46" y="40"/>
                  </a:cubicBezTo>
                  <a:cubicBezTo>
                    <a:pt x="49" y="38"/>
                    <a:pt x="50" y="35"/>
                    <a:pt x="49" y="38"/>
                  </a:cubicBezTo>
                  <a:cubicBezTo>
                    <a:pt x="49" y="41"/>
                    <a:pt x="48" y="41"/>
                    <a:pt x="48" y="42"/>
                  </a:cubicBezTo>
                  <a:cubicBezTo>
                    <a:pt x="47" y="45"/>
                    <a:pt x="48" y="45"/>
                    <a:pt x="48" y="46"/>
                  </a:cubicBezTo>
                  <a:cubicBezTo>
                    <a:pt x="49" y="47"/>
                    <a:pt x="49" y="48"/>
                    <a:pt x="51" y="47"/>
                  </a:cubicBezTo>
                  <a:cubicBezTo>
                    <a:pt x="53" y="47"/>
                    <a:pt x="53" y="47"/>
                    <a:pt x="54" y="48"/>
                  </a:cubicBezTo>
                  <a:cubicBezTo>
                    <a:pt x="55" y="50"/>
                    <a:pt x="55" y="49"/>
                    <a:pt x="56" y="49"/>
                  </a:cubicBezTo>
                  <a:cubicBezTo>
                    <a:pt x="58" y="49"/>
                    <a:pt x="61" y="48"/>
                    <a:pt x="61" y="49"/>
                  </a:cubicBezTo>
                  <a:cubicBezTo>
                    <a:pt x="61" y="50"/>
                    <a:pt x="62" y="51"/>
                    <a:pt x="61" y="52"/>
                  </a:cubicBezTo>
                  <a:cubicBezTo>
                    <a:pt x="61" y="52"/>
                    <a:pt x="61" y="53"/>
                    <a:pt x="62" y="54"/>
                  </a:cubicBezTo>
                  <a:cubicBezTo>
                    <a:pt x="63" y="54"/>
                    <a:pt x="64" y="55"/>
                    <a:pt x="64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9" y="56"/>
                    <a:pt x="70" y="56"/>
                  </a:cubicBezTo>
                  <a:cubicBezTo>
                    <a:pt x="72" y="56"/>
                    <a:pt x="74" y="58"/>
                    <a:pt x="76" y="57"/>
                  </a:cubicBezTo>
                  <a:cubicBezTo>
                    <a:pt x="79" y="57"/>
                    <a:pt x="79" y="57"/>
                    <a:pt x="81" y="59"/>
                  </a:cubicBezTo>
                  <a:cubicBezTo>
                    <a:pt x="83" y="61"/>
                    <a:pt x="85" y="60"/>
                    <a:pt x="86" y="61"/>
                  </a:cubicBezTo>
                  <a:cubicBezTo>
                    <a:pt x="88" y="62"/>
                    <a:pt x="90" y="62"/>
                    <a:pt x="91" y="62"/>
                  </a:cubicBezTo>
                  <a:cubicBezTo>
                    <a:pt x="92" y="63"/>
                    <a:pt x="93" y="63"/>
                    <a:pt x="94" y="63"/>
                  </a:cubicBezTo>
                  <a:cubicBezTo>
                    <a:pt x="96" y="64"/>
                    <a:pt x="98" y="64"/>
                    <a:pt x="99" y="65"/>
                  </a:cubicBezTo>
                  <a:cubicBezTo>
                    <a:pt x="99" y="65"/>
                    <a:pt x="104" y="66"/>
                    <a:pt x="103" y="68"/>
                  </a:cubicBezTo>
                  <a:cubicBezTo>
                    <a:pt x="103" y="69"/>
                    <a:pt x="105" y="71"/>
                    <a:pt x="105" y="72"/>
                  </a:cubicBezTo>
                  <a:cubicBezTo>
                    <a:pt x="106" y="74"/>
                    <a:pt x="106" y="75"/>
                    <a:pt x="107" y="75"/>
                  </a:cubicBezTo>
                  <a:cubicBezTo>
                    <a:pt x="110" y="79"/>
                    <a:pt x="111" y="80"/>
                    <a:pt x="111" y="81"/>
                  </a:cubicBezTo>
                  <a:cubicBezTo>
                    <a:pt x="111" y="82"/>
                    <a:pt x="113" y="84"/>
                    <a:pt x="113" y="84"/>
                  </a:cubicBezTo>
                  <a:cubicBezTo>
                    <a:pt x="113" y="85"/>
                    <a:pt x="113" y="85"/>
                    <a:pt x="116" y="87"/>
                  </a:cubicBezTo>
                  <a:cubicBezTo>
                    <a:pt x="119" y="90"/>
                    <a:pt x="120" y="90"/>
                    <a:pt x="118" y="92"/>
                  </a:cubicBezTo>
                  <a:cubicBezTo>
                    <a:pt x="117" y="93"/>
                    <a:pt x="115" y="92"/>
                    <a:pt x="115" y="92"/>
                  </a:cubicBezTo>
                  <a:cubicBezTo>
                    <a:pt x="115" y="92"/>
                    <a:pt x="114" y="90"/>
                    <a:pt x="114" y="93"/>
                  </a:cubicBezTo>
                  <a:cubicBezTo>
                    <a:pt x="114" y="94"/>
                    <a:pt x="114" y="94"/>
                    <a:pt x="114" y="94"/>
                  </a:cubicBezTo>
                  <a:cubicBezTo>
                    <a:pt x="112" y="94"/>
                    <a:pt x="110" y="94"/>
                    <a:pt x="109" y="95"/>
                  </a:cubicBezTo>
                  <a:cubicBezTo>
                    <a:pt x="107" y="97"/>
                    <a:pt x="106" y="96"/>
                    <a:pt x="104" y="98"/>
                  </a:cubicBezTo>
                  <a:cubicBezTo>
                    <a:pt x="103" y="100"/>
                    <a:pt x="104" y="98"/>
                    <a:pt x="103" y="102"/>
                  </a:cubicBezTo>
                  <a:cubicBezTo>
                    <a:pt x="101" y="106"/>
                    <a:pt x="100" y="104"/>
                    <a:pt x="100" y="107"/>
                  </a:cubicBezTo>
                  <a:cubicBezTo>
                    <a:pt x="100" y="110"/>
                    <a:pt x="100" y="109"/>
                    <a:pt x="102" y="109"/>
                  </a:cubicBezTo>
                  <a:cubicBezTo>
                    <a:pt x="103" y="109"/>
                    <a:pt x="105" y="108"/>
                    <a:pt x="108" y="109"/>
                  </a:cubicBezTo>
                  <a:cubicBezTo>
                    <a:pt x="110" y="109"/>
                    <a:pt x="113" y="109"/>
                    <a:pt x="115" y="109"/>
                  </a:cubicBezTo>
                  <a:cubicBezTo>
                    <a:pt x="116" y="109"/>
                    <a:pt x="118" y="110"/>
                    <a:pt x="118" y="108"/>
                  </a:cubicBezTo>
                  <a:cubicBezTo>
                    <a:pt x="119" y="106"/>
                    <a:pt x="120" y="106"/>
                    <a:pt x="120" y="105"/>
                  </a:cubicBezTo>
                  <a:cubicBezTo>
                    <a:pt x="119" y="104"/>
                    <a:pt x="119" y="103"/>
                    <a:pt x="119" y="103"/>
                  </a:cubicBezTo>
                  <a:cubicBezTo>
                    <a:pt x="119" y="103"/>
                    <a:pt x="120" y="105"/>
                    <a:pt x="121" y="106"/>
                  </a:cubicBezTo>
                  <a:cubicBezTo>
                    <a:pt x="123" y="106"/>
                    <a:pt x="121" y="104"/>
                    <a:pt x="123" y="106"/>
                  </a:cubicBezTo>
                  <a:cubicBezTo>
                    <a:pt x="124" y="108"/>
                    <a:pt x="125" y="108"/>
                    <a:pt x="126" y="107"/>
                  </a:cubicBezTo>
                  <a:cubicBezTo>
                    <a:pt x="127" y="107"/>
                    <a:pt x="126" y="107"/>
                    <a:pt x="129" y="106"/>
                  </a:cubicBezTo>
                  <a:cubicBezTo>
                    <a:pt x="133" y="105"/>
                    <a:pt x="132" y="103"/>
                    <a:pt x="133" y="105"/>
                  </a:cubicBezTo>
                  <a:cubicBezTo>
                    <a:pt x="133" y="107"/>
                    <a:pt x="133" y="108"/>
                    <a:pt x="135" y="109"/>
                  </a:cubicBezTo>
                  <a:cubicBezTo>
                    <a:pt x="136" y="111"/>
                    <a:pt x="137" y="111"/>
                    <a:pt x="138" y="112"/>
                  </a:cubicBezTo>
                  <a:cubicBezTo>
                    <a:pt x="139" y="113"/>
                    <a:pt x="142" y="115"/>
                    <a:pt x="142" y="116"/>
                  </a:cubicBezTo>
                  <a:cubicBezTo>
                    <a:pt x="142" y="118"/>
                    <a:pt x="143" y="116"/>
                    <a:pt x="144" y="118"/>
                  </a:cubicBezTo>
                  <a:cubicBezTo>
                    <a:pt x="144" y="119"/>
                    <a:pt x="145" y="120"/>
                    <a:pt x="146" y="120"/>
                  </a:cubicBezTo>
                  <a:cubicBezTo>
                    <a:pt x="146" y="123"/>
                    <a:pt x="146" y="123"/>
                    <a:pt x="146" y="123"/>
                  </a:cubicBezTo>
                  <a:cubicBezTo>
                    <a:pt x="147" y="124"/>
                    <a:pt x="149" y="124"/>
                    <a:pt x="149" y="124"/>
                  </a:cubicBezTo>
                  <a:cubicBezTo>
                    <a:pt x="151" y="124"/>
                    <a:pt x="155" y="123"/>
                    <a:pt x="155" y="123"/>
                  </a:cubicBezTo>
                  <a:cubicBezTo>
                    <a:pt x="158" y="123"/>
                    <a:pt x="158" y="123"/>
                    <a:pt x="158" y="123"/>
                  </a:cubicBezTo>
                  <a:cubicBezTo>
                    <a:pt x="158" y="123"/>
                    <a:pt x="161" y="123"/>
                    <a:pt x="162" y="123"/>
                  </a:cubicBezTo>
                  <a:cubicBezTo>
                    <a:pt x="165" y="124"/>
                    <a:pt x="167" y="125"/>
                    <a:pt x="168" y="124"/>
                  </a:cubicBezTo>
                  <a:cubicBezTo>
                    <a:pt x="169" y="124"/>
                    <a:pt x="170" y="123"/>
                    <a:pt x="171" y="123"/>
                  </a:cubicBezTo>
                  <a:cubicBezTo>
                    <a:pt x="173" y="122"/>
                    <a:pt x="175" y="121"/>
                    <a:pt x="175" y="121"/>
                  </a:cubicBezTo>
                  <a:cubicBezTo>
                    <a:pt x="176" y="121"/>
                    <a:pt x="177" y="121"/>
                    <a:pt x="178" y="120"/>
                  </a:cubicBezTo>
                  <a:cubicBezTo>
                    <a:pt x="178" y="119"/>
                    <a:pt x="179" y="119"/>
                    <a:pt x="179" y="118"/>
                  </a:cubicBezTo>
                  <a:cubicBezTo>
                    <a:pt x="177" y="114"/>
                    <a:pt x="177" y="114"/>
                    <a:pt x="176" y="114"/>
                  </a:cubicBezTo>
                  <a:cubicBezTo>
                    <a:pt x="175" y="114"/>
                    <a:pt x="172" y="114"/>
                    <a:pt x="172" y="114"/>
                  </a:cubicBezTo>
                  <a:cubicBezTo>
                    <a:pt x="172" y="114"/>
                    <a:pt x="167" y="112"/>
                    <a:pt x="166" y="112"/>
                  </a:cubicBezTo>
                  <a:cubicBezTo>
                    <a:pt x="162" y="109"/>
                    <a:pt x="162" y="109"/>
                    <a:pt x="162" y="109"/>
                  </a:cubicBezTo>
                  <a:cubicBezTo>
                    <a:pt x="162" y="109"/>
                    <a:pt x="166" y="110"/>
                    <a:pt x="169" y="111"/>
                  </a:cubicBezTo>
                  <a:cubicBezTo>
                    <a:pt x="171" y="112"/>
                    <a:pt x="172" y="112"/>
                    <a:pt x="174" y="113"/>
                  </a:cubicBezTo>
                  <a:cubicBezTo>
                    <a:pt x="175" y="113"/>
                    <a:pt x="177" y="112"/>
                    <a:pt x="178" y="112"/>
                  </a:cubicBezTo>
                  <a:cubicBezTo>
                    <a:pt x="178" y="112"/>
                    <a:pt x="180" y="112"/>
                    <a:pt x="180" y="110"/>
                  </a:cubicBezTo>
                  <a:cubicBezTo>
                    <a:pt x="180" y="107"/>
                    <a:pt x="176" y="107"/>
                    <a:pt x="180" y="107"/>
                  </a:cubicBezTo>
                  <a:cubicBezTo>
                    <a:pt x="183" y="108"/>
                    <a:pt x="185" y="107"/>
                    <a:pt x="185" y="107"/>
                  </a:cubicBezTo>
                  <a:cubicBezTo>
                    <a:pt x="186" y="104"/>
                    <a:pt x="186" y="104"/>
                    <a:pt x="186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90" y="103"/>
                    <a:pt x="190" y="103"/>
                    <a:pt x="190" y="103"/>
                  </a:cubicBezTo>
                  <a:cubicBezTo>
                    <a:pt x="191" y="101"/>
                    <a:pt x="189" y="101"/>
                    <a:pt x="191" y="101"/>
                  </a:cubicBezTo>
                  <a:cubicBezTo>
                    <a:pt x="193" y="102"/>
                    <a:pt x="196" y="101"/>
                    <a:pt x="196" y="102"/>
                  </a:cubicBezTo>
                  <a:cubicBezTo>
                    <a:pt x="197" y="104"/>
                    <a:pt x="198" y="103"/>
                    <a:pt x="199" y="103"/>
                  </a:cubicBezTo>
                  <a:cubicBezTo>
                    <a:pt x="202" y="105"/>
                    <a:pt x="203" y="104"/>
                    <a:pt x="204" y="105"/>
                  </a:cubicBezTo>
                  <a:cubicBezTo>
                    <a:pt x="204" y="105"/>
                    <a:pt x="206" y="105"/>
                    <a:pt x="206" y="105"/>
                  </a:cubicBezTo>
                  <a:cubicBezTo>
                    <a:pt x="207" y="106"/>
                    <a:pt x="209" y="104"/>
                    <a:pt x="210" y="105"/>
                  </a:cubicBezTo>
                  <a:cubicBezTo>
                    <a:pt x="213" y="108"/>
                    <a:pt x="217" y="111"/>
                    <a:pt x="217" y="113"/>
                  </a:cubicBezTo>
                  <a:cubicBezTo>
                    <a:pt x="217" y="114"/>
                    <a:pt x="217" y="115"/>
                    <a:pt x="218" y="116"/>
                  </a:cubicBezTo>
                  <a:cubicBezTo>
                    <a:pt x="220" y="116"/>
                    <a:pt x="222" y="117"/>
                    <a:pt x="222" y="118"/>
                  </a:cubicBezTo>
                  <a:cubicBezTo>
                    <a:pt x="222" y="121"/>
                    <a:pt x="224" y="121"/>
                    <a:pt x="224" y="122"/>
                  </a:cubicBezTo>
                  <a:cubicBezTo>
                    <a:pt x="224" y="123"/>
                    <a:pt x="224" y="124"/>
                    <a:pt x="225" y="125"/>
                  </a:cubicBezTo>
                  <a:cubicBezTo>
                    <a:pt x="226" y="125"/>
                    <a:pt x="228" y="126"/>
                    <a:pt x="228" y="126"/>
                  </a:cubicBezTo>
                  <a:cubicBezTo>
                    <a:pt x="228" y="127"/>
                    <a:pt x="228" y="128"/>
                    <a:pt x="228" y="129"/>
                  </a:cubicBezTo>
                  <a:cubicBezTo>
                    <a:pt x="229" y="130"/>
                    <a:pt x="231" y="129"/>
                    <a:pt x="232" y="130"/>
                  </a:cubicBezTo>
                  <a:cubicBezTo>
                    <a:pt x="233" y="131"/>
                    <a:pt x="233" y="132"/>
                    <a:pt x="234" y="133"/>
                  </a:cubicBezTo>
                  <a:cubicBezTo>
                    <a:pt x="235" y="133"/>
                    <a:pt x="236" y="133"/>
                    <a:pt x="237" y="134"/>
                  </a:cubicBezTo>
                  <a:cubicBezTo>
                    <a:pt x="237" y="135"/>
                    <a:pt x="240" y="135"/>
                    <a:pt x="240" y="135"/>
                  </a:cubicBezTo>
                  <a:cubicBezTo>
                    <a:pt x="241" y="135"/>
                    <a:pt x="243" y="135"/>
                    <a:pt x="244" y="135"/>
                  </a:cubicBezTo>
                  <a:cubicBezTo>
                    <a:pt x="245" y="135"/>
                    <a:pt x="245" y="134"/>
                    <a:pt x="246" y="135"/>
                  </a:cubicBezTo>
                  <a:cubicBezTo>
                    <a:pt x="247" y="136"/>
                    <a:pt x="250" y="135"/>
                    <a:pt x="252" y="136"/>
                  </a:cubicBezTo>
                  <a:cubicBezTo>
                    <a:pt x="253" y="137"/>
                    <a:pt x="256" y="138"/>
                    <a:pt x="258" y="138"/>
                  </a:cubicBezTo>
                  <a:cubicBezTo>
                    <a:pt x="260" y="139"/>
                    <a:pt x="260" y="139"/>
                    <a:pt x="263" y="138"/>
                  </a:cubicBezTo>
                  <a:cubicBezTo>
                    <a:pt x="265" y="138"/>
                    <a:pt x="263" y="137"/>
                    <a:pt x="265" y="138"/>
                  </a:cubicBezTo>
                  <a:cubicBezTo>
                    <a:pt x="267" y="139"/>
                    <a:pt x="268" y="140"/>
                    <a:pt x="268" y="141"/>
                  </a:cubicBezTo>
                  <a:cubicBezTo>
                    <a:pt x="269" y="142"/>
                    <a:pt x="269" y="142"/>
                    <a:pt x="270" y="143"/>
                  </a:cubicBezTo>
                  <a:cubicBezTo>
                    <a:pt x="271" y="144"/>
                    <a:pt x="273" y="144"/>
                    <a:pt x="273" y="144"/>
                  </a:cubicBezTo>
                  <a:cubicBezTo>
                    <a:pt x="274" y="143"/>
                    <a:pt x="276" y="144"/>
                    <a:pt x="276" y="142"/>
                  </a:cubicBezTo>
                  <a:cubicBezTo>
                    <a:pt x="276" y="140"/>
                    <a:pt x="275" y="142"/>
                    <a:pt x="276" y="140"/>
                  </a:cubicBezTo>
                  <a:cubicBezTo>
                    <a:pt x="278" y="138"/>
                    <a:pt x="274" y="142"/>
                    <a:pt x="277" y="139"/>
                  </a:cubicBezTo>
                  <a:cubicBezTo>
                    <a:pt x="279" y="136"/>
                    <a:pt x="279" y="135"/>
                    <a:pt x="277" y="136"/>
                  </a:cubicBezTo>
                  <a:cubicBezTo>
                    <a:pt x="276" y="136"/>
                    <a:pt x="273" y="136"/>
                    <a:pt x="273" y="136"/>
                  </a:cubicBezTo>
                  <a:cubicBezTo>
                    <a:pt x="270" y="135"/>
                    <a:pt x="270" y="135"/>
                    <a:pt x="270" y="135"/>
                  </a:cubicBezTo>
                  <a:cubicBezTo>
                    <a:pt x="270" y="135"/>
                    <a:pt x="268" y="135"/>
                    <a:pt x="267" y="134"/>
                  </a:cubicBezTo>
                  <a:cubicBezTo>
                    <a:pt x="267" y="133"/>
                    <a:pt x="265" y="132"/>
                    <a:pt x="265" y="131"/>
                  </a:cubicBezTo>
                  <a:cubicBezTo>
                    <a:pt x="265" y="131"/>
                    <a:pt x="263" y="128"/>
                    <a:pt x="262" y="128"/>
                  </a:cubicBezTo>
                  <a:cubicBezTo>
                    <a:pt x="261" y="128"/>
                    <a:pt x="258" y="128"/>
                    <a:pt x="258" y="127"/>
                  </a:cubicBezTo>
                  <a:cubicBezTo>
                    <a:pt x="257" y="127"/>
                    <a:pt x="257" y="126"/>
                    <a:pt x="257" y="125"/>
                  </a:cubicBezTo>
                  <a:cubicBezTo>
                    <a:pt x="257" y="124"/>
                    <a:pt x="257" y="122"/>
                    <a:pt x="256" y="122"/>
                  </a:cubicBezTo>
                  <a:cubicBezTo>
                    <a:pt x="255" y="121"/>
                    <a:pt x="255" y="118"/>
                    <a:pt x="253" y="119"/>
                  </a:cubicBezTo>
                  <a:cubicBezTo>
                    <a:pt x="252" y="120"/>
                    <a:pt x="254" y="120"/>
                    <a:pt x="252" y="120"/>
                  </a:cubicBezTo>
                  <a:cubicBezTo>
                    <a:pt x="250" y="121"/>
                    <a:pt x="249" y="121"/>
                    <a:pt x="249" y="120"/>
                  </a:cubicBezTo>
                  <a:cubicBezTo>
                    <a:pt x="249" y="119"/>
                    <a:pt x="249" y="118"/>
                    <a:pt x="247" y="116"/>
                  </a:cubicBezTo>
                  <a:cubicBezTo>
                    <a:pt x="246" y="115"/>
                    <a:pt x="247" y="112"/>
                    <a:pt x="244" y="111"/>
                  </a:cubicBezTo>
                  <a:cubicBezTo>
                    <a:pt x="242" y="111"/>
                    <a:pt x="241" y="110"/>
                    <a:pt x="242" y="109"/>
                  </a:cubicBezTo>
                  <a:cubicBezTo>
                    <a:pt x="242" y="107"/>
                    <a:pt x="241" y="106"/>
                    <a:pt x="240" y="106"/>
                  </a:cubicBezTo>
                  <a:cubicBezTo>
                    <a:pt x="239" y="106"/>
                    <a:pt x="236" y="104"/>
                    <a:pt x="235" y="104"/>
                  </a:cubicBezTo>
                  <a:cubicBezTo>
                    <a:pt x="234" y="103"/>
                    <a:pt x="232" y="102"/>
                    <a:pt x="231" y="100"/>
                  </a:cubicBezTo>
                  <a:cubicBezTo>
                    <a:pt x="231" y="99"/>
                    <a:pt x="231" y="97"/>
                    <a:pt x="230" y="97"/>
                  </a:cubicBezTo>
                  <a:cubicBezTo>
                    <a:pt x="229" y="97"/>
                    <a:pt x="227" y="96"/>
                    <a:pt x="227" y="94"/>
                  </a:cubicBezTo>
                  <a:cubicBezTo>
                    <a:pt x="226" y="92"/>
                    <a:pt x="225" y="92"/>
                    <a:pt x="226" y="91"/>
                  </a:cubicBezTo>
                  <a:cubicBezTo>
                    <a:pt x="228" y="90"/>
                    <a:pt x="223" y="89"/>
                    <a:pt x="229" y="89"/>
                  </a:cubicBezTo>
                  <a:cubicBezTo>
                    <a:pt x="235" y="89"/>
                    <a:pt x="234" y="89"/>
                    <a:pt x="236" y="88"/>
                  </a:cubicBezTo>
                  <a:cubicBezTo>
                    <a:pt x="237" y="87"/>
                    <a:pt x="238" y="87"/>
                    <a:pt x="238" y="86"/>
                  </a:cubicBezTo>
                  <a:cubicBezTo>
                    <a:pt x="238" y="85"/>
                    <a:pt x="238" y="84"/>
                    <a:pt x="237" y="84"/>
                  </a:cubicBezTo>
                  <a:cubicBezTo>
                    <a:pt x="236" y="83"/>
                    <a:pt x="236" y="82"/>
                    <a:pt x="234" y="82"/>
                  </a:cubicBezTo>
                  <a:cubicBezTo>
                    <a:pt x="233" y="81"/>
                    <a:pt x="234" y="80"/>
                    <a:pt x="232" y="79"/>
                  </a:cubicBezTo>
                  <a:cubicBezTo>
                    <a:pt x="230" y="78"/>
                    <a:pt x="228" y="77"/>
                    <a:pt x="225" y="76"/>
                  </a:cubicBezTo>
                  <a:cubicBezTo>
                    <a:pt x="222" y="75"/>
                    <a:pt x="218" y="75"/>
                    <a:pt x="218" y="75"/>
                  </a:cubicBezTo>
                  <a:cubicBezTo>
                    <a:pt x="217" y="74"/>
                    <a:pt x="217" y="74"/>
                    <a:pt x="217" y="72"/>
                  </a:cubicBezTo>
                  <a:cubicBezTo>
                    <a:pt x="216" y="71"/>
                    <a:pt x="216" y="70"/>
                    <a:pt x="214" y="70"/>
                  </a:cubicBezTo>
                  <a:cubicBezTo>
                    <a:pt x="212" y="69"/>
                    <a:pt x="212" y="69"/>
                    <a:pt x="211" y="68"/>
                  </a:cubicBezTo>
                  <a:cubicBezTo>
                    <a:pt x="210" y="67"/>
                    <a:pt x="213" y="69"/>
                    <a:pt x="209" y="6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12" name="Freeform 171"/>
            <p:cNvSpPr>
              <a:spLocks/>
            </p:cNvSpPr>
            <p:nvPr/>
          </p:nvSpPr>
          <p:spPr bwMode="auto">
            <a:xfrm>
              <a:off x="4077" y="1830"/>
              <a:ext cx="84" cy="119"/>
            </a:xfrm>
            <a:custGeom>
              <a:avLst/>
              <a:gdLst>
                <a:gd name="T0" fmla="*/ 6 w 112"/>
                <a:gd name="T1" fmla="*/ 42 h 161"/>
                <a:gd name="T2" fmla="*/ 8 w 112"/>
                <a:gd name="T3" fmla="*/ 44 h 161"/>
                <a:gd name="T4" fmla="*/ 11 w 112"/>
                <a:gd name="T5" fmla="*/ 39 h 161"/>
                <a:gd name="T6" fmla="*/ 11 w 112"/>
                <a:gd name="T7" fmla="*/ 44 h 161"/>
                <a:gd name="T8" fmla="*/ 7 w 112"/>
                <a:gd name="T9" fmla="*/ 51 h 161"/>
                <a:gd name="T10" fmla="*/ 16 w 112"/>
                <a:gd name="T11" fmla="*/ 48 h 161"/>
                <a:gd name="T12" fmla="*/ 19 w 112"/>
                <a:gd name="T13" fmla="*/ 55 h 161"/>
                <a:gd name="T14" fmla="*/ 22 w 112"/>
                <a:gd name="T15" fmla="*/ 60 h 161"/>
                <a:gd name="T16" fmla="*/ 16 w 112"/>
                <a:gd name="T17" fmla="*/ 69 h 161"/>
                <a:gd name="T18" fmla="*/ 26 w 112"/>
                <a:gd name="T19" fmla="*/ 74 h 161"/>
                <a:gd name="T20" fmla="*/ 32 w 112"/>
                <a:gd name="T21" fmla="*/ 73 h 161"/>
                <a:gd name="T22" fmla="*/ 40 w 112"/>
                <a:gd name="T23" fmla="*/ 72 h 161"/>
                <a:gd name="T24" fmla="*/ 38 w 112"/>
                <a:gd name="T25" fmla="*/ 80 h 161"/>
                <a:gd name="T26" fmla="*/ 45 w 112"/>
                <a:gd name="T27" fmla="*/ 86 h 161"/>
                <a:gd name="T28" fmla="*/ 44 w 112"/>
                <a:gd name="T29" fmla="*/ 94 h 161"/>
                <a:gd name="T30" fmla="*/ 39 w 112"/>
                <a:gd name="T31" fmla="*/ 100 h 161"/>
                <a:gd name="T32" fmla="*/ 31 w 112"/>
                <a:gd name="T33" fmla="*/ 102 h 161"/>
                <a:gd name="T34" fmla="*/ 28 w 112"/>
                <a:gd name="T35" fmla="*/ 108 h 161"/>
                <a:gd name="T36" fmla="*/ 30 w 112"/>
                <a:gd name="T37" fmla="*/ 117 h 161"/>
                <a:gd name="T38" fmla="*/ 22 w 112"/>
                <a:gd name="T39" fmla="*/ 123 h 161"/>
                <a:gd name="T40" fmla="*/ 18 w 112"/>
                <a:gd name="T41" fmla="*/ 132 h 161"/>
                <a:gd name="T42" fmla="*/ 29 w 112"/>
                <a:gd name="T43" fmla="*/ 132 h 161"/>
                <a:gd name="T44" fmla="*/ 39 w 112"/>
                <a:gd name="T45" fmla="*/ 136 h 161"/>
                <a:gd name="T46" fmla="*/ 48 w 112"/>
                <a:gd name="T47" fmla="*/ 132 h 161"/>
                <a:gd name="T48" fmla="*/ 45 w 112"/>
                <a:gd name="T49" fmla="*/ 139 h 161"/>
                <a:gd name="T50" fmla="*/ 37 w 112"/>
                <a:gd name="T51" fmla="*/ 139 h 161"/>
                <a:gd name="T52" fmla="*/ 26 w 112"/>
                <a:gd name="T53" fmla="*/ 144 h 161"/>
                <a:gd name="T54" fmla="*/ 15 w 112"/>
                <a:gd name="T55" fmla="*/ 155 h 161"/>
                <a:gd name="T56" fmla="*/ 16 w 112"/>
                <a:gd name="T57" fmla="*/ 160 h 161"/>
                <a:gd name="T58" fmla="*/ 26 w 112"/>
                <a:gd name="T59" fmla="*/ 154 h 161"/>
                <a:gd name="T60" fmla="*/ 37 w 112"/>
                <a:gd name="T61" fmla="*/ 155 h 161"/>
                <a:gd name="T62" fmla="*/ 45 w 112"/>
                <a:gd name="T63" fmla="*/ 150 h 161"/>
                <a:gd name="T64" fmla="*/ 60 w 112"/>
                <a:gd name="T65" fmla="*/ 147 h 161"/>
                <a:gd name="T66" fmla="*/ 74 w 112"/>
                <a:gd name="T67" fmla="*/ 147 h 161"/>
                <a:gd name="T68" fmla="*/ 100 w 112"/>
                <a:gd name="T69" fmla="*/ 144 h 161"/>
                <a:gd name="T70" fmla="*/ 99 w 112"/>
                <a:gd name="T71" fmla="*/ 137 h 161"/>
                <a:gd name="T72" fmla="*/ 102 w 112"/>
                <a:gd name="T73" fmla="*/ 129 h 161"/>
                <a:gd name="T74" fmla="*/ 110 w 112"/>
                <a:gd name="T75" fmla="*/ 118 h 161"/>
                <a:gd name="T76" fmla="*/ 103 w 112"/>
                <a:gd name="T77" fmla="*/ 108 h 161"/>
                <a:gd name="T78" fmla="*/ 89 w 112"/>
                <a:gd name="T79" fmla="*/ 108 h 161"/>
                <a:gd name="T80" fmla="*/ 90 w 112"/>
                <a:gd name="T81" fmla="*/ 99 h 161"/>
                <a:gd name="T82" fmla="*/ 83 w 112"/>
                <a:gd name="T83" fmla="*/ 89 h 161"/>
                <a:gd name="T84" fmla="*/ 80 w 112"/>
                <a:gd name="T85" fmla="*/ 80 h 161"/>
                <a:gd name="T86" fmla="*/ 68 w 112"/>
                <a:gd name="T87" fmla="*/ 71 h 161"/>
                <a:gd name="T88" fmla="*/ 62 w 112"/>
                <a:gd name="T89" fmla="*/ 59 h 161"/>
                <a:gd name="T90" fmla="*/ 56 w 112"/>
                <a:gd name="T91" fmla="*/ 53 h 161"/>
                <a:gd name="T92" fmla="*/ 49 w 112"/>
                <a:gd name="T93" fmla="*/ 50 h 161"/>
                <a:gd name="T94" fmla="*/ 46 w 112"/>
                <a:gd name="T95" fmla="*/ 47 h 161"/>
                <a:gd name="T96" fmla="*/ 51 w 112"/>
                <a:gd name="T97" fmla="*/ 40 h 161"/>
                <a:gd name="T98" fmla="*/ 58 w 112"/>
                <a:gd name="T99" fmla="*/ 30 h 161"/>
                <a:gd name="T100" fmla="*/ 61 w 112"/>
                <a:gd name="T101" fmla="*/ 20 h 161"/>
                <a:gd name="T102" fmla="*/ 50 w 112"/>
                <a:gd name="T103" fmla="*/ 17 h 161"/>
                <a:gd name="T104" fmla="*/ 34 w 112"/>
                <a:gd name="T105" fmla="*/ 20 h 161"/>
                <a:gd name="T106" fmla="*/ 34 w 112"/>
                <a:gd name="T107" fmla="*/ 13 h 161"/>
                <a:gd name="T108" fmla="*/ 41 w 112"/>
                <a:gd name="T109" fmla="*/ 1 h 161"/>
                <a:gd name="T110" fmla="*/ 18 w 112"/>
                <a:gd name="T111" fmla="*/ 0 h 161"/>
                <a:gd name="T112" fmla="*/ 8 w 112"/>
                <a:gd name="T113" fmla="*/ 15 h 161"/>
                <a:gd name="T114" fmla="*/ 7 w 112"/>
                <a:gd name="T115" fmla="*/ 35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2" h="161">
                  <a:moveTo>
                    <a:pt x="3" y="42"/>
                  </a:moveTo>
                  <a:cubicBezTo>
                    <a:pt x="4" y="42"/>
                    <a:pt x="4" y="42"/>
                    <a:pt x="4" y="42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6" y="42"/>
                    <a:pt x="6" y="42"/>
                    <a:pt x="6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3" y="45"/>
                    <a:pt x="4" y="45"/>
                  </a:cubicBezTo>
                  <a:cubicBezTo>
                    <a:pt x="5" y="45"/>
                    <a:pt x="6" y="45"/>
                    <a:pt x="6" y="45"/>
                  </a:cubicBezTo>
                  <a:cubicBezTo>
                    <a:pt x="7" y="45"/>
                    <a:pt x="8" y="44"/>
                    <a:pt x="8" y="44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0" y="40"/>
                    <a:pt x="10" y="40"/>
                    <a:pt x="10" y="40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4" y="38"/>
                    <a:pt x="15" y="39"/>
                    <a:pt x="15" y="39"/>
                  </a:cubicBezTo>
                  <a:cubicBezTo>
                    <a:pt x="15" y="39"/>
                    <a:pt x="15" y="40"/>
                    <a:pt x="15" y="41"/>
                  </a:cubicBezTo>
                  <a:cubicBezTo>
                    <a:pt x="14" y="41"/>
                    <a:pt x="11" y="44"/>
                    <a:pt x="11" y="44"/>
                  </a:cubicBezTo>
                  <a:cubicBezTo>
                    <a:pt x="11" y="45"/>
                    <a:pt x="11" y="44"/>
                    <a:pt x="11" y="46"/>
                  </a:cubicBezTo>
                  <a:cubicBezTo>
                    <a:pt x="11" y="47"/>
                    <a:pt x="9" y="47"/>
                    <a:pt x="8" y="48"/>
                  </a:cubicBezTo>
                  <a:cubicBezTo>
                    <a:pt x="8" y="49"/>
                    <a:pt x="8" y="47"/>
                    <a:pt x="8" y="49"/>
                  </a:cubicBezTo>
                  <a:cubicBezTo>
                    <a:pt x="8" y="50"/>
                    <a:pt x="7" y="51"/>
                    <a:pt x="7" y="51"/>
                  </a:cubicBezTo>
                  <a:cubicBezTo>
                    <a:pt x="8" y="51"/>
                    <a:pt x="9" y="51"/>
                    <a:pt x="10" y="51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5" y="50"/>
                    <a:pt x="16" y="49"/>
                    <a:pt x="16" y="48"/>
                  </a:cubicBezTo>
                  <a:cubicBezTo>
                    <a:pt x="17" y="47"/>
                    <a:pt x="18" y="46"/>
                    <a:pt x="18" y="47"/>
                  </a:cubicBezTo>
                  <a:cubicBezTo>
                    <a:pt x="18" y="47"/>
                    <a:pt x="20" y="49"/>
                    <a:pt x="20" y="49"/>
                  </a:cubicBezTo>
                  <a:cubicBezTo>
                    <a:pt x="20" y="50"/>
                    <a:pt x="19" y="51"/>
                    <a:pt x="19" y="52"/>
                  </a:cubicBezTo>
                  <a:cubicBezTo>
                    <a:pt x="19" y="53"/>
                    <a:pt x="18" y="55"/>
                    <a:pt x="19" y="55"/>
                  </a:cubicBezTo>
                  <a:cubicBezTo>
                    <a:pt x="19" y="55"/>
                    <a:pt x="21" y="56"/>
                    <a:pt x="21" y="56"/>
                  </a:cubicBezTo>
                  <a:cubicBezTo>
                    <a:pt x="21" y="57"/>
                    <a:pt x="22" y="57"/>
                    <a:pt x="22" y="58"/>
                  </a:cubicBezTo>
                  <a:cubicBezTo>
                    <a:pt x="21" y="59"/>
                    <a:pt x="21" y="59"/>
                    <a:pt x="21" y="59"/>
                  </a:cubicBezTo>
                  <a:cubicBezTo>
                    <a:pt x="21" y="59"/>
                    <a:pt x="22" y="59"/>
                    <a:pt x="22" y="60"/>
                  </a:cubicBezTo>
                  <a:cubicBezTo>
                    <a:pt x="22" y="60"/>
                    <a:pt x="22" y="62"/>
                    <a:pt x="21" y="62"/>
                  </a:cubicBezTo>
                  <a:cubicBezTo>
                    <a:pt x="20" y="63"/>
                    <a:pt x="19" y="65"/>
                    <a:pt x="19" y="65"/>
                  </a:cubicBezTo>
                  <a:cubicBezTo>
                    <a:pt x="19" y="65"/>
                    <a:pt x="19" y="66"/>
                    <a:pt x="18" y="66"/>
                  </a:cubicBezTo>
                  <a:cubicBezTo>
                    <a:pt x="18" y="67"/>
                    <a:pt x="16" y="68"/>
                    <a:pt x="16" y="69"/>
                  </a:cubicBezTo>
                  <a:cubicBezTo>
                    <a:pt x="16" y="70"/>
                    <a:pt x="16" y="71"/>
                    <a:pt x="17" y="72"/>
                  </a:cubicBezTo>
                  <a:cubicBezTo>
                    <a:pt x="17" y="72"/>
                    <a:pt x="18" y="73"/>
                    <a:pt x="18" y="74"/>
                  </a:cubicBezTo>
                  <a:cubicBezTo>
                    <a:pt x="18" y="74"/>
                    <a:pt x="23" y="73"/>
                    <a:pt x="23" y="74"/>
                  </a:cubicBezTo>
                  <a:cubicBezTo>
                    <a:pt x="23" y="74"/>
                    <a:pt x="25" y="74"/>
                    <a:pt x="26" y="74"/>
                  </a:cubicBezTo>
                  <a:cubicBezTo>
                    <a:pt x="27" y="74"/>
                    <a:pt x="27" y="73"/>
                    <a:pt x="27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3" y="73"/>
                    <a:pt x="34" y="72"/>
                    <a:pt x="34" y="72"/>
                  </a:cubicBezTo>
                  <a:cubicBezTo>
                    <a:pt x="34" y="72"/>
                    <a:pt x="33" y="71"/>
                    <a:pt x="35" y="71"/>
                  </a:cubicBezTo>
                  <a:cubicBezTo>
                    <a:pt x="37" y="70"/>
                    <a:pt x="39" y="71"/>
                    <a:pt x="39" y="71"/>
                  </a:cubicBezTo>
                  <a:cubicBezTo>
                    <a:pt x="39" y="71"/>
                    <a:pt x="40" y="71"/>
                    <a:pt x="40" y="72"/>
                  </a:cubicBezTo>
                  <a:cubicBezTo>
                    <a:pt x="40" y="73"/>
                    <a:pt x="39" y="74"/>
                    <a:pt x="39" y="74"/>
                  </a:cubicBezTo>
                  <a:cubicBezTo>
                    <a:pt x="38" y="75"/>
                    <a:pt x="37" y="75"/>
                    <a:pt x="37" y="76"/>
                  </a:cubicBezTo>
                  <a:cubicBezTo>
                    <a:pt x="36" y="77"/>
                    <a:pt x="36" y="78"/>
                    <a:pt x="36" y="79"/>
                  </a:cubicBezTo>
                  <a:cubicBezTo>
                    <a:pt x="36" y="79"/>
                    <a:pt x="38" y="79"/>
                    <a:pt x="38" y="80"/>
                  </a:cubicBezTo>
                  <a:cubicBezTo>
                    <a:pt x="39" y="80"/>
                    <a:pt x="41" y="82"/>
                    <a:pt x="41" y="82"/>
                  </a:cubicBezTo>
                  <a:cubicBezTo>
                    <a:pt x="41" y="82"/>
                    <a:pt x="41" y="84"/>
                    <a:pt x="41" y="84"/>
                  </a:cubicBezTo>
                  <a:cubicBezTo>
                    <a:pt x="41" y="85"/>
                    <a:pt x="42" y="85"/>
                    <a:pt x="43" y="85"/>
                  </a:cubicBezTo>
                  <a:cubicBezTo>
                    <a:pt x="43" y="86"/>
                    <a:pt x="45" y="86"/>
                    <a:pt x="45" y="86"/>
                  </a:cubicBezTo>
                  <a:cubicBezTo>
                    <a:pt x="45" y="86"/>
                    <a:pt x="46" y="86"/>
                    <a:pt x="45" y="88"/>
                  </a:cubicBezTo>
                  <a:cubicBezTo>
                    <a:pt x="44" y="89"/>
                    <a:pt x="43" y="89"/>
                    <a:pt x="43" y="90"/>
                  </a:cubicBezTo>
                  <a:cubicBezTo>
                    <a:pt x="43" y="90"/>
                    <a:pt x="44" y="91"/>
                    <a:pt x="44" y="92"/>
                  </a:cubicBezTo>
                  <a:cubicBezTo>
                    <a:pt x="44" y="92"/>
                    <a:pt x="45" y="92"/>
                    <a:pt x="44" y="94"/>
                  </a:cubicBezTo>
                  <a:cubicBezTo>
                    <a:pt x="43" y="96"/>
                    <a:pt x="44" y="96"/>
                    <a:pt x="44" y="97"/>
                  </a:cubicBezTo>
                  <a:cubicBezTo>
                    <a:pt x="44" y="97"/>
                    <a:pt x="44" y="100"/>
                    <a:pt x="44" y="100"/>
                  </a:cubicBezTo>
                  <a:cubicBezTo>
                    <a:pt x="43" y="101"/>
                    <a:pt x="42" y="101"/>
                    <a:pt x="42" y="101"/>
                  </a:cubicBezTo>
                  <a:cubicBezTo>
                    <a:pt x="42" y="101"/>
                    <a:pt x="40" y="100"/>
                    <a:pt x="39" y="100"/>
                  </a:cubicBezTo>
                  <a:cubicBezTo>
                    <a:pt x="39" y="101"/>
                    <a:pt x="37" y="101"/>
                    <a:pt x="36" y="101"/>
                  </a:cubicBezTo>
                  <a:cubicBezTo>
                    <a:pt x="35" y="101"/>
                    <a:pt x="34" y="101"/>
                    <a:pt x="34" y="101"/>
                  </a:cubicBezTo>
                  <a:cubicBezTo>
                    <a:pt x="33" y="102"/>
                    <a:pt x="33" y="102"/>
                    <a:pt x="32" y="102"/>
                  </a:cubicBezTo>
                  <a:cubicBezTo>
                    <a:pt x="31" y="102"/>
                    <a:pt x="32" y="102"/>
                    <a:pt x="31" y="102"/>
                  </a:cubicBezTo>
                  <a:cubicBezTo>
                    <a:pt x="30" y="102"/>
                    <a:pt x="31" y="102"/>
                    <a:pt x="29" y="103"/>
                  </a:cubicBezTo>
                  <a:cubicBezTo>
                    <a:pt x="28" y="104"/>
                    <a:pt x="28" y="104"/>
                    <a:pt x="28" y="105"/>
                  </a:cubicBezTo>
                  <a:cubicBezTo>
                    <a:pt x="28" y="105"/>
                    <a:pt x="27" y="106"/>
                    <a:pt x="27" y="106"/>
                  </a:cubicBezTo>
                  <a:cubicBezTo>
                    <a:pt x="27" y="107"/>
                    <a:pt x="27" y="107"/>
                    <a:pt x="28" y="108"/>
                  </a:cubicBezTo>
                  <a:cubicBezTo>
                    <a:pt x="28" y="109"/>
                    <a:pt x="30" y="110"/>
                    <a:pt x="30" y="111"/>
                  </a:cubicBezTo>
                  <a:cubicBezTo>
                    <a:pt x="30" y="111"/>
                    <a:pt x="32" y="111"/>
                    <a:pt x="32" y="112"/>
                  </a:cubicBezTo>
                  <a:cubicBezTo>
                    <a:pt x="32" y="113"/>
                    <a:pt x="32" y="115"/>
                    <a:pt x="32" y="115"/>
                  </a:cubicBezTo>
                  <a:cubicBezTo>
                    <a:pt x="31" y="116"/>
                    <a:pt x="30" y="116"/>
                    <a:pt x="30" y="117"/>
                  </a:cubicBezTo>
                  <a:cubicBezTo>
                    <a:pt x="29" y="117"/>
                    <a:pt x="28" y="117"/>
                    <a:pt x="28" y="118"/>
                  </a:cubicBezTo>
                  <a:cubicBezTo>
                    <a:pt x="28" y="119"/>
                    <a:pt x="29" y="119"/>
                    <a:pt x="28" y="120"/>
                  </a:cubicBezTo>
                  <a:cubicBezTo>
                    <a:pt x="27" y="122"/>
                    <a:pt x="25" y="122"/>
                    <a:pt x="24" y="123"/>
                  </a:cubicBezTo>
                  <a:cubicBezTo>
                    <a:pt x="23" y="123"/>
                    <a:pt x="23" y="122"/>
                    <a:pt x="22" y="123"/>
                  </a:cubicBezTo>
                  <a:cubicBezTo>
                    <a:pt x="21" y="124"/>
                    <a:pt x="20" y="124"/>
                    <a:pt x="20" y="125"/>
                  </a:cubicBezTo>
                  <a:cubicBezTo>
                    <a:pt x="19" y="126"/>
                    <a:pt x="17" y="126"/>
                    <a:pt x="17" y="126"/>
                  </a:cubicBezTo>
                  <a:cubicBezTo>
                    <a:pt x="17" y="126"/>
                    <a:pt x="16" y="130"/>
                    <a:pt x="16" y="130"/>
                  </a:cubicBezTo>
                  <a:cubicBezTo>
                    <a:pt x="16" y="131"/>
                    <a:pt x="18" y="131"/>
                    <a:pt x="18" y="132"/>
                  </a:cubicBezTo>
                  <a:cubicBezTo>
                    <a:pt x="21" y="131"/>
                    <a:pt x="21" y="131"/>
                    <a:pt x="21" y="131"/>
                  </a:cubicBezTo>
                  <a:cubicBezTo>
                    <a:pt x="23" y="131"/>
                    <a:pt x="23" y="131"/>
                    <a:pt x="23" y="131"/>
                  </a:cubicBezTo>
                  <a:cubicBezTo>
                    <a:pt x="25" y="130"/>
                    <a:pt x="25" y="130"/>
                    <a:pt x="25" y="130"/>
                  </a:cubicBezTo>
                  <a:cubicBezTo>
                    <a:pt x="25" y="130"/>
                    <a:pt x="28" y="132"/>
                    <a:pt x="29" y="132"/>
                  </a:cubicBezTo>
                  <a:cubicBezTo>
                    <a:pt x="30" y="133"/>
                    <a:pt x="34" y="134"/>
                    <a:pt x="34" y="134"/>
                  </a:cubicBezTo>
                  <a:cubicBezTo>
                    <a:pt x="35" y="134"/>
                    <a:pt x="35" y="133"/>
                    <a:pt x="36" y="134"/>
                  </a:cubicBezTo>
                  <a:cubicBezTo>
                    <a:pt x="36" y="134"/>
                    <a:pt x="38" y="136"/>
                    <a:pt x="38" y="136"/>
                  </a:cubicBezTo>
                  <a:cubicBezTo>
                    <a:pt x="38" y="136"/>
                    <a:pt x="38" y="135"/>
                    <a:pt x="39" y="136"/>
                  </a:cubicBezTo>
                  <a:cubicBezTo>
                    <a:pt x="40" y="136"/>
                    <a:pt x="42" y="135"/>
                    <a:pt x="42" y="135"/>
                  </a:cubicBezTo>
                  <a:cubicBezTo>
                    <a:pt x="45" y="133"/>
                    <a:pt x="45" y="133"/>
                    <a:pt x="45" y="133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7" y="132"/>
                    <a:pt x="47" y="132"/>
                    <a:pt x="48" y="132"/>
                  </a:cubicBezTo>
                  <a:cubicBezTo>
                    <a:pt x="49" y="132"/>
                    <a:pt x="50" y="131"/>
                    <a:pt x="50" y="131"/>
                  </a:cubicBezTo>
                  <a:cubicBezTo>
                    <a:pt x="50" y="131"/>
                    <a:pt x="49" y="135"/>
                    <a:pt x="49" y="136"/>
                  </a:cubicBezTo>
                  <a:cubicBezTo>
                    <a:pt x="48" y="136"/>
                    <a:pt x="46" y="136"/>
                    <a:pt x="46" y="136"/>
                  </a:cubicBezTo>
                  <a:cubicBezTo>
                    <a:pt x="46" y="137"/>
                    <a:pt x="46" y="138"/>
                    <a:pt x="45" y="139"/>
                  </a:cubicBezTo>
                  <a:cubicBezTo>
                    <a:pt x="43" y="139"/>
                    <a:pt x="42" y="140"/>
                    <a:pt x="41" y="140"/>
                  </a:cubicBezTo>
                  <a:cubicBezTo>
                    <a:pt x="41" y="140"/>
                    <a:pt x="40" y="139"/>
                    <a:pt x="40" y="140"/>
                  </a:cubicBezTo>
                  <a:cubicBezTo>
                    <a:pt x="39" y="141"/>
                    <a:pt x="37" y="140"/>
                    <a:pt x="37" y="140"/>
                  </a:cubicBezTo>
                  <a:cubicBezTo>
                    <a:pt x="37" y="140"/>
                    <a:pt x="38" y="139"/>
                    <a:pt x="37" y="139"/>
                  </a:cubicBezTo>
                  <a:cubicBezTo>
                    <a:pt x="36" y="139"/>
                    <a:pt x="35" y="138"/>
                    <a:pt x="35" y="139"/>
                  </a:cubicBezTo>
                  <a:cubicBezTo>
                    <a:pt x="34" y="139"/>
                    <a:pt x="32" y="139"/>
                    <a:pt x="32" y="140"/>
                  </a:cubicBezTo>
                  <a:cubicBezTo>
                    <a:pt x="31" y="140"/>
                    <a:pt x="27" y="143"/>
                    <a:pt x="27" y="143"/>
                  </a:cubicBezTo>
                  <a:cubicBezTo>
                    <a:pt x="27" y="143"/>
                    <a:pt x="27" y="143"/>
                    <a:pt x="26" y="144"/>
                  </a:cubicBezTo>
                  <a:cubicBezTo>
                    <a:pt x="25" y="145"/>
                    <a:pt x="25" y="145"/>
                    <a:pt x="24" y="146"/>
                  </a:cubicBezTo>
                  <a:cubicBezTo>
                    <a:pt x="23" y="147"/>
                    <a:pt x="23" y="148"/>
                    <a:pt x="22" y="149"/>
                  </a:cubicBezTo>
                  <a:cubicBezTo>
                    <a:pt x="21" y="150"/>
                    <a:pt x="20" y="149"/>
                    <a:pt x="18" y="151"/>
                  </a:cubicBezTo>
                  <a:cubicBezTo>
                    <a:pt x="16" y="153"/>
                    <a:pt x="15" y="155"/>
                    <a:pt x="15" y="155"/>
                  </a:cubicBezTo>
                  <a:cubicBezTo>
                    <a:pt x="15" y="156"/>
                    <a:pt x="13" y="156"/>
                    <a:pt x="13" y="157"/>
                  </a:cubicBezTo>
                  <a:cubicBezTo>
                    <a:pt x="11" y="159"/>
                    <a:pt x="11" y="159"/>
                    <a:pt x="12" y="160"/>
                  </a:cubicBezTo>
                  <a:cubicBezTo>
                    <a:pt x="12" y="160"/>
                    <a:pt x="13" y="161"/>
                    <a:pt x="14" y="161"/>
                  </a:cubicBezTo>
                  <a:cubicBezTo>
                    <a:pt x="15" y="161"/>
                    <a:pt x="15" y="160"/>
                    <a:pt x="16" y="160"/>
                  </a:cubicBezTo>
                  <a:cubicBezTo>
                    <a:pt x="16" y="160"/>
                    <a:pt x="16" y="161"/>
                    <a:pt x="18" y="158"/>
                  </a:cubicBezTo>
                  <a:cubicBezTo>
                    <a:pt x="20" y="156"/>
                    <a:pt x="22" y="155"/>
                    <a:pt x="22" y="155"/>
                  </a:cubicBezTo>
                  <a:cubicBezTo>
                    <a:pt x="23" y="155"/>
                    <a:pt x="24" y="155"/>
                    <a:pt x="24" y="155"/>
                  </a:cubicBezTo>
                  <a:cubicBezTo>
                    <a:pt x="25" y="155"/>
                    <a:pt x="26" y="154"/>
                    <a:pt x="26" y="154"/>
                  </a:cubicBezTo>
                  <a:cubicBezTo>
                    <a:pt x="27" y="154"/>
                    <a:pt x="27" y="153"/>
                    <a:pt x="29" y="154"/>
                  </a:cubicBezTo>
                  <a:cubicBezTo>
                    <a:pt x="30" y="156"/>
                    <a:pt x="31" y="155"/>
                    <a:pt x="32" y="156"/>
                  </a:cubicBezTo>
                  <a:cubicBezTo>
                    <a:pt x="32" y="156"/>
                    <a:pt x="32" y="156"/>
                    <a:pt x="33" y="157"/>
                  </a:cubicBezTo>
                  <a:cubicBezTo>
                    <a:pt x="34" y="157"/>
                    <a:pt x="37" y="155"/>
                    <a:pt x="37" y="155"/>
                  </a:cubicBezTo>
                  <a:cubicBezTo>
                    <a:pt x="39" y="153"/>
                    <a:pt x="39" y="153"/>
                    <a:pt x="39" y="153"/>
                  </a:cubicBezTo>
                  <a:cubicBezTo>
                    <a:pt x="40" y="150"/>
                    <a:pt x="40" y="150"/>
                    <a:pt x="40" y="150"/>
                  </a:cubicBezTo>
                  <a:cubicBezTo>
                    <a:pt x="40" y="150"/>
                    <a:pt x="41" y="150"/>
                    <a:pt x="41" y="150"/>
                  </a:cubicBezTo>
                  <a:cubicBezTo>
                    <a:pt x="42" y="150"/>
                    <a:pt x="45" y="149"/>
                    <a:pt x="45" y="150"/>
                  </a:cubicBezTo>
                  <a:cubicBezTo>
                    <a:pt x="46" y="150"/>
                    <a:pt x="48" y="150"/>
                    <a:pt x="48" y="150"/>
                  </a:cubicBezTo>
                  <a:cubicBezTo>
                    <a:pt x="49" y="150"/>
                    <a:pt x="53" y="149"/>
                    <a:pt x="54" y="149"/>
                  </a:cubicBezTo>
                  <a:cubicBezTo>
                    <a:pt x="54" y="149"/>
                    <a:pt x="58" y="149"/>
                    <a:pt x="58" y="149"/>
                  </a:cubicBezTo>
                  <a:cubicBezTo>
                    <a:pt x="60" y="147"/>
                    <a:pt x="60" y="147"/>
                    <a:pt x="60" y="147"/>
                  </a:cubicBezTo>
                  <a:cubicBezTo>
                    <a:pt x="60" y="147"/>
                    <a:pt x="63" y="147"/>
                    <a:pt x="64" y="148"/>
                  </a:cubicBezTo>
                  <a:cubicBezTo>
                    <a:pt x="64" y="148"/>
                    <a:pt x="66" y="149"/>
                    <a:pt x="66" y="149"/>
                  </a:cubicBezTo>
                  <a:cubicBezTo>
                    <a:pt x="72" y="149"/>
                    <a:pt x="72" y="149"/>
                    <a:pt x="72" y="149"/>
                  </a:cubicBezTo>
                  <a:cubicBezTo>
                    <a:pt x="72" y="149"/>
                    <a:pt x="72" y="147"/>
                    <a:pt x="74" y="147"/>
                  </a:cubicBezTo>
                  <a:cubicBezTo>
                    <a:pt x="75" y="147"/>
                    <a:pt x="83" y="149"/>
                    <a:pt x="84" y="149"/>
                  </a:cubicBezTo>
                  <a:cubicBezTo>
                    <a:pt x="84" y="149"/>
                    <a:pt x="87" y="148"/>
                    <a:pt x="88" y="148"/>
                  </a:cubicBezTo>
                  <a:cubicBezTo>
                    <a:pt x="89" y="148"/>
                    <a:pt x="91" y="146"/>
                    <a:pt x="91" y="147"/>
                  </a:cubicBezTo>
                  <a:cubicBezTo>
                    <a:pt x="92" y="147"/>
                    <a:pt x="100" y="144"/>
                    <a:pt x="100" y="144"/>
                  </a:cubicBezTo>
                  <a:cubicBezTo>
                    <a:pt x="104" y="141"/>
                    <a:pt x="104" y="141"/>
                    <a:pt x="104" y="141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05" y="139"/>
                    <a:pt x="103" y="137"/>
                    <a:pt x="103" y="137"/>
                  </a:cubicBezTo>
                  <a:cubicBezTo>
                    <a:pt x="102" y="137"/>
                    <a:pt x="101" y="137"/>
                    <a:pt x="99" y="137"/>
                  </a:cubicBezTo>
                  <a:cubicBezTo>
                    <a:pt x="97" y="138"/>
                    <a:pt x="96" y="137"/>
                    <a:pt x="94" y="136"/>
                  </a:cubicBezTo>
                  <a:cubicBezTo>
                    <a:pt x="93" y="135"/>
                    <a:pt x="92" y="135"/>
                    <a:pt x="94" y="134"/>
                  </a:cubicBezTo>
                  <a:cubicBezTo>
                    <a:pt x="96" y="133"/>
                    <a:pt x="98" y="132"/>
                    <a:pt x="99" y="131"/>
                  </a:cubicBezTo>
                  <a:cubicBezTo>
                    <a:pt x="100" y="131"/>
                    <a:pt x="101" y="130"/>
                    <a:pt x="102" y="129"/>
                  </a:cubicBezTo>
                  <a:cubicBezTo>
                    <a:pt x="103" y="129"/>
                    <a:pt x="105" y="127"/>
                    <a:pt x="106" y="126"/>
                  </a:cubicBezTo>
                  <a:cubicBezTo>
                    <a:pt x="106" y="126"/>
                    <a:pt x="108" y="123"/>
                    <a:pt x="108" y="123"/>
                  </a:cubicBezTo>
                  <a:cubicBezTo>
                    <a:pt x="108" y="122"/>
                    <a:pt x="109" y="119"/>
                    <a:pt x="109" y="119"/>
                  </a:cubicBezTo>
                  <a:cubicBezTo>
                    <a:pt x="110" y="118"/>
                    <a:pt x="110" y="118"/>
                    <a:pt x="110" y="118"/>
                  </a:cubicBezTo>
                  <a:cubicBezTo>
                    <a:pt x="112" y="116"/>
                    <a:pt x="112" y="116"/>
                    <a:pt x="112" y="116"/>
                  </a:cubicBezTo>
                  <a:cubicBezTo>
                    <a:pt x="112" y="116"/>
                    <a:pt x="111" y="113"/>
                    <a:pt x="110" y="112"/>
                  </a:cubicBezTo>
                  <a:cubicBezTo>
                    <a:pt x="109" y="111"/>
                    <a:pt x="109" y="109"/>
                    <a:pt x="107" y="109"/>
                  </a:cubicBezTo>
                  <a:cubicBezTo>
                    <a:pt x="106" y="109"/>
                    <a:pt x="105" y="107"/>
                    <a:pt x="103" y="108"/>
                  </a:cubicBezTo>
                  <a:cubicBezTo>
                    <a:pt x="101" y="108"/>
                    <a:pt x="101" y="107"/>
                    <a:pt x="100" y="107"/>
                  </a:cubicBezTo>
                  <a:cubicBezTo>
                    <a:pt x="99" y="107"/>
                    <a:pt x="99" y="107"/>
                    <a:pt x="97" y="108"/>
                  </a:cubicBezTo>
                  <a:cubicBezTo>
                    <a:pt x="95" y="109"/>
                    <a:pt x="94" y="109"/>
                    <a:pt x="93" y="110"/>
                  </a:cubicBezTo>
                  <a:cubicBezTo>
                    <a:pt x="93" y="110"/>
                    <a:pt x="89" y="108"/>
                    <a:pt x="89" y="108"/>
                  </a:cubicBezTo>
                  <a:cubicBezTo>
                    <a:pt x="88" y="108"/>
                    <a:pt x="88" y="107"/>
                    <a:pt x="89" y="106"/>
                  </a:cubicBezTo>
                  <a:cubicBezTo>
                    <a:pt x="89" y="106"/>
                    <a:pt x="90" y="105"/>
                    <a:pt x="90" y="105"/>
                  </a:cubicBezTo>
                  <a:cubicBezTo>
                    <a:pt x="91" y="105"/>
                    <a:pt x="91" y="103"/>
                    <a:pt x="91" y="103"/>
                  </a:cubicBezTo>
                  <a:cubicBezTo>
                    <a:pt x="91" y="102"/>
                    <a:pt x="90" y="101"/>
                    <a:pt x="90" y="99"/>
                  </a:cubicBezTo>
                  <a:cubicBezTo>
                    <a:pt x="90" y="98"/>
                    <a:pt x="87" y="97"/>
                    <a:pt x="87" y="97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85" y="92"/>
                    <a:pt x="85" y="92"/>
                    <a:pt x="85" y="92"/>
                  </a:cubicBezTo>
                  <a:cubicBezTo>
                    <a:pt x="84" y="92"/>
                    <a:pt x="84" y="90"/>
                    <a:pt x="83" y="89"/>
                  </a:cubicBezTo>
                  <a:cubicBezTo>
                    <a:pt x="83" y="89"/>
                    <a:pt x="84" y="86"/>
                    <a:pt x="83" y="86"/>
                  </a:cubicBezTo>
                  <a:cubicBezTo>
                    <a:pt x="83" y="86"/>
                    <a:pt x="81" y="83"/>
                    <a:pt x="81" y="83"/>
                  </a:cubicBezTo>
                  <a:cubicBezTo>
                    <a:pt x="81" y="82"/>
                    <a:pt x="81" y="82"/>
                    <a:pt x="81" y="82"/>
                  </a:cubicBezTo>
                  <a:cubicBezTo>
                    <a:pt x="80" y="82"/>
                    <a:pt x="81" y="80"/>
                    <a:pt x="80" y="80"/>
                  </a:cubicBezTo>
                  <a:cubicBezTo>
                    <a:pt x="79" y="79"/>
                    <a:pt x="81" y="79"/>
                    <a:pt x="78" y="78"/>
                  </a:cubicBezTo>
                  <a:cubicBezTo>
                    <a:pt x="75" y="78"/>
                    <a:pt x="76" y="77"/>
                    <a:pt x="74" y="76"/>
                  </a:cubicBezTo>
                  <a:cubicBezTo>
                    <a:pt x="73" y="76"/>
                    <a:pt x="69" y="74"/>
                    <a:pt x="69" y="74"/>
                  </a:cubicBezTo>
                  <a:cubicBezTo>
                    <a:pt x="69" y="74"/>
                    <a:pt x="68" y="72"/>
                    <a:pt x="68" y="71"/>
                  </a:cubicBezTo>
                  <a:cubicBezTo>
                    <a:pt x="67" y="71"/>
                    <a:pt x="66" y="68"/>
                    <a:pt x="66" y="67"/>
                  </a:cubicBezTo>
                  <a:cubicBezTo>
                    <a:pt x="66" y="67"/>
                    <a:pt x="66" y="65"/>
                    <a:pt x="65" y="65"/>
                  </a:cubicBezTo>
                  <a:cubicBezTo>
                    <a:pt x="65" y="64"/>
                    <a:pt x="64" y="62"/>
                    <a:pt x="63" y="62"/>
                  </a:cubicBezTo>
                  <a:cubicBezTo>
                    <a:pt x="62" y="62"/>
                    <a:pt x="62" y="60"/>
                    <a:pt x="62" y="59"/>
                  </a:cubicBezTo>
                  <a:cubicBezTo>
                    <a:pt x="61" y="59"/>
                    <a:pt x="61" y="57"/>
                    <a:pt x="61" y="57"/>
                  </a:cubicBezTo>
                  <a:cubicBezTo>
                    <a:pt x="60" y="57"/>
                    <a:pt x="58" y="54"/>
                    <a:pt x="58" y="54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5" y="51"/>
                    <a:pt x="54" y="51"/>
                  </a:cubicBezTo>
                  <a:cubicBezTo>
                    <a:pt x="53" y="52"/>
                    <a:pt x="52" y="51"/>
                    <a:pt x="52" y="51"/>
                  </a:cubicBezTo>
                  <a:cubicBezTo>
                    <a:pt x="52" y="51"/>
                    <a:pt x="52" y="50"/>
                    <a:pt x="51" y="51"/>
                  </a:cubicBezTo>
                  <a:cubicBezTo>
                    <a:pt x="51" y="51"/>
                    <a:pt x="49" y="50"/>
                    <a:pt x="49" y="50"/>
                  </a:cubicBezTo>
                  <a:cubicBezTo>
                    <a:pt x="49" y="50"/>
                    <a:pt x="49" y="49"/>
                    <a:pt x="48" y="50"/>
                  </a:cubicBezTo>
                  <a:cubicBezTo>
                    <a:pt x="48" y="50"/>
                    <a:pt x="44" y="51"/>
                    <a:pt x="44" y="51"/>
                  </a:cubicBezTo>
                  <a:cubicBezTo>
                    <a:pt x="43" y="51"/>
                    <a:pt x="44" y="49"/>
                    <a:pt x="44" y="49"/>
                  </a:cubicBezTo>
                  <a:cubicBezTo>
                    <a:pt x="45" y="48"/>
                    <a:pt x="45" y="48"/>
                    <a:pt x="46" y="47"/>
                  </a:cubicBezTo>
                  <a:cubicBezTo>
                    <a:pt x="47" y="46"/>
                    <a:pt x="49" y="46"/>
                    <a:pt x="49" y="46"/>
                  </a:cubicBezTo>
                  <a:cubicBezTo>
                    <a:pt x="49" y="46"/>
                    <a:pt x="50" y="44"/>
                    <a:pt x="49" y="44"/>
                  </a:cubicBezTo>
                  <a:cubicBezTo>
                    <a:pt x="49" y="43"/>
                    <a:pt x="49" y="42"/>
                    <a:pt x="49" y="42"/>
                  </a:cubicBezTo>
                  <a:cubicBezTo>
                    <a:pt x="49" y="41"/>
                    <a:pt x="51" y="40"/>
                    <a:pt x="51" y="40"/>
                  </a:cubicBezTo>
                  <a:cubicBezTo>
                    <a:pt x="51" y="40"/>
                    <a:pt x="53" y="39"/>
                    <a:pt x="53" y="38"/>
                  </a:cubicBezTo>
                  <a:cubicBezTo>
                    <a:pt x="53" y="38"/>
                    <a:pt x="56" y="34"/>
                    <a:pt x="56" y="34"/>
                  </a:cubicBezTo>
                  <a:cubicBezTo>
                    <a:pt x="56" y="32"/>
                    <a:pt x="56" y="32"/>
                    <a:pt x="56" y="32"/>
                  </a:cubicBezTo>
                  <a:cubicBezTo>
                    <a:pt x="58" y="30"/>
                    <a:pt x="58" y="30"/>
                    <a:pt x="58" y="30"/>
                  </a:cubicBezTo>
                  <a:cubicBezTo>
                    <a:pt x="59" y="28"/>
                    <a:pt x="59" y="28"/>
                    <a:pt x="59" y="28"/>
                  </a:cubicBezTo>
                  <a:cubicBezTo>
                    <a:pt x="60" y="28"/>
                    <a:pt x="61" y="27"/>
                    <a:pt x="61" y="25"/>
                  </a:cubicBezTo>
                  <a:cubicBezTo>
                    <a:pt x="61" y="23"/>
                    <a:pt x="61" y="22"/>
                    <a:pt x="61" y="22"/>
                  </a:cubicBezTo>
                  <a:cubicBezTo>
                    <a:pt x="61" y="22"/>
                    <a:pt x="61" y="21"/>
                    <a:pt x="61" y="20"/>
                  </a:cubicBezTo>
                  <a:cubicBezTo>
                    <a:pt x="61" y="20"/>
                    <a:pt x="61" y="16"/>
                    <a:pt x="59" y="17"/>
                  </a:cubicBezTo>
                  <a:cubicBezTo>
                    <a:pt x="56" y="18"/>
                    <a:pt x="55" y="18"/>
                    <a:pt x="54" y="18"/>
                  </a:cubicBezTo>
                  <a:cubicBezTo>
                    <a:pt x="53" y="18"/>
                    <a:pt x="52" y="17"/>
                    <a:pt x="52" y="17"/>
                  </a:cubicBezTo>
                  <a:cubicBezTo>
                    <a:pt x="52" y="18"/>
                    <a:pt x="54" y="16"/>
                    <a:pt x="50" y="17"/>
                  </a:cubicBezTo>
                  <a:cubicBezTo>
                    <a:pt x="45" y="18"/>
                    <a:pt x="41" y="18"/>
                    <a:pt x="41" y="18"/>
                  </a:cubicBezTo>
                  <a:cubicBezTo>
                    <a:pt x="41" y="18"/>
                    <a:pt x="39" y="17"/>
                    <a:pt x="39" y="17"/>
                  </a:cubicBezTo>
                  <a:cubicBezTo>
                    <a:pt x="38" y="18"/>
                    <a:pt x="36" y="19"/>
                    <a:pt x="36" y="19"/>
                  </a:cubicBezTo>
                  <a:cubicBezTo>
                    <a:pt x="36" y="19"/>
                    <a:pt x="35" y="20"/>
                    <a:pt x="34" y="20"/>
                  </a:cubicBezTo>
                  <a:cubicBezTo>
                    <a:pt x="34" y="21"/>
                    <a:pt x="33" y="20"/>
                    <a:pt x="33" y="20"/>
                  </a:cubicBezTo>
                  <a:cubicBezTo>
                    <a:pt x="33" y="19"/>
                    <a:pt x="32" y="18"/>
                    <a:pt x="32" y="17"/>
                  </a:cubicBezTo>
                  <a:cubicBezTo>
                    <a:pt x="32" y="16"/>
                    <a:pt x="31" y="15"/>
                    <a:pt x="31" y="15"/>
                  </a:cubicBezTo>
                  <a:cubicBezTo>
                    <a:pt x="33" y="12"/>
                    <a:pt x="33" y="14"/>
                    <a:pt x="34" y="13"/>
                  </a:cubicBezTo>
                  <a:cubicBezTo>
                    <a:pt x="36" y="12"/>
                    <a:pt x="34" y="11"/>
                    <a:pt x="36" y="10"/>
                  </a:cubicBezTo>
                  <a:cubicBezTo>
                    <a:pt x="37" y="9"/>
                    <a:pt x="39" y="9"/>
                    <a:pt x="40" y="7"/>
                  </a:cubicBezTo>
                  <a:cubicBezTo>
                    <a:pt x="42" y="6"/>
                    <a:pt x="41" y="5"/>
                    <a:pt x="41" y="5"/>
                  </a:cubicBezTo>
                  <a:cubicBezTo>
                    <a:pt x="41" y="1"/>
                    <a:pt x="41" y="1"/>
                    <a:pt x="41" y="1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0"/>
                    <a:pt x="29" y="1"/>
                    <a:pt x="28" y="2"/>
                  </a:cubicBezTo>
                  <a:cubicBezTo>
                    <a:pt x="27" y="3"/>
                    <a:pt x="24" y="0"/>
                    <a:pt x="24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4"/>
                    <a:pt x="16" y="8"/>
                    <a:pt x="16" y="8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8" y="13"/>
                    <a:pt x="8" y="15"/>
                  </a:cubicBezTo>
                  <a:cubicBezTo>
                    <a:pt x="8" y="16"/>
                    <a:pt x="6" y="17"/>
                    <a:pt x="7" y="19"/>
                  </a:cubicBezTo>
                  <a:cubicBezTo>
                    <a:pt x="8" y="21"/>
                    <a:pt x="8" y="23"/>
                    <a:pt x="8" y="23"/>
                  </a:cubicBezTo>
                  <a:cubicBezTo>
                    <a:pt x="8" y="23"/>
                    <a:pt x="10" y="26"/>
                    <a:pt x="11" y="27"/>
                  </a:cubicBezTo>
                  <a:cubicBezTo>
                    <a:pt x="11" y="29"/>
                    <a:pt x="7" y="35"/>
                    <a:pt x="7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0" y="40"/>
                    <a:pt x="1" y="41"/>
                  </a:cubicBezTo>
                  <a:lnTo>
                    <a:pt x="3" y="42"/>
                  </a:ln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13" name="Freeform 172"/>
            <p:cNvSpPr>
              <a:spLocks/>
            </p:cNvSpPr>
            <p:nvPr/>
          </p:nvSpPr>
          <p:spPr bwMode="auto">
            <a:xfrm>
              <a:off x="4038" y="1878"/>
              <a:ext cx="48" cy="51"/>
            </a:xfrm>
            <a:custGeom>
              <a:avLst/>
              <a:gdLst>
                <a:gd name="T0" fmla="*/ 8 w 65"/>
                <a:gd name="T1" fmla="*/ 67 h 68"/>
                <a:gd name="T2" fmla="*/ 17 w 65"/>
                <a:gd name="T3" fmla="*/ 67 h 68"/>
                <a:gd name="T4" fmla="*/ 29 w 65"/>
                <a:gd name="T5" fmla="*/ 63 h 68"/>
                <a:gd name="T6" fmla="*/ 36 w 65"/>
                <a:gd name="T7" fmla="*/ 56 h 68"/>
                <a:gd name="T8" fmla="*/ 42 w 65"/>
                <a:gd name="T9" fmla="*/ 55 h 68"/>
                <a:gd name="T10" fmla="*/ 50 w 65"/>
                <a:gd name="T11" fmla="*/ 55 h 68"/>
                <a:gd name="T12" fmla="*/ 56 w 65"/>
                <a:gd name="T13" fmla="*/ 30 h 68"/>
                <a:gd name="T14" fmla="*/ 49 w 65"/>
                <a:gd name="T15" fmla="*/ 25 h 68"/>
                <a:gd name="T16" fmla="*/ 45 w 65"/>
                <a:gd name="T17" fmla="*/ 20 h 68"/>
                <a:gd name="T18" fmla="*/ 51 w 65"/>
                <a:gd name="T19" fmla="*/ 23 h 68"/>
                <a:gd name="T20" fmla="*/ 60 w 65"/>
                <a:gd name="T21" fmla="*/ 20 h 68"/>
                <a:gd name="T22" fmla="*/ 64 w 65"/>
                <a:gd name="T23" fmla="*/ 14 h 68"/>
                <a:gd name="T24" fmla="*/ 58 w 65"/>
                <a:gd name="T25" fmla="*/ 4 h 68"/>
                <a:gd name="T26" fmla="*/ 53 w 65"/>
                <a:gd name="T27" fmla="*/ 0 h 68"/>
                <a:gd name="T28" fmla="*/ 45 w 65"/>
                <a:gd name="T29" fmla="*/ 1 h 68"/>
                <a:gd name="T30" fmla="*/ 39 w 65"/>
                <a:gd name="T31" fmla="*/ 9 h 68"/>
                <a:gd name="T32" fmla="*/ 31 w 65"/>
                <a:gd name="T33" fmla="*/ 16 h 68"/>
                <a:gd name="T34" fmla="*/ 36 w 65"/>
                <a:gd name="T35" fmla="*/ 20 h 68"/>
                <a:gd name="T36" fmla="*/ 29 w 65"/>
                <a:gd name="T37" fmla="*/ 17 h 68"/>
                <a:gd name="T38" fmla="*/ 26 w 65"/>
                <a:gd name="T39" fmla="*/ 16 h 68"/>
                <a:gd name="T40" fmla="*/ 20 w 65"/>
                <a:gd name="T41" fmla="*/ 19 h 68"/>
                <a:gd name="T42" fmla="*/ 14 w 65"/>
                <a:gd name="T43" fmla="*/ 21 h 68"/>
                <a:gd name="T44" fmla="*/ 6 w 65"/>
                <a:gd name="T45" fmla="*/ 19 h 68"/>
                <a:gd name="T46" fmla="*/ 2 w 65"/>
                <a:gd name="T47" fmla="*/ 20 h 68"/>
                <a:gd name="T48" fmla="*/ 5 w 65"/>
                <a:gd name="T49" fmla="*/ 25 h 68"/>
                <a:gd name="T50" fmla="*/ 5 w 65"/>
                <a:gd name="T51" fmla="*/ 32 h 68"/>
                <a:gd name="T52" fmla="*/ 6 w 65"/>
                <a:gd name="T53" fmla="*/ 35 h 68"/>
                <a:gd name="T54" fmla="*/ 15 w 65"/>
                <a:gd name="T55" fmla="*/ 37 h 68"/>
                <a:gd name="T56" fmla="*/ 13 w 65"/>
                <a:gd name="T57" fmla="*/ 41 h 68"/>
                <a:gd name="T58" fmla="*/ 14 w 65"/>
                <a:gd name="T59" fmla="*/ 46 h 68"/>
                <a:gd name="T60" fmla="*/ 7 w 65"/>
                <a:gd name="T61" fmla="*/ 52 h 68"/>
                <a:gd name="T62" fmla="*/ 1 w 65"/>
                <a:gd name="T63" fmla="*/ 58 h 68"/>
                <a:gd name="T64" fmla="*/ 4 w 65"/>
                <a:gd name="T65" fmla="*/ 65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5" h="68">
                  <a:moveTo>
                    <a:pt x="4" y="65"/>
                  </a:moveTo>
                  <a:cubicBezTo>
                    <a:pt x="5" y="66"/>
                    <a:pt x="6" y="67"/>
                    <a:pt x="8" y="67"/>
                  </a:cubicBezTo>
                  <a:cubicBezTo>
                    <a:pt x="9" y="67"/>
                    <a:pt x="10" y="68"/>
                    <a:pt x="11" y="68"/>
                  </a:cubicBezTo>
                  <a:cubicBezTo>
                    <a:pt x="13" y="68"/>
                    <a:pt x="14" y="68"/>
                    <a:pt x="17" y="67"/>
                  </a:cubicBezTo>
                  <a:cubicBezTo>
                    <a:pt x="20" y="66"/>
                    <a:pt x="19" y="67"/>
                    <a:pt x="24" y="65"/>
                  </a:cubicBezTo>
                  <a:cubicBezTo>
                    <a:pt x="28" y="63"/>
                    <a:pt x="27" y="64"/>
                    <a:pt x="29" y="63"/>
                  </a:cubicBezTo>
                  <a:cubicBezTo>
                    <a:pt x="30" y="61"/>
                    <a:pt x="31" y="61"/>
                    <a:pt x="32" y="60"/>
                  </a:cubicBezTo>
                  <a:cubicBezTo>
                    <a:pt x="34" y="58"/>
                    <a:pt x="35" y="57"/>
                    <a:pt x="36" y="56"/>
                  </a:cubicBezTo>
                  <a:cubicBezTo>
                    <a:pt x="37" y="55"/>
                    <a:pt x="38" y="55"/>
                    <a:pt x="39" y="55"/>
                  </a:cubicBezTo>
                  <a:cubicBezTo>
                    <a:pt x="40" y="55"/>
                    <a:pt x="41" y="55"/>
                    <a:pt x="42" y="55"/>
                  </a:cubicBezTo>
                  <a:cubicBezTo>
                    <a:pt x="44" y="55"/>
                    <a:pt x="47" y="55"/>
                    <a:pt x="48" y="55"/>
                  </a:cubicBezTo>
                  <a:cubicBezTo>
                    <a:pt x="49" y="55"/>
                    <a:pt x="50" y="55"/>
                    <a:pt x="50" y="55"/>
                  </a:cubicBezTo>
                  <a:cubicBezTo>
                    <a:pt x="50" y="55"/>
                    <a:pt x="56" y="40"/>
                    <a:pt x="56" y="35"/>
                  </a:cubicBezTo>
                  <a:cubicBezTo>
                    <a:pt x="55" y="30"/>
                    <a:pt x="56" y="31"/>
                    <a:pt x="56" y="30"/>
                  </a:cubicBezTo>
                  <a:cubicBezTo>
                    <a:pt x="56" y="29"/>
                    <a:pt x="53" y="27"/>
                    <a:pt x="52" y="26"/>
                  </a:cubicBezTo>
                  <a:cubicBezTo>
                    <a:pt x="51" y="26"/>
                    <a:pt x="49" y="25"/>
                    <a:pt x="49" y="25"/>
                  </a:cubicBezTo>
                  <a:cubicBezTo>
                    <a:pt x="48" y="25"/>
                    <a:pt x="45" y="22"/>
                    <a:pt x="44" y="22"/>
                  </a:cubicBezTo>
                  <a:cubicBezTo>
                    <a:pt x="44" y="22"/>
                    <a:pt x="44" y="21"/>
                    <a:pt x="45" y="20"/>
                  </a:cubicBezTo>
                  <a:cubicBezTo>
                    <a:pt x="45" y="20"/>
                    <a:pt x="47" y="22"/>
                    <a:pt x="48" y="22"/>
                  </a:cubicBezTo>
                  <a:cubicBezTo>
                    <a:pt x="49" y="22"/>
                    <a:pt x="51" y="24"/>
                    <a:pt x="51" y="23"/>
                  </a:cubicBezTo>
                  <a:cubicBezTo>
                    <a:pt x="51" y="23"/>
                    <a:pt x="54" y="23"/>
                    <a:pt x="56" y="22"/>
                  </a:cubicBezTo>
                  <a:cubicBezTo>
                    <a:pt x="59" y="21"/>
                    <a:pt x="59" y="20"/>
                    <a:pt x="60" y="20"/>
                  </a:cubicBezTo>
                  <a:cubicBezTo>
                    <a:pt x="61" y="19"/>
                    <a:pt x="63" y="17"/>
                    <a:pt x="64" y="16"/>
                  </a:cubicBezTo>
                  <a:cubicBezTo>
                    <a:pt x="65" y="15"/>
                    <a:pt x="64" y="14"/>
                    <a:pt x="64" y="14"/>
                  </a:cubicBezTo>
                  <a:cubicBezTo>
                    <a:pt x="64" y="13"/>
                    <a:pt x="63" y="11"/>
                    <a:pt x="63" y="10"/>
                  </a:cubicBezTo>
                  <a:cubicBezTo>
                    <a:pt x="62" y="10"/>
                    <a:pt x="59" y="6"/>
                    <a:pt x="58" y="4"/>
                  </a:cubicBezTo>
                  <a:cubicBezTo>
                    <a:pt x="56" y="3"/>
                    <a:pt x="55" y="2"/>
                    <a:pt x="55" y="2"/>
                  </a:cubicBezTo>
                  <a:cubicBezTo>
                    <a:pt x="55" y="2"/>
                    <a:pt x="53" y="1"/>
                    <a:pt x="53" y="0"/>
                  </a:cubicBezTo>
                  <a:cubicBezTo>
                    <a:pt x="52" y="0"/>
                    <a:pt x="49" y="0"/>
                    <a:pt x="49" y="0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5"/>
                    <a:pt x="39" y="5"/>
                    <a:pt x="39" y="5"/>
                  </a:cubicBezTo>
                  <a:cubicBezTo>
                    <a:pt x="39" y="5"/>
                    <a:pt x="39" y="8"/>
                    <a:pt x="39" y="9"/>
                  </a:cubicBezTo>
                  <a:cubicBezTo>
                    <a:pt x="38" y="9"/>
                    <a:pt x="35" y="12"/>
                    <a:pt x="35" y="12"/>
                  </a:cubicBezTo>
                  <a:cubicBezTo>
                    <a:pt x="34" y="12"/>
                    <a:pt x="31" y="16"/>
                    <a:pt x="31" y="16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0"/>
                    <a:pt x="32" y="20"/>
                    <a:pt x="31" y="19"/>
                  </a:cubicBezTo>
                  <a:cubicBezTo>
                    <a:pt x="29" y="19"/>
                    <a:pt x="29" y="18"/>
                    <a:pt x="29" y="17"/>
                  </a:cubicBezTo>
                  <a:cubicBezTo>
                    <a:pt x="29" y="16"/>
                    <a:pt x="28" y="15"/>
                    <a:pt x="28" y="15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20" y="19"/>
                    <a:pt x="18" y="19"/>
                    <a:pt x="17" y="19"/>
                  </a:cubicBezTo>
                  <a:cubicBezTo>
                    <a:pt x="17" y="19"/>
                    <a:pt x="15" y="21"/>
                    <a:pt x="14" y="21"/>
                  </a:cubicBezTo>
                  <a:cubicBezTo>
                    <a:pt x="13" y="21"/>
                    <a:pt x="11" y="20"/>
                    <a:pt x="10" y="19"/>
                  </a:cubicBezTo>
                  <a:cubicBezTo>
                    <a:pt x="8" y="18"/>
                    <a:pt x="7" y="19"/>
                    <a:pt x="6" y="19"/>
                  </a:cubicBezTo>
                  <a:cubicBezTo>
                    <a:pt x="6" y="18"/>
                    <a:pt x="3" y="18"/>
                    <a:pt x="3" y="18"/>
                  </a:cubicBezTo>
                  <a:cubicBezTo>
                    <a:pt x="2" y="18"/>
                    <a:pt x="2" y="19"/>
                    <a:pt x="2" y="20"/>
                  </a:cubicBezTo>
                  <a:cubicBezTo>
                    <a:pt x="1" y="21"/>
                    <a:pt x="2" y="23"/>
                    <a:pt x="2" y="24"/>
                  </a:cubicBezTo>
                  <a:cubicBezTo>
                    <a:pt x="3" y="24"/>
                    <a:pt x="5" y="25"/>
                    <a:pt x="5" y="25"/>
                  </a:cubicBezTo>
                  <a:cubicBezTo>
                    <a:pt x="6" y="26"/>
                    <a:pt x="8" y="27"/>
                    <a:pt x="7" y="28"/>
                  </a:cubicBezTo>
                  <a:cubicBezTo>
                    <a:pt x="7" y="30"/>
                    <a:pt x="6" y="31"/>
                    <a:pt x="5" y="32"/>
                  </a:cubicBezTo>
                  <a:cubicBezTo>
                    <a:pt x="3" y="33"/>
                    <a:pt x="3" y="34"/>
                    <a:pt x="4" y="35"/>
                  </a:cubicBezTo>
                  <a:cubicBezTo>
                    <a:pt x="4" y="36"/>
                    <a:pt x="5" y="35"/>
                    <a:pt x="6" y="35"/>
                  </a:cubicBezTo>
                  <a:cubicBezTo>
                    <a:pt x="7" y="35"/>
                    <a:pt x="9" y="35"/>
                    <a:pt x="10" y="35"/>
                  </a:cubicBezTo>
                  <a:cubicBezTo>
                    <a:pt x="11" y="35"/>
                    <a:pt x="13" y="37"/>
                    <a:pt x="15" y="37"/>
                  </a:cubicBezTo>
                  <a:cubicBezTo>
                    <a:pt x="16" y="37"/>
                    <a:pt x="15" y="39"/>
                    <a:pt x="15" y="39"/>
                  </a:cubicBezTo>
                  <a:cubicBezTo>
                    <a:pt x="15" y="39"/>
                    <a:pt x="13" y="40"/>
                    <a:pt x="13" y="41"/>
                  </a:cubicBezTo>
                  <a:cubicBezTo>
                    <a:pt x="13" y="41"/>
                    <a:pt x="11" y="43"/>
                    <a:pt x="12" y="44"/>
                  </a:cubicBezTo>
                  <a:cubicBezTo>
                    <a:pt x="12" y="45"/>
                    <a:pt x="14" y="46"/>
                    <a:pt x="14" y="46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1" y="50"/>
                    <a:pt x="8" y="52"/>
                    <a:pt x="7" y="52"/>
                  </a:cubicBezTo>
                  <a:cubicBezTo>
                    <a:pt x="7" y="52"/>
                    <a:pt x="5" y="54"/>
                    <a:pt x="4" y="54"/>
                  </a:cubicBezTo>
                  <a:cubicBezTo>
                    <a:pt x="3" y="55"/>
                    <a:pt x="1" y="57"/>
                    <a:pt x="1" y="58"/>
                  </a:cubicBezTo>
                  <a:cubicBezTo>
                    <a:pt x="0" y="58"/>
                    <a:pt x="1" y="60"/>
                    <a:pt x="1" y="61"/>
                  </a:cubicBezTo>
                  <a:cubicBezTo>
                    <a:pt x="2" y="62"/>
                    <a:pt x="3" y="65"/>
                    <a:pt x="4" y="6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14" name="Freeform 173"/>
            <p:cNvSpPr>
              <a:spLocks/>
            </p:cNvSpPr>
            <p:nvPr/>
          </p:nvSpPr>
          <p:spPr bwMode="auto">
            <a:xfrm>
              <a:off x="5564" y="1889"/>
              <a:ext cx="31" cy="112"/>
            </a:xfrm>
            <a:custGeom>
              <a:avLst/>
              <a:gdLst>
                <a:gd name="T0" fmla="*/ 4 w 41"/>
                <a:gd name="T1" fmla="*/ 51 h 150"/>
                <a:gd name="T2" fmla="*/ 7 w 41"/>
                <a:gd name="T3" fmla="*/ 56 h 150"/>
                <a:gd name="T4" fmla="*/ 9 w 41"/>
                <a:gd name="T5" fmla="*/ 63 h 150"/>
                <a:gd name="T6" fmla="*/ 7 w 41"/>
                <a:gd name="T7" fmla="*/ 68 h 150"/>
                <a:gd name="T8" fmla="*/ 8 w 41"/>
                <a:gd name="T9" fmla="*/ 73 h 150"/>
                <a:gd name="T10" fmla="*/ 8 w 41"/>
                <a:gd name="T11" fmla="*/ 78 h 150"/>
                <a:gd name="T12" fmla="*/ 4 w 41"/>
                <a:gd name="T13" fmla="*/ 98 h 150"/>
                <a:gd name="T14" fmla="*/ 5 w 41"/>
                <a:gd name="T15" fmla="*/ 106 h 150"/>
                <a:gd name="T16" fmla="*/ 8 w 41"/>
                <a:gd name="T17" fmla="*/ 112 h 150"/>
                <a:gd name="T18" fmla="*/ 5 w 41"/>
                <a:gd name="T19" fmla="*/ 120 h 150"/>
                <a:gd name="T20" fmla="*/ 4 w 41"/>
                <a:gd name="T21" fmla="*/ 126 h 150"/>
                <a:gd name="T22" fmla="*/ 5 w 41"/>
                <a:gd name="T23" fmla="*/ 133 h 150"/>
                <a:gd name="T24" fmla="*/ 3 w 41"/>
                <a:gd name="T25" fmla="*/ 138 h 150"/>
                <a:gd name="T26" fmla="*/ 3 w 41"/>
                <a:gd name="T27" fmla="*/ 144 h 150"/>
                <a:gd name="T28" fmla="*/ 5 w 41"/>
                <a:gd name="T29" fmla="*/ 149 h 150"/>
                <a:gd name="T30" fmla="*/ 10 w 41"/>
                <a:gd name="T31" fmla="*/ 147 h 150"/>
                <a:gd name="T32" fmla="*/ 13 w 41"/>
                <a:gd name="T33" fmla="*/ 140 h 150"/>
                <a:gd name="T34" fmla="*/ 19 w 41"/>
                <a:gd name="T35" fmla="*/ 142 h 150"/>
                <a:gd name="T36" fmla="*/ 24 w 41"/>
                <a:gd name="T37" fmla="*/ 145 h 150"/>
                <a:gd name="T38" fmla="*/ 27 w 41"/>
                <a:gd name="T39" fmla="*/ 146 h 150"/>
                <a:gd name="T40" fmla="*/ 28 w 41"/>
                <a:gd name="T41" fmla="*/ 141 h 150"/>
                <a:gd name="T42" fmla="*/ 23 w 41"/>
                <a:gd name="T43" fmla="*/ 137 h 150"/>
                <a:gd name="T44" fmla="*/ 20 w 41"/>
                <a:gd name="T45" fmla="*/ 132 h 150"/>
                <a:gd name="T46" fmla="*/ 15 w 41"/>
                <a:gd name="T47" fmla="*/ 125 h 150"/>
                <a:gd name="T48" fmla="*/ 17 w 41"/>
                <a:gd name="T49" fmla="*/ 117 h 150"/>
                <a:gd name="T50" fmla="*/ 16 w 41"/>
                <a:gd name="T51" fmla="*/ 109 h 150"/>
                <a:gd name="T52" fmla="*/ 21 w 41"/>
                <a:gd name="T53" fmla="*/ 100 h 150"/>
                <a:gd name="T54" fmla="*/ 22 w 41"/>
                <a:gd name="T55" fmla="*/ 95 h 150"/>
                <a:gd name="T56" fmla="*/ 29 w 41"/>
                <a:gd name="T57" fmla="*/ 95 h 150"/>
                <a:gd name="T58" fmla="*/ 37 w 41"/>
                <a:gd name="T59" fmla="*/ 98 h 150"/>
                <a:gd name="T60" fmla="*/ 37 w 41"/>
                <a:gd name="T61" fmla="*/ 95 h 150"/>
                <a:gd name="T62" fmla="*/ 33 w 41"/>
                <a:gd name="T63" fmla="*/ 85 h 150"/>
                <a:gd name="T64" fmla="*/ 28 w 41"/>
                <a:gd name="T65" fmla="*/ 73 h 150"/>
                <a:gd name="T66" fmla="*/ 30 w 41"/>
                <a:gd name="T67" fmla="*/ 66 h 150"/>
                <a:gd name="T68" fmla="*/ 25 w 41"/>
                <a:gd name="T69" fmla="*/ 54 h 150"/>
                <a:gd name="T70" fmla="*/ 23 w 41"/>
                <a:gd name="T71" fmla="*/ 44 h 150"/>
                <a:gd name="T72" fmla="*/ 24 w 41"/>
                <a:gd name="T73" fmla="*/ 37 h 150"/>
                <a:gd name="T74" fmla="*/ 24 w 41"/>
                <a:gd name="T75" fmla="*/ 23 h 150"/>
                <a:gd name="T76" fmla="*/ 21 w 41"/>
                <a:gd name="T77" fmla="*/ 17 h 150"/>
                <a:gd name="T78" fmla="*/ 20 w 41"/>
                <a:gd name="T79" fmla="*/ 8 h 150"/>
                <a:gd name="T80" fmla="*/ 13 w 41"/>
                <a:gd name="T81" fmla="*/ 2 h 150"/>
                <a:gd name="T82" fmla="*/ 13 w 41"/>
                <a:gd name="T83" fmla="*/ 8 h 150"/>
                <a:gd name="T84" fmla="*/ 13 w 41"/>
                <a:gd name="T85" fmla="*/ 15 h 150"/>
                <a:gd name="T86" fmla="*/ 10 w 41"/>
                <a:gd name="T87" fmla="*/ 20 h 150"/>
                <a:gd name="T88" fmla="*/ 5 w 41"/>
                <a:gd name="T89" fmla="*/ 20 h 150"/>
                <a:gd name="T90" fmla="*/ 4 w 41"/>
                <a:gd name="T91" fmla="*/ 28 h 150"/>
                <a:gd name="T92" fmla="*/ 3 w 41"/>
                <a:gd name="T93" fmla="*/ 35 h 150"/>
                <a:gd name="T94" fmla="*/ 2 w 41"/>
                <a:gd name="T95" fmla="*/ 4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50">
                  <a:moveTo>
                    <a:pt x="1" y="46"/>
                  </a:moveTo>
                  <a:cubicBezTo>
                    <a:pt x="1" y="48"/>
                    <a:pt x="3" y="50"/>
                    <a:pt x="4" y="51"/>
                  </a:cubicBezTo>
                  <a:cubicBezTo>
                    <a:pt x="5" y="52"/>
                    <a:pt x="5" y="53"/>
                    <a:pt x="5" y="54"/>
                  </a:cubicBezTo>
                  <a:cubicBezTo>
                    <a:pt x="6" y="55"/>
                    <a:pt x="7" y="55"/>
                    <a:pt x="7" y="56"/>
                  </a:cubicBezTo>
                  <a:cubicBezTo>
                    <a:pt x="8" y="57"/>
                    <a:pt x="8" y="56"/>
                    <a:pt x="8" y="58"/>
                  </a:cubicBezTo>
                  <a:cubicBezTo>
                    <a:pt x="8" y="60"/>
                    <a:pt x="8" y="62"/>
                    <a:pt x="9" y="63"/>
                  </a:cubicBezTo>
                  <a:cubicBezTo>
                    <a:pt x="9" y="64"/>
                    <a:pt x="10" y="66"/>
                    <a:pt x="9" y="66"/>
                  </a:cubicBezTo>
                  <a:cubicBezTo>
                    <a:pt x="8" y="67"/>
                    <a:pt x="8" y="68"/>
                    <a:pt x="7" y="68"/>
                  </a:cubicBezTo>
                  <a:cubicBezTo>
                    <a:pt x="7" y="69"/>
                    <a:pt x="7" y="66"/>
                    <a:pt x="7" y="69"/>
                  </a:cubicBezTo>
                  <a:cubicBezTo>
                    <a:pt x="6" y="71"/>
                    <a:pt x="7" y="71"/>
                    <a:pt x="8" y="73"/>
                  </a:cubicBezTo>
                  <a:cubicBezTo>
                    <a:pt x="8" y="75"/>
                    <a:pt x="8" y="75"/>
                    <a:pt x="8" y="76"/>
                  </a:cubicBezTo>
                  <a:cubicBezTo>
                    <a:pt x="8" y="77"/>
                    <a:pt x="9" y="70"/>
                    <a:pt x="8" y="78"/>
                  </a:cubicBezTo>
                  <a:cubicBezTo>
                    <a:pt x="8" y="87"/>
                    <a:pt x="9" y="81"/>
                    <a:pt x="8" y="89"/>
                  </a:cubicBezTo>
                  <a:cubicBezTo>
                    <a:pt x="7" y="96"/>
                    <a:pt x="4" y="96"/>
                    <a:pt x="4" y="98"/>
                  </a:cubicBezTo>
                  <a:cubicBezTo>
                    <a:pt x="4" y="99"/>
                    <a:pt x="3" y="100"/>
                    <a:pt x="4" y="101"/>
                  </a:cubicBezTo>
                  <a:cubicBezTo>
                    <a:pt x="4" y="103"/>
                    <a:pt x="5" y="105"/>
                    <a:pt x="5" y="106"/>
                  </a:cubicBezTo>
                  <a:cubicBezTo>
                    <a:pt x="5" y="106"/>
                    <a:pt x="6" y="107"/>
                    <a:pt x="7" y="108"/>
                  </a:cubicBezTo>
                  <a:cubicBezTo>
                    <a:pt x="7" y="109"/>
                    <a:pt x="8" y="109"/>
                    <a:pt x="8" y="112"/>
                  </a:cubicBezTo>
                  <a:cubicBezTo>
                    <a:pt x="8" y="114"/>
                    <a:pt x="8" y="115"/>
                    <a:pt x="7" y="116"/>
                  </a:cubicBezTo>
                  <a:cubicBezTo>
                    <a:pt x="6" y="117"/>
                    <a:pt x="5" y="120"/>
                    <a:pt x="5" y="120"/>
                  </a:cubicBezTo>
                  <a:cubicBezTo>
                    <a:pt x="5" y="120"/>
                    <a:pt x="4" y="122"/>
                    <a:pt x="4" y="123"/>
                  </a:cubicBezTo>
                  <a:cubicBezTo>
                    <a:pt x="4" y="124"/>
                    <a:pt x="3" y="125"/>
                    <a:pt x="4" y="126"/>
                  </a:cubicBezTo>
                  <a:cubicBezTo>
                    <a:pt x="6" y="132"/>
                    <a:pt x="6" y="129"/>
                    <a:pt x="6" y="129"/>
                  </a:cubicBezTo>
                  <a:cubicBezTo>
                    <a:pt x="6" y="129"/>
                    <a:pt x="6" y="133"/>
                    <a:pt x="5" y="133"/>
                  </a:cubicBezTo>
                  <a:cubicBezTo>
                    <a:pt x="5" y="134"/>
                    <a:pt x="4" y="135"/>
                    <a:pt x="4" y="136"/>
                  </a:cubicBezTo>
                  <a:cubicBezTo>
                    <a:pt x="3" y="138"/>
                    <a:pt x="4" y="135"/>
                    <a:pt x="3" y="138"/>
                  </a:cubicBezTo>
                  <a:cubicBezTo>
                    <a:pt x="2" y="140"/>
                    <a:pt x="3" y="139"/>
                    <a:pt x="3" y="141"/>
                  </a:cubicBezTo>
                  <a:cubicBezTo>
                    <a:pt x="2" y="143"/>
                    <a:pt x="3" y="143"/>
                    <a:pt x="3" y="144"/>
                  </a:cubicBezTo>
                  <a:cubicBezTo>
                    <a:pt x="4" y="144"/>
                    <a:pt x="5" y="145"/>
                    <a:pt x="5" y="146"/>
                  </a:cubicBezTo>
                  <a:cubicBezTo>
                    <a:pt x="6" y="146"/>
                    <a:pt x="4" y="149"/>
                    <a:pt x="5" y="149"/>
                  </a:cubicBezTo>
                  <a:cubicBezTo>
                    <a:pt x="6" y="149"/>
                    <a:pt x="6" y="150"/>
                    <a:pt x="7" y="149"/>
                  </a:cubicBezTo>
                  <a:cubicBezTo>
                    <a:pt x="8" y="149"/>
                    <a:pt x="9" y="148"/>
                    <a:pt x="10" y="147"/>
                  </a:cubicBezTo>
                  <a:cubicBezTo>
                    <a:pt x="10" y="146"/>
                    <a:pt x="11" y="144"/>
                    <a:pt x="12" y="143"/>
                  </a:cubicBezTo>
                  <a:cubicBezTo>
                    <a:pt x="12" y="142"/>
                    <a:pt x="12" y="140"/>
                    <a:pt x="13" y="140"/>
                  </a:cubicBezTo>
                  <a:cubicBezTo>
                    <a:pt x="13" y="141"/>
                    <a:pt x="15" y="140"/>
                    <a:pt x="15" y="141"/>
                  </a:cubicBezTo>
                  <a:cubicBezTo>
                    <a:pt x="16" y="141"/>
                    <a:pt x="19" y="141"/>
                    <a:pt x="19" y="142"/>
                  </a:cubicBezTo>
                  <a:cubicBezTo>
                    <a:pt x="19" y="143"/>
                    <a:pt x="23" y="142"/>
                    <a:pt x="23" y="143"/>
                  </a:cubicBezTo>
                  <a:cubicBezTo>
                    <a:pt x="23" y="144"/>
                    <a:pt x="24" y="144"/>
                    <a:pt x="24" y="145"/>
                  </a:cubicBezTo>
                  <a:cubicBezTo>
                    <a:pt x="25" y="146"/>
                    <a:pt x="24" y="149"/>
                    <a:pt x="25" y="148"/>
                  </a:cubicBezTo>
                  <a:cubicBezTo>
                    <a:pt x="26" y="147"/>
                    <a:pt x="27" y="147"/>
                    <a:pt x="27" y="146"/>
                  </a:cubicBezTo>
                  <a:cubicBezTo>
                    <a:pt x="28" y="144"/>
                    <a:pt x="28" y="143"/>
                    <a:pt x="28" y="143"/>
                  </a:cubicBezTo>
                  <a:cubicBezTo>
                    <a:pt x="28" y="141"/>
                    <a:pt x="28" y="141"/>
                    <a:pt x="28" y="141"/>
                  </a:cubicBezTo>
                  <a:cubicBezTo>
                    <a:pt x="28" y="141"/>
                    <a:pt x="27" y="138"/>
                    <a:pt x="26" y="138"/>
                  </a:cubicBezTo>
                  <a:cubicBezTo>
                    <a:pt x="26" y="138"/>
                    <a:pt x="23" y="137"/>
                    <a:pt x="23" y="137"/>
                  </a:cubicBezTo>
                  <a:cubicBezTo>
                    <a:pt x="22" y="134"/>
                    <a:pt x="22" y="134"/>
                    <a:pt x="22" y="134"/>
                  </a:cubicBezTo>
                  <a:cubicBezTo>
                    <a:pt x="22" y="134"/>
                    <a:pt x="21" y="132"/>
                    <a:pt x="20" y="132"/>
                  </a:cubicBezTo>
                  <a:cubicBezTo>
                    <a:pt x="19" y="131"/>
                    <a:pt x="19" y="129"/>
                    <a:pt x="18" y="129"/>
                  </a:cubicBezTo>
                  <a:cubicBezTo>
                    <a:pt x="17" y="128"/>
                    <a:pt x="15" y="125"/>
                    <a:pt x="15" y="125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16" y="112"/>
                    <a:pt x="16" y="111"/>
                    <a:pt x="16" y="109"/>
                  </a:cubicBezTo>
                  <a:cubicBezTo>
                    <a:pt x="16" y="108"/>
                    <a:pt x="17" y="106"/>
                    <a:pt x="17" y="106"/>
                  </a:cubicBezTo>
                  <a:cubicBezTo>
                    <a:pt x="19" y="104"/>
                    <a:pt x="20" y="101"/>
                    <a:pt x="21" y="100"/>
                  </a:cubicBezTo>
                  <a:cubicBezTo>
                    <a:pt x="21" y="99"/>
                    <a:pt x="20" y="99"/>
                    <a:pt x="21" y="97"/>
                  </a:cubicBezTo>
                  <a:cubicBezTo>
                    <a:pt x="21" y="96"/>
                    <a:pt x="21" y="94"/>
                    <a:pt x="22" y="95"/>
                  </a:cubicBezTo>
                  <a:cubicBezTo>
                    <a:pt x="23" y="96"/>
                    <a:pt x="24" y="94"/>
                    <a:pt x="25" y="94"/>
                  </a:cubicBezTo>
                  <a:cubicBezTo>
                    <a:pt x="26" y="94"/>
                    <a:pt x="29" y="95"/>
                    <a:pt x="29" y="95"/>
                  </a:cubicBezTo>
                  <a:cubicBezTo>
                    <a:pt x="29" y="95"/>
                    <a:pt x="34" y="95"/>
                    <a:pt x="34" y="96"/>
                  </a:cubicBezTo>
                  <a:cubicBezTo>
                    <a:pt x="34" y="97"/>
                    <a:pt x="37" y="96"/>
                    <a:pt x="37" y="98"/>
                  </a:cubicBezTo>
                  <a:cubicBezTo>
                    <a:pt x="38" y="99"/>
                    <a:pt x="40" y="100"/>
                    <a:pt x="41" y="100"/>
                  </a:cubicBezTo>
                  <a:cubicBezTo>
                    <a:pt x="39" y="99"/>
                    <a:pt x="37" y="95"/>
                    <a:pt x="37" y="95"/>
                  </a:cubicBezTo>
                  <a:cubicBezTo>
                    <a:pt x="37" y="95"/>
                    <a:pt x="35" y="91"/>
                    <a:pt x="35" y="89"/>
                  </a:cubicBezTo>
                  <a:cubicBezTo>
                    <a:pt x="35" y="88"/>
                    <a:pt x="33" y="87"/>
                    <a:pt x="33" y="85"/>
                  </a:cubicBezTo>
                  <a:cubicBezTo>
                    <a:pt x="32" y="84"/>
                    <a:pt x="32" y="81"/>
                    <a:pt x="31" y="79"/>
                  </a:cubicBezTo>
                  <a:cubicBezTo>
                    <a:pt x="29" y="76"/>
                    <a:pt x="29" y="75"/>
                    <a:pt x="28" y="73"/>
                  </a:cubicBezTo>
                  <a:cubicBezTo>
                    <a:pt x="28" y="72"/>
                    <a:pt x="28" y="69"/>
                    <a:pt x="28" y="68"/>
                  </a:cubicBezTo>
                  <a:cubicBezTo>
                    <a:pt x="29" y="66"/>
                    <a:pt x="30" y="68"/>
                    <a:pt x="30" y="66"/>
                  </a:cubicBezTo>
                  <a:cubicBezTo>
                    <a:pt x="30" y="63"/>
                    <a:pt x="29" y="60"/>
                    <a:pt x="28" y="59"/>
                  </a:cubicBezTo>
                  <a:cubicBezTo>
                    <a:pt x="28" y="58"/>
                    <a:pt x="25" y="55"/>
                    <a:pt x="25" y="54"/>
                  </a:cubicBezTo>
                  <a:cubicBezTo>
                    <a:pt x="25" y="53"/>
                    <a:pt x="24" y="51"/>
                    <a:pt x="24" y="50"/>
                  </a:cubicBezTo>
                  <a:cubicBezTo>
                    <a:pt x="24" y="49"/>
                    <a:pt x="22" y="45"/>
                    <a:pt x="23" y="44"/>
                  </a:cubicBezTo>
                  <a:cubicBezTo>
                    <a:pt x="23" y="42"/>
                    <a:pt x="23" y="42"/>
                    <a:pt x="23" y="40"/>
                  </a:cubicBezTo>
                  <a:cubicBezTo>
                    <a:pt x="24" y="37"/>
                    <a:pt x="22" y="41"/>
                    <a:pt x="24" y="37"/>
                  </a:cubicBezTo>
                  <a:cubicBezTo>
                    <a:pt x="26" y="34"/>
                    <a:pt x="28" y="32"/>
                    <a:pt x="26" y="32"/>
                  </a:cubicBezTo>
                  <a:cubicBezTo>
                    <a:pt x="24" y="32"/>
                    <a:pt x="24" y="24"/>
                    <a:pt x="24" y="23"/>
                  </a:cubicBezTo>
                  <a:cubicBezTo>
                    <a:pt x="24" y="22"/>
                    <a:pt x="23" y="20"/>
                    <a:pt x="23" y="20"/>
                  </a:cubicBezTo>
                  <a:cubicBezTo>
                    <a:pt x="23" y="20"/>
                    <a:pt x="21" y="17"/>
                    <a:pt x="21" y="17"/>
                  </a:cubicBezTo>
                  <a:cubicBezTo>
                    <a:pt x="21" y="16"/>
                    <a:pt x="21" y="14"/>
                    <a:pt x="21" y="12"/>
                  </a:cubicBezTo>
                  <a:cubicBezTo>
                    <a:pt x="21" y="11"/>
                    <a:pt x="21" y="11"/>
                    <a:pt x="20" y="8"/>
                  </a:cubicBezTo>
                  <a:cubicBezTo>
                    <a:pt x="20" y="5"/>
                    <a:pt x="23" y="9"/>
                    <a:pt x="20" y="5"/>
                  </a:cubicBezTo>
                  <a:cubicBezTo>
                    <a:pt x="17" y="0"/>
                    <a:pt x="13" y="2"/>
                    <a:pt x="13" y="2"/>
                  </a:cubicBezTo>
                  <a:cubicBezTo>
                    <a:pt x="13" y="2"/>
                    <a:pt x="11" y="5"/>
                    <a:pt x="11" y="6"/>
                  </a:cubicBezTo>
                  <a:cubicBezTo>
                    <a:pt x="11" y="7"/>
                    <a:pt x="12" y="8"/>
                    <a:pt x="13" y="8"/>
                  </a:cubicBezTo>
                  <a:cubicBezTo>
                    <a:pt x="13" y="9"/>
                    <a:pt x="14" y="11"/>
                    <a:pt x="14" y="12"/>
                  </a:cubicBezTo>
                  <a:cubicBezTo>
                    <a:pt x="14" y="13"/>
                    <a:pt x="14" y="15"/>
                    <a:pt x="13" y="15"/>
                  </a:cubicBezTo>
                  <a:cubicBezTo>
                    <a:pt x="12" y="16"/>
                    <a:pt x="12" y="16"/>
                    <a:pt x="11" y="17"/>
                  </a:cubicBezTo>
                  <a:cubicBezTo>
                    <a:pt x="10" y="19"/>
                    <a:pt x="10" y="20"/>
                    <a:pt x="10" y="20"/>
                  </a:cubicBezTo>
                  <a:cubicBezTo>
                    <a:pt x="10" y="20"/>
                    <a:pt x="10" y="17"/>
                    <a:pt x="8" y="18"/>
                  </a:cubicBezTo>
                  <a:cubicBezTo>
                    <a:pt x="5" y="19"/>
                    <a:pt x="6" y="18"/>
                    <a:pt x="5" y="20"/>
                  </a:cubicBezTo>
                  <a:cubicBezTo>
                    <a:pt x="3" y="22"/>
                    <a:pt x="3" y="21"/>
                    <a:pt x="3" y="24"/>
                  </a:cubicBezTo>
                  <a:cubicBezTo>
                    <a:pt x="3" y="26"/>
                    <a:pt x="3" y="27"/>
                    <a:pt x="4" y="28"/>
                  </a:cubicBezTo>
                  <a:cubicBezTo>
                    <a:pt x="4" y="29"/>
                    <a:pt x="5" y="29"/>
                    <a:pt x="5" y="31"/>
                  </a:cubicBezTo>
                  <a:cubicBezTo>
                    <a:pt x="4" y="33"/>
                    <a:pt x="4" y="34"/>
                    <a:pt x="3" y="35"/>
                  </a:cubicBezTo>
                  <a:cubicBezTo>
                    <a:pt x="2" y="37"/>
                    <a:pt x="2" y="35"/>
                    <a:pt x="2" y="38"/>
                  </a:cubicBezTo>
                  <a:cubicBezTo>
                    <a:pt x="2" y="41"/>
                    <a:pt x="3" y="41"/>
                    <a:pt x="2" y="43"/>
                  </a:cubicBezTo>
                  <a:cubicBezTo>
                    <a:pt x="0" y="44"/>
                    <a:pt x="0" y="43"/>
                    <a:pt x="1" y="4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15" name="Freeform 174"/>
            <p:cNvSpPr>
              <a:spLocks/>
            </p:cNvSpPr>
            <p:nvPr/>
          </p:nvSpPr>
          <p:spPr bwMode="auto">
            <a:xfrm>
              <a:off x="5595" y="1964"/>
              <a:ext cx="0" cy="1"/>
            </a:xfrm>
            <a:custGeom>
              <a:avLst/>
              <a:gdLst>
                <a:gd name="T0" fmla="*/ 1 w 1"/>
                <a:gd name="T1" fmla="*/ 1 h 2"/>
                <a:gd name="T2" fmla="*/ 0 w 1"/>
                <a:gd name="T3" fmla="*/ 0 h 2"/>
                <a:gd name="T4" fmla="*/ 1 w 1"/>
                <a:gd name="T5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1"/>
                    <a:pt x="1" y="1"/>
                    <a:pt x="0" y="0"/>
                  </a:cubicBezTo>
                  <a:cubicBezTo>
                    <a:pt x="0" y="1"/>
                    <a:pt x="1" y="2"/>
                    <a:pt x="1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16" name="Freeform 175"/>
            <p:cNvSpPr>
              <a:spLocks/>
            </p:cNvSpPr>
            <p:nvPr/>
          </p:nvSpPr>
          <p:spPr bwMode="auto">
            <a:xfrm>
              <a:off x="3904" y="17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17" name="Freeform 176"/>
            <p:cNvSpPr>
              <a:spLocks/>
            </p:cNvSpPr>
            <p:nvPr/>
          </p:nvSpPr>
          <p:spPr bwMode="auto">
            <a:xfrm>
              <a:off x="3896" y="1705"/>
              <a:ext cx="109" cy="52"/>
            </a:xfrm>
            <a:custGeom>
              <a:avLst/>
              <a:gdLst>
                <a:gd name="T0" fmla="*/ 106 w 146"/>
                <a:gd name="T1" fmla="*/ 58 h 71"/>
                <a:gd name="T2" fmla="*/ 113 w 146"/>
                <a:gd name="T3" fmla="*/ 54 h 71"/>
                <a:gd name="T4" fmla="*/ 122 w 146"/>
                <a:gd name="T5" fmla="*/ 50 h 71"/>
                <a:gd name="T6" fmla="*/ 131 w 146"/>
                <a:gd name="T7" fmla="*/ 49 h 71"/>
                <a:gd name="T8" fmla="*/ 134 w 146"/>
                <a:gd name="T9" fmla="*/ 43 h 71"/>
                <a:gd name="T10" fmla="*/ 140 w 146"/>
                <a:gd name="T11" fmla="*/ 39 h 71"/>
                <a:gd name="T12" fmla="*/ 145 w 146"/>
                <a:gd name="T13" fmla="*/ 35 h 71"/>
                <a:gd name="T14" fmla="*/ 146 w 146"/>
                <a:gd name="T15" fmla="*/ 26 h 71"/>
                <a:gd name="T16" fmla="*/ 136 w 146"/>
                <a:gd name="T17" fmla="*/ 22 h 71"/>
                <a:gd name="T18" fmla="*/ 129 w 146"/>
                <a:gd name="T19" fmla="*/ 18 h 71"/>
                <a:gd name="T20" fmla="*/ 130 w 146"/>
                <a:gd name="T21" fmla="*/ 13 h 71"/>
                <a:gd name="T22" fmla="*/ 126 w 146"/>
                <a:gd name="T23" fmla="*/ 9 h 71"/>
                <a:gd name="T24" fmla="*/ 126 w 146"/>
                <a:gd name="T25" fmla="*/ 4 h 71"/>
                <a:gd name="T26" fmla="*/ 121 w 146"/>
                <a:gd name="T27" fmla="*/ 9 h 71"/>
                <a:gd name="T28" fmla="*/ 116 w 146"/>
                <a:gd name="T29" fmla="*/ 5 h 71"/>
                <a:gd name="T30" fmla="*/ 107 w 146"/>
                <a:gd name="T31" fmla="*/ 1 h 71"/>
                <a:gd name="T32" fmla="*/ 106 w 146"/>
                <a:gd name="T33" fmla="*/ 9 h 71"/>
                <a:gd name="T34" fmla="*/ 98 w 146"/>
                <a:gd name="T35" fmla="*/ 8 h 71"/>
                <a:gd name="T36" fmla="*/ 92 w 146"/>
                <a:gd name="T37" fmla="*/ 14 h 71"/>
                <a:gd name="T38" fmla="*/ 83 w 146"/>
                <a:gd name="T39" fmla="*/ 10 h 71"/>
                <a:gd name="T40" fmla="*/ 84 w 146"/>
                <a:gd name="T41" fmla="*/ 15 h 71"/>
                <a:gd name="T42" fmla="*/ 81 w 146"/>
                <a:gd name="T43" fmla="*/ 13 h 71"/>
                <a:gd name="T44" fmla="*/ 71 w 146"/>
                <a:gd name="T45" fmla="*/ 11 h 71"/>
                <a:gd name="T46" fmla="*/ 62 w 146"/>
                <a:gd name="T47" fmla="*/ 14 h 71"/>
                <a:gd name="T48" fmla="*/ 54 w 146"/>
                <a:gd name="T49" fmla="*/ 21 h 71"/>
                <a:gd name="T50" fmla="*/ 46 w 146"/>
                <a:gd name="T51" fmla="*/ 23 h 71"/>
                <a:gd name="T52" fmla="*/ 41 w 146"/>
                <a:gd name="T53" fmla="*/ 30 h 71"/>
                <a:gd name="T54" fmla="*/ 34 w 146"/>
                <a:gd name="T55" fmla="*/ 20 h 71"/>
                <a:gd name="T56" fmla="*/ 31 w 146"/>
                <a:gd name="T57" fmla="*/ 6 h 71"/>
                <a:gd name="T58" fmla="*/ 17 w 146"/>
                <a:gd name="T59" fmla="*/ 2 h 71"/>
                <a:gd name="T60" fmla="*/ 19 w 146"/>
                <a:gd name="T61" fmla="*/ 9 h 71"/>
                <a:gd name="T62" fmla="*/ 13 w 146"/>
                <a:gd name="T63" fmla="*/ 10 h 71"/>
                <a:gd name="T64" fmla="*/ 8 w 146"/>
                <a:gd name="T65" fmla="*/ 15 h 71"/>
                <a:gd name="T66" fmla="*/ 1 w 146"/>
                <a:gd name="T67" fmla="*/ 22 h 71"/>
                <a:gd name="T68" fmla="*/ 6 w 146"/>
                <a:gd name="T69" fmla="*/ 27 h 71"/>
                <a:gd name="T70" fmla="*/ 22 w 146"/>
                <a:gd name="T71" fmla="*/ 25 h 71"/>
                <a:gd name="T72" fmla="*/ 30 w 146"/>
                <a:gd name="T73" fmla="*/ 26 h 71"/>
                <a:gd name="T74" fmla="*/ 31 w 146"/>
                <a:gd name="T75" fmla="*/ 34 h 71"/>
                <a:gd name="T76" fmla="*/ 25 w 146"/>
                <a:gd name="T77" fmla="*/ 35 h 71"/>
                <a:gd name="T78" fmla="*/ 14 w 146"/>
                <a:gd name="T79" fmla="*/ 36 h 71"/>
                <a:gd name="T80" fmla="*/ 7 w 146"/>
                <a:gd name="T81" fmla="*/ 41 h 71"/>
                <a:gd name="T82" fmla="*/ 17 w 146"/>
                <a:gd name="T83" fmla="*/ 40 h 71"/>
                <a:gd name="T84" fmla="*/ 24 w 146"/>
                <a:gd name="T85" fmla="*/ 40 h 71"/>
                <a:gd name="T86" fmla="*/ 27 w 146"/>
                <a:gd name="T87" fmla="*/ 46 h 71"/>
                <a:gd name="T88" fmla="*/ 31 w 146"/>
                <a:gd name="T89" fmla="*/ 48 h 71"/>
                <a:gd name="T90" fmla="*/ 31 w 146"/>
                <a:gd name="T91" fmla="*/ 54 h 71"/>
                <a:gd name="T92" fmla="*/ 20 w 146"/>
                <a:gd name="T93" fmla="*/ 60 h 71"/>
                <a:gd name="T94" fmla="*/ 35 w 146"/>
                <a:gd name="T95" fmla="*/ 61 h 71"/>
                <a:gd name="T96" fmla="*/ 43 w 146"/>
                <a:gd name="T97" fmla="*/ 60 h 71"/>
                <a:gd name="T98" fmla="*/ 51 w 146"/>
                <a:gd name="T99" fmla="*/ 63 h 71"/>
                <a:gd name="T100" fmla="*/ 57 w 146"/>
                <a:gd name="T101" fmla="*/ 67 h 71"/>
                <a:gd name="T102" fmla="*/ 70 w 146"/>
                <a:gd name="T103" fmla="*/ 70 h 71"/>
                <a:gd name="T104" fmla="*/ 80 w 146"/>
                <a:gd name="T105" fmla="*/ 68 h 71"/>
                <a:gd name="T106" fmla="*/ 87 w 146"/>
                <a:gd name="T107" fmla="*/ 68 h 71"/>
                <a:gd name="T108" fmla="*/ 94 w 146"/>
                <a:gd name="T109" fmla="*/ 6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6" h="71">
                  <a:moveTo>
                    <a:pt x="101" y="61"/>
                  </a:moveTo>
                  <a:cubicBezTo>
                    <a:pt x="101" y="61"/>
                    <a:pt x="102" y="61"/>
                    <a:pt x="104" y="61"/>
                  </a:cubicBezTo>
                  <a:cubicBezTo>
                    <a:pt x="105" y="60"/>
                    <a:pt x="106" y="60"/>
                    <a:pt x="106" y="58"/>
                  </a:cubicBezTo>
                  <a:cubicBezTo>
                    <a:pt x="107" y="57"/>
                    <a:pt x="107" y="58"/>
                    <a:pt x="108" y="58"/>
                  </a:cubicBezTo>
                  <a:cubicBezTo>
                    <a:pt x="109" y="58"/>
                    <a:pt x="110" y="56"/>
                    <a:pt x="112" y="54"/>
                  </a:cubicBezTo>
                  <a:cubicBezTo>
                    <a:pt x="114" y="52"/>
                    <a:pt x="113" y="54"/>
                    <a:pt x="113" y="54"/>
                  </a:cubicBezTo>
                  <a:cubicBezTo>
                    <a:pt x="113" y="53"/>
                    <a:pt x="115" y="54"/>
                    <a:pt x="117" y="53"/>
                  </a:cubicBezTo>
                  <a:cubicBezTo>
                    <a:pt x="119" y="52"/>
                    <a:pt x="119" y="52"/>
                    <a:pt x="119" y="51"/>
                  </a:cubicBezTo>
                  <a:cubicBezTo>
                    <a:pt x="120" y="50"/>
                    <a:pt x="121" y="50"/>
                    <a:pt x="122" y="50"/>
                  </a:cubicBezTo>
                  <a:cubicBezTo>
                    <a:pt x="122" y="50"/>
                    <a:pt x="125" y="50"/>
                    <a:pt x="126" y="50"/>
                  </a:cubicBezTo>
                  <a:cubicBezTo>
                    <a:pt x="128" y="50"/>
                    <a:pt x="128" y="51"/>
                    <a:pt x="128" y="51"/>
                  </a:cubicBezTo>
                  <a:cubicBezTo>
                    <a:pt x="128" y="51"/>
                    <a:pt x="130" y="49"/>
                    <a:pt x="131" y="49"/>
                  </a:cubicBezTo>
                  <a:cubicBezTo>
                    <a:pt x="132" y="48"/>
                    <a:pt x="132" y="48"/>
                    <a:pt x="133" y="47"/>
                  </a:cubicBezTo>
                  <a:cubicBezTo>
                    <a:pt x="133" y="47"/>
                    <a:pt x="133" y="46"/>
                    <a:pt x="133" y="46"/>
                  </a:cubicBezTo>
                  <a:cubicBezTo>
                    <a:pt x="133" y="45"/>
                    <a:pt x="134" y="45"/>
                    <a:pt x="134" y="43"/>
                  </a:cubicBezTo>
                  <a:cubicBezTo>
                    <a:pt x="135" y="42"/>
                    <a:pt x="135" y="43"/>
                    <a:pt x="136" y="42"/>
                  </a:cubicBezTo>
                  <a:cubicBezTo>
                    <a:pt x="138" y="40"/>
                    <a:pt x="138" y="41"/>
                    <a:pt x="138" y="41"/>
                  </a:cubicBezTo>
                  <a:cubicBezTo>
                    <a:pt x="138" y="41"/>
                    <a:pt x="140" y="40"/>
                    <a:pt x="140" y="39"/>
                  </a:cubicBezTo>
                  <a:cubicBezTo>
                    <a:pt x="141" y="38"/>
                    <a:pt x="140" y="39"/>
                    <a:pt x="141" y="37"/>
                  </a:cubicBezTo>
                  <a:cubicBezTo>
                    <a:pt x="142" y="35"/>
                    <a:pt x="143" y="36"/>
                    <a:pt x="144" y="36"/>
                  </a:cubicBezTo>
                  <a:cubicBezTo>
                    <a:pt x="144" y="35"/>
                    <a:pt x="145" y="36"/>
                    <a:pt x="145" y="35"/>
                  </a:cubicBezTo>
                  <a:cubicBezTo>
                    <a:pt x="145" y="35"/>
                    <a:pt x="145" y="30"/>
                    <a:pt x="145" y="29"/>
                  </a:cubicBezTo>
                  <a:cubicBezTo>
                    <a:pt x="145" y="29"/>
                    <a:pt x="143" y="28"/>
                    <a:pt x="144" y="27"/>
                  </a:cubicBezTo>
                  <a:cubicBezTo>
                    <a:pt x="144" y="26"/>
                    <a:pt x="146" y="26"/>
                    <a:pt x="146" y="26"/>
                  </a:cubicBezTo>
                  <a:cubicBezTo>
                    <a:pt x="142" y="23"/>
                    <a:pt x="142" y="23"/>
                    <a:pt x="142" y="23"/>
                  </a:cubicBezTo>
                  <a:cubicBezTo>
                    <a:pt x="142" y="23"/>
                    <a:pt x="139" y="22"/>
                    <a:pt x="139" y="22"/>
                  </a:cubicBezTo>
                  <a:cubicBezTo>
                    <a:pt x="139" y="21"/>
                    <a:pt x="136" y="22"/>
                    <a:pt x="136" y="22"/>
                  </a:cubicBezTo>
                  <a:cubicBezTo>
                    <a:pt x="136" y="22"/>
                    <a:pt x="134" y="23"/>
                    <a:pt x="133" y="22"/>
                  </a:cubicBezTo>
                  <a:cubicBezTo>
                    <a:pt x="132" y="22"/>
                    <a:pt x="134" y="20"/>
                    <a:pt x="134" y="19"/>
                  </a:cubicBezTo>
                  <a:cubicBezTo>
                    <a:pt x="134" y="19"/>
                    <a:pt x="130" y="18"/>
                    <a:pt x="129" y="18"/>
                  </a:cubicBezTo>
                  <a:cubicBezTo>
                    <a:pt x="128" y="18"/>
                    <a:pt x="128" y="17"/>
                    <a:pt x="128" y="17"/>
                  </a:cubicBezTo>
                  <a:cubicBezTo>
                    <a:pt x="129" y="16"/>
                    <a:pt x="129" y="16"/>
                    <a:pt x="129" y="15"/>
                  </a:cubicBezTo>
                  <a:cubicBezTo>
                    <a:pt x="129" y="15"/>
                    <a:pt x="130" y="13"/>
                    <a:pt x="130" y="13"/>
                  </a:cubicBezTo>
                  <a:cubicBezTo>
                    <a:pt x="130" y="13"/>
                    <a:pt x="130" y="13"/>
                    <a:pt x="129" y="12"/>
                  </a:cubicBezTo>
                  <a:cubicBezTo>
                    <a:pt x="128" y="11"/>
                    <a:pt x="127" y="11"/>
                    <a:pt x="127" y="11"/>
                  </a:cubicBezTo>
                  <a:cubicBezTo>
                    <a:pt x="126" y="10"/>
                    <a:pt x="126" y="9"/>
                    <a:pt x="126" y="9"/>
                  </a:cubicBezTo>
                  <a:cubicBezTo>
                    <a:pt x="126" y="8"/>
                    <a:pt x="127" y="8"/>
                    <a:pt x="127" y="7"/>
                  </a:cubicBezTo>
                  <a:cubicBezTo>
                    <a:pt x="128" y="6"/>
                    <a:pt x="129" y="5"/>
                    <a:pt x="129" y="4"/>
                  </a:cubicBezTo>
                  <a:cubicBezTo>
                    <a:pt x="128" y="4"/>
                    <a:pt x="126" y="4"/>
                    <a:pt x="126" y="4"/>
                  </a:cubicBezTo>
                  <a:cubicBezTo>
                    <a:pt x="125" y="4"/>
                    <a:pt x="123" y="6"/>
                    <a:pt x="123" y="6"/>
                  </a:cubicBezTo>
                  <a:cubicBezTo>
                    <a:pt x="123" y="6"/>
                    <a:pt x="123" y="7"/>
                    <a:pt x="122" y="8"/>
                  </a:cubicBezTo>
                  <a:cubicBezTo>
                    <a:pt x="122" y="8"/>
                    <a:pt x="121" y="8"/>
                    <a:pt x="121" y="9"/>
                  </a:cubicBezTo>
                  <a:cubicBezTo>
                    <a:pt x="120" y="9"/>
                    <a:pt x="119" y="9"/>
                    <a:pt x="119" y="8"/>
                  </a:cubicBezTo>
                  <a:cubicBezTo>
                    <a:pt x="118" y="8"/>
                    <a:pt x="116" y="7"/>
                    <a:pt x="116" y="7"/>
                  </a:cubicBezTo>
                  <a:cubicBezTo>
                    <a:pt x="116" y="7"/>
                    <a:pt x="116" y="6"/>
                    <a:pt x="116" y="5"/>
                  </a:cubicBezTo>
                  <a:cubicBezTo>
                    <a:pt x="115" y="4"/>
                    <a:pt x="114" y="4"/>
                    <a:pt x="114" y="3"/>
                  </a:cubicBezTo>
                  <a:cubicBezTo>
                    <a:pt x="113" y="2"/>
                    <a:pt x="112" y="2"/>
                    <a:pt x="111" y="1"/>
                  </a:cubicBezTo>
                  <a:cubicBezTo>
                    <a:pt x="109" y="0"/>
                    <a:pt x="108" y="2"/>
                    <a:pt x="107" y="1"/>
                  </a:cubicBezTo>
                  <a:cubicBezTo>
                    <a:pt x="106" y="1"/>
                    <a:pt x="105" y="3"/>
                    <a:pt x="106" y="4"/>
                  </a:cubicBezTo>
                  <a:cubicBezTo>
                    <a:pt x="106" y="5"/>
                    <a:pt x="107" y="6"/>
                    <a:pt x="107" y="6"/>
                  </a:cubicBezTo>
                  <a:cubicBezTo>
                    <a:pt x="107" y="6"/>
                    <a:pt x="106" y="8"/>
                    <a:pt x="106" y="9"/>
                  </a:cubicBezTo>
                  <a:cubicBezTo>
                    <a:pt x="105" y="9"/>
                    <a:pt x="104" y="10"/>
                    <a:pt x="104" y="10"/>
                  </a:cubicBezTo>
                  <a:cubicBezTo>
                    <a:pt x="104" y="9"/>
                    <a:pt x="102" y="9"/>
                    <a:pt x="101" y="8"/>
                  </a:cubicBezTo>
                  <a:cubicBezTo>
                    <a:pt x="99" y="7"/>
                    <a:pt x="99" y="9"/>
                    <a:pt x="98" y="8"/>
                  </a:cubicBezTo>
                  <a:cubicBezTo>
                    <a:pt x="97" y="7"/>
                    <a:pt x="97" y="8"/>
                    <a:pt x="94" y="10"/>
                  </a:cubicBezTo>
                  <a:cubicBezTo>
                    <a:pt x="94" y="10"/>
                    <a:pt x="94" y="11"/>
                    <a:pt x="93" y="12"/>
                  </a:cubicBezTo>
                  <a:cubicBezTo>
                    <a:pt x="93" y="14"/>
                    <a:pt x="92" y="14"/>
                    <a:pt x="92" y="14"/>
                  </a:cubicBezTo>
                  <a:cubicBezTo>
                    <a:pt x="92" y="14"/>
                    <a:pt x="90" y="13"/>
                    <a:pt x="90" y="12"/>
                  </a:cubicBezTo>
                  <a:cubicBezTo>
                    <a:pt x="90" y="11"/>
                    <a:pt x="88" y="11"/>
                    <a:pt x="86" y="11"/>
                  </a:cubicBezTo>
                  <a:cubicBezTo>
                    <a:pt x="85" y="11"/>
                    <a:pt x="84" y="10"/>
                    <a:pt x="83" y="10"/>
                  </a:cubicBezTo>
                  <a:cubicBezTo>
                    <a:pt x="83" y="11"/>
                    <a:pt x="83" y="12"/>
                    <a:pt x="82" y="12"/>
                  </a:cubicBezTo>
                  <a:cubicBezTo>
                    <a:pt x="82" y="12"/>
                    <a:pt x="83" y="14"/>
                    <a:pt x="83" y="15"/>
                  </a:cubicBezTo>
                  <a:cubicBezTo>
                    <a:pt x="83" y="15"/>
                    <a:pt x="84" y="15"/>
                    <a:pt x="84" y="15"/>
                  </a:cubicBezTo>
                  <a:cubicBezTo>
                    <a:pt x="85" y="17"/>
                    <a:pt x="85" y="17"/>
                    <a:pt x="85" y="17"/>
                  </a:cubicBezTo>
                  <a:cubicBezTo>
                    <a:pt x="85" y="17"/>
                    <a:pt x="83" y="19"/>
                    <a:pt x="82" y="17"/>
                  </a:cubicBezTo>
                  <a:cubicBezTo>
                    <a:pt x="81" y="16"/>
                    <a:pt x="81" y="15"/>
                    <a:pt x="81" y="13"/>
                  </a:cubicBezTo>
                  <a:cubicBezTo>
                    <a:pt x="81" y="12"/>
                    <a:pt x="78" y="12"/>
                    <a:pt x="78" y="10"/>
                  </a:cubicBezTo>
                  <a:cubicBezTo>
                    <a:pt x="77" y="8"/>
                    <a:pt x="74" y="10"/>
                    <a:pt x="74" y="10"/>
                  </a:cubicBezTo>
                  <a:cubicBezTo>
                    <a:pt x="71" y="11"/>
                    <a:pt x="71" y="11"/>
                    <a:pt x="71" y="11"/>
                  </a:cubicBezTo>
                  <a:cubicBezTo>
                    <a:pt x="69" y="11"/>
                    <a:pt x="67" y="12"/>
                    <a:pt x="67" y="12"/>
                  </a:cubicBezTo>
                  <a:cubicBezTo>
                    <a:pt x="67" y="12"/>
                    <a:pt x="67" y="15"/>
                    <a:pt x="67" y="16"/>
                  </a:cubicBezTo>
                  <a:cubicBezTo>
                    <a:pt x="67" y="17"/>
                    <a:pt x="65" y="17"/>
                    <a:pt x="62" y="14"/>
                  </a:cubicBezTo>
                  <a:cubicBezTo>
                    <a:pt x="61" y="13"/>
                    <a:pt x="57" y="13"/>
                    <a:pt x="55" y="12"/>
                  </a:cubicBezTo>
                  <a:cubicBezTo>
                    <a:pt x="53" y="11"/>
                    <a:pt x="55" y="12"/>
                    <a:pt x="53" y="16"/>
                  </a:cubicBezTo>
                  <a:cubicBezTo>
                    <a:pt x="53" y="16"/>
                    <a:pt x="54" y="20"/>
                    <a:pt x="54" y="21"/>
                  </a:cubicBezTo>
                  <a:cubicBezTo>
                    <a:pt x="54" y="22"/>
                    <a:pt x="51" y="24"/>
                    <a:pt x="51" y="24"/>
                  </a:cubicBezTo>
                  <a:cubicBezTo>
                    <a:pt x="51" y="24"/>
                    <a:pt x="51" y="24"/>
                    <a:pt x="51" y="21"/>
                  </a:cubicBezTo>
                  <a:cubicBezTo>
                    <a:pt x="51" y="19"/>
                    <a:pt x="49" y="23"/>
                    <a:pt x="46" y="23"/>
                  </a:cubicBezTo>
                  <a:cubicBezTo>
                    <a:pt x="43" y="22"/>
                    <a:pt x="46" y="23"/>
                    <a:pt x="44" y="25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0"/>
                    <a:pt x="41" y="26"/>
                    <a:pt x="41" y="25"/>
                  </a:cubicBezTo>
                  <a:cubicBezTo>
                    <a:pt x="41" y="24"/>
                    <a:pt x="39" y="22"/>
                    <a:pt x="38" y="20"/>
                  </a:cubicBezTo>
                  <a:cubicBezTo>
                    <a:pt x="37" y="19"/>
                    <a:pt x="34" y="20"/>
                    <a:pt x="34" y="20"/>
                  </a:cubicBezTo>
                  <a:cubicBezTo>
                    <a:pt x="34" y="19"/>
                    <a:pt x="39" y="15"/>
                    <a:pt x="39" y="15"/>
                  </a:cubicBezTo>
                  <a:cubicBezTo>
                    <a:pt x="39" y="15"/>
                    <a:pt x="38" y="11"/>
                    <a:pt x="38" y="9"/>
                  </a:cubicBezTo>
                  <a:cubicBezTo>
                    <a:pt x="38" y="7"/>
                    <a:pt x="34" y="8"/>
                    <a:pt x="31" y="6"/>
                  </a:cubicBezTo>
                  <a:cubicBezTo>
                    <a:pt x="31" y="6"/>
                    <a:pt x="28" y="5"/>
                    <a:pt x="27" y="4"/>
                  </a:cubicBezTo>
                  <a:cubicBezTo>
                    <a:pt x="27" y="3"/>
                    <a:pt x="24" y="3"/>
                    <a:pt x="23" y="2"/>
                  </a:cubicBezTo>
                  <a:cubicBezTo>
                    <a:pt x="22" y="1"/>
                    <a:pt x="19" y="2"/>
                    <a:pt x="17" y="2"/>
                  </a:cubicBezTo>
                  <a:cubicBezTo>
                    <a:pt x="14" y="2"/>
                    <a:pt x="15" y="4"/>
                    <a:pt x="15" y="4"/>
                  </a:cubicBezTo>
                  <a:cubicBezTo>
                    <a:pt x="15" y="4"/>
                    <a:pt x="16" y="4"/>
                    <a:pt x="18" y="4"/>
                  </a:cubicBezTo>
                  <a:cubicBezTo>
                    <a:pt x="19" y="3"/>
                    <a:pt x="20" y="6"/>
                    <a:pt x="19" y="9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22" y="12"/>
                    <a:pt x="20" y="13"/>
                    <a:pt x="19" y="13"/>
                  </a:cubicBezTo>
                  <a:cubicBezTo>
                    <a:pt x="18" y="13"/>
                    <a:pt x="17" y="13"/>
                    <a:pt x="13" y="10"/>
                  </a:cubicBezTo>
                  <a:cubicBezTo>
                    <a:pt x="13" y="9"/>
                    <a:pt x="11" y="10"/>
                    <a:pt x="10" y="11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9" y="20"/>
                    <a:pt x="6" y="20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2"/>
                    <a:pt x="0" y="24"/>
                    <a:pt x="1" y="27"/>
                  </a:cubicBezTo>
                  <a:cubicBezTo>
                    <a:pt x="1" y="30"/>
                    <a:pt x="1" y="27"/>
                    <a:pt x="2" y="27"/>
                  </a:cubicBezTo>
                  <a:cubicBezTo>
                    <a:pt x="3" y="26"/>
                    <a:pt x="3" y="28"/>
                    <a:pt x="6" y="27"/>
                  </a:cubicBezTo>
                  <a:cubicBezTo>
                    <a:pt x="6" y="27"/>
                    <a:pt x="11" y="28"/>
                    <a:pt x="13" y="25"/>
                  </a:cubicBezTo>
                  <a:cubicBezTo>
                    <a:pt x="13" y="25"/>
                    <a:pt x="15" y="25"/>
                    <a:pt x="18" y="24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9" y="24"/>
                    <a:pt x="30" y="23"/>
                  </a:cubicBezTo>
                  <a:cubicBezTo>
                    <a:pt x="31" y="23"/>
                    <a:pt x="30" y="24"/>
                    <a:pt x="30" y="26"/>
                  </a:cubicBezTo>
                  <a:cubicBezTo>
                    <a:pt x="29" y="27"/>
                    <a:pt x="28" y="29"/>
                    <a:pt x="28" y="29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31" y="34"/>
                    <a:pt x="31" y="34"/>
                    <a:pt x="31" y="34"/>
                  </a:cubicBezTo>
                  <a:cubicBezTo>
                    <a:pt x="31" y="34"/>
                    <a:pt x="30" y="35"/>
                    <a:pt x="28" y="34"/>
                  </a:cubicBezTo>
                  <a:cubicBezTo>
                    <a:pt x="26" y="32"/>
                    <a:pt x="27" y="34"/>
                    <a:pt x="27" y="33"/>
                  </a:cubicBezTo>
                  <a:cubicBezTo>
                    <a:pt x="25" y="35"/>
                    <a:pt x="25" y="35"/>
                    <a:pt x="25" y="35"/>
                  </a:cubicBezTo>
                  <a:cubicBezTo>
                    <a:pt x="25" y="35"/>
                    <a:pt x="24" y="35"/>
                    <a:pt x="23" y="35"/>
                  </a:cubicBezTo>
                  <a:cubicBezTo>
                    <a:pt x="22" y="36"/>
                    <a:pt x="19" y="36"/>
                    <a:pt x="17" y="36"/>
                  </a:cubicBezTo>
                  <a:cubicBezTo>
                    <a:pt x="15" y="36"/>
                    <a:pt x="14" y="36"/>
                    <a:pt x="14" y="36"/>
                  </a:cubicBezTo>
                  <a:cubicBezTo>
                    <a:pt x="13" y="36"/>
                    <a:pt x="9" y="37"/>
                    <a:pt x="8" y="37"/>
                  </a:cubicBezTo>
                  <a:cubicBezTo>
                    <a:pt x="7" y="37"/>
                    <a:pt x="6" y="38"/>
                    <a:pt x="6" y="39"/>
                  </a:cubicBezTo>
                  <a:cubicBezTo>
                    <a:pt x="5" y="39"/>
                    <a:pt x="6" y="41"/>
                    <a:pt x="7" y="41"/>
                  </a:cubicBezTo>
                  <a:cubicBezTo>
                    <a:pt x="8" y="41"/>
                    <a:pt x="8" y="42"/>
                    <a:pt x="9" y="41"/>
                  </a:cubicBezTo>
                  <a:cubicBezTo>
                    <a:pt x="10" y="41"/>
                    <a:pt x="11" y="41"/>
                    <a:pt x="12" y="41"/>
                  </a:cubicBezTo>
                  <a:cubicBezTo>
                    <a:pt x="12" y="41"/>
                    <a:pt x="16" y="40"/>
                    <a:pt x="17" y="40"/>
                  </a:cubicBezTo>
                  <a:cubicBezTo>
                    <a:pt x="17" y="39"/>
                    <a:pt x="18" y="41"/>
                    <a:pt x="19" y="41"/>
                  </a:cubicBezTo>
                  <a:cubicBezTo>
                    <a:pt x="20" y="41"/>
                    <a:pt x="20" y="41"/>
                    <a:pt x="21" y="40"/>
                  </a:cubicBezTo>
                  <a:cubicBezTo>
                    <a:pt x="22" y="39"/>
                    <a:pt x="23" y="40"/>
                    <a:pt x="24" y="40"/>
                  </a:cubicBezTo>
                  <a:cubicBezTo>
                    <a:pt x="25" y="39"/>
                    <a:pt x="24" y="40"/>
                    <a:pt x="25" y="41"/>
                  </a:cubicBezTo>
                  <a:cubicBezTo>
                    <a:pt x="25" y="42"/>
                    <a:pt x="25" y="43"/>
                    <a:pt x="26" y="45"/>
                  </a:cubicBezTo>
                  <a:cubicBezTo>
                    <a:pt x="26" y="46"/>
                    <a:pt x="27" y="46"/>
                    <a:pt x="27" y="46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3" y="45"/>
                    <a:pt x="33" y="46"/>
                    <a:pt x="32" y="46"/>
                  </a:cubicBezTo>
                  <a:cubicBezTo>
                    <a:pt x="32" y="46"/>
                    <a:pt x="32" y="47"/>
                    <a:pt x="31" y="48"/>
                  </a:cubicBezTo>
                  <a:cubicBezTo>
                    <a:pt x="30" y="49"/>
                    <a:pt x="31" y="49"/>
                    <a:pt x="31" y="49"/>
                  </a:cubicBezTo>
                  <a:cubicBezTo>
                    <a:pt x="32" y="49"/>
                    <a:pt x="34" y="51"/>
                    <a:pt x="34" y="52"/>
                  </a:cubicBezTo>
                  <a:cubicBezTo>
                    <a:pt x="34" y="53"/>
                    <a:pt x="32" y="53"/>
                    <a:pt x="31" y="54"/>
                  </a:cubicBezTo>
                  <a:cubicBezTo>
                    <a:pt x="30" y="54"/>
                    <a:pt x="29" y="55"/>
                    <a:pt x="28" y="56"/>
                  </a:cubicBezTo>
                  <a:cubicBezTo>
                    <a:pt x="27" y="56"/>
                    <a:pt x="23" y="56"/>
                    <a:pt x="22" y="57"/>
                  </a:cubicBezTo>
                  <a:cubicBezTo>
                    <a:pt x="20" y="58"/>
                    <a:pt x="21" y="58"/>
                    <a:pt x="20" y="60"/>
                  </a:cubicBezTo>
                  <a:cubicBezTo>
                    <a:pt x="20" y="61"/>
                    <a:pt x="22" y="61"/>
                    <a:pt x="24" y="61"/>
                  </a:cubicBezTo>
                  <a:cubicBezTo>
                    <a:pt x="26" y="62"/>
                    <a:pt x="27" y="62"/>
                    <a:pt x="28" y="62"/>
                  </a:cubicBezTo>
                  <a:cubicBezTo>
                    <a:pt x="30" y="61"/>
                    <a:pt x="34" y="61"/>
                    <a:pt x="35" y="61"/>
                  </a:cubicBezTo>
                  <a:cubicBezTo>
                    <a:pt x="37" y="61"/>
                    <a:pt x="37" y="61"/>
                    <a:pt x="38" y="61"/>
                  </a:cubicBezTo>
                  <a:cubicBezTo>
                    <a:pt x="39" y="61"/>
                    <a:pt x="40" y="60"/>
                    <a:pt x="42" y="58"/>
                  </a:cubicBezTo>
                  <a:cubicBezTo>
                    <a:pt x="44" y="56"/>
                    <a:pt x="43" y="59"/>
                    <a:pt x="43" y="60"/>
                  </a:cubicBezTo>
                  <a:cubicBezTo>
                    <a:pt x="44" y="60"/>
                    <a:pt x="44" y="61"/>
                    <a:pt x="45" y="61"/>
                  </a:cubicBezTo>
                  <a:cubicBezTo>
                    <a:pt x="46" y="61"/>
                    <a:pt x="47" y="62"/>
                    <a:pt x="47" y="62"/>
                  </a:cubicBezTo>
                  <a:cubicBezTo>
                    <a:pt x="48" y="63"/>
                    <a:pt x="50" y="63"/>
                    <a:pt x="51" y="63"/>
                  </a:cubicBezTo>
                  <a:cubicBezTo>
                    <a:pt x="52" y="63"/>
                    <a:pt x="51" y="64"/>
                    <a:pt x="52" y="65"/>
                  </a:cubicBezTo>
                  <a:cubicBezTo>
                    <a:pt x="52" y="66"/>
                    <a:pt x="53" y="66"/>
                    <a:pt x="54" y="66"/>
                  </a:cubicBezTo>
                  <a:cubicBezTo>
                    <a:pt x="56" y="67"/>
                    <a:pt x="56" y="67"/>
                    <a:pt x="57" y="67"/>
                  </a:cubicBezTo>
                  <a:cubicBezTo>
                    <a:pt x="58" y="68"/>
                    <a:pt x="59" y="68"/>
                    <a:pt x="60" y="69"/>
                  </a:cubicBezTo>
                  <a:cubicBezTo>
                    <a:pt x="61" y="70"/>
                    <a:pt x="64" y="70"/>
                    <a:pt x="64" y="70"/>
                  </a:cubicBezTo>
                  <a:cubicBezTo>
                    <a:pt x="64" y="70"/>
                    <a:pt x="67" y="71"/>
                    <a:pt x="70" y="70"/>
                  </a:cubicBezTo>
                  <a:cubicBezTo>
                    <a:pt x="73" y="70"/>
                    <a:pt x="73" y="71"/>
                    <a:pt x="74" y="71"/>
                  </a:cubicBezTo>
                  <a:cubicBezTo>
                    <a:pt x="76" y="71"/>
                    <a:pt x="77" y="71"/>
                    <a:pt x="78" y="70"/>
                  </a:cubicBezTo>
                  <a:cubicBezTo>
                    <a:pt x="79" y="69"/>
                    <a:pt x="79" y="69"/>
                    <a:pt x="80" y="68"/>
                  </a:cubicBezTo>
                  <a:cubicBezTo>
                    <a:pt x="80" y="67"/>
                    <a:pt x="82" y="68"/>
                    <a:pt x="82" y="68"/>
                  </a:cubicBezTo>
                  <a:cubicBezTo>
                    <a:pt x="82" y="68"/>
                    <a:pt x="83" y="70"/>
                    <a:pt x="84" y="69"/>
                  </a:cubicBezTo>
                  <a:cubicBezTo>
                    <a:pt x="85" y="68"/>
                    <a:pt x="86" y="68"/>
                    <a:pt x="87" y="68"/>
                  </a:cubicBezTo>
                  <a:cubicBezTo>
                    <a:pt x="88" y="67"/>
                    <a:pt x="88" y="66"/>
                    <a:pt x="88" y="64"/>
                  </a:cubicBezTo>
                  <a:cubicBezTo>
                    <a:pt x="89" y="63"/>
                    <a:pt x="91" y="65"/>
                    <a:pt x="91" y="64"/>
                  </a:cubicBezTo>
                  <a:cubicBezTo>
                    <a:pt x="91" y="63"/>
                    <a:pt x="94" y="61"/>
                    <a:pt x="94" y="61"/>
                  </a:cubicBezTo>
                  <a:cubicBezTo>
                    <a:pt x="94" y="61"/>
                    <a:pt x="97" y="61"/>
                    <a:pt x="98" y="61"/>
                  </a:cubicBezTo>
                  <a:cubicBezTo>
                    <a:pt x="100" y="61"/>
                    <a:pt x="100" y="62"/>
                    <a:pt x="101" y="6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18" name="Freeform 177"/>
            <p:cNvSpPr>
              <a:spLocks/>
            </p:cNvSpPr>
            <p:nvPr/>
          </p:nvSpPr>
          <p:spPr bwMode="auto">
            <a:xfrm>
              <a:off x="4249" y="1439"/>
              <a:ext cx="109" cy="80"/>
            </a:xfrm>
            <a:custGeom>
              <a:avLst/>
              <a:gdLst>
                <a:gd name="T0" fmla="*/ 8 w 146"/>
                <a:gd name="T1" fmla="*/ 32 h 107"/>
                <a:gd name="T2" fmla="*/ 16 w 146"/>
                <a:gd name="T3" fmla="*/ 27 h 107"/>
                <a:gd name="T4" fmla="*/ 16 w 146"/>
                <a:gd name="T5" fmla="*/ 35 h 107"/>
                <a:gd name="T6" fmla="*/ 9 w 146"/>
                <a:gd name="T7" fmla="*/ 34 h 107"/>
                <a:gd name="T8" fmla="*/ 11 w 146"/>
                <a:gd name="T9" fmla="*/ 41 h 107"/>
                <a:gd name="T10" fmla="*/ 19 w 146"/>
                <a:gd name="T11" fmla="*/ 48 h 107"/>
                <a:gd name="T12" fmla="*/ 25 w 146"/>
                <a:gd name="T13" fmla="*/ 55 h 107"/>
                <a:gd name="T14" fmla="*/ 35 w 146"/>
                <a:gd name="T15" fmla="*/ 59 h 107"/>
                <a:gd name="T16" fmla="*/ 46 w 146"/>
                <a:gd name="T17" fmla="*/ 55 h 107"/>
                <a:gd name="T18" fmla="*/ 50 w 146"/>
                <a:gd name="T19" fmla="*/ 45 h 107"/>
                <a:gd name="T20" fmla="*/ 62 w 146"/>
                <a:gd name="T21" fmla="*/ 42 h 107"/>
                <a:gd name="T22" fmla="*/ 61 w 146"/>
                <a:gd name="T23" fmla="*/ 52 h 107"/>
                <a:gd name="T24" fmla="*/ 73 w 146"/>
                <a:gd name="T25" fmla="*/ 49 h 107"/>
                <a:gd name="T26" fmla="*/ 75 w 146"/>
                <a:gd name="T27" fmla="*/ 49 h 107"/>
                <a:gd name="T28" fmla="*/ 66 w 146"/>
                <a:gd name="T29" fmla="*/ 55 h 107"/>
                <a:gd name="T30" fmla="*/ 54 w 146"/>
                <a:gd name="T31" fmla="*/ 61 h 107"/>
                <a:gd name="T32" fmla="*/ 41 w 146"/>
                <a:gd name="T33" fmla="*/ 61 h 107"/>
                <a:gd name="T34" fmla="*/ 45 w 146"/>
                <a:gd name="T35" fmla="*/ 71 h 107"/>
                <a:gd name="T36" fmla="*/ 59 w 146"/>
                <a:gd name="T37" fmla="*/ 70 h 107"/>
                <a:gd name="T38" fmla="*/ 69 w 146"/>
                <a:gd name="T39" fmla="*/ 70 h 107"/>
                <a:gd name="T40" fmla="*/ 73 w 146"/>
                <a:gd name="T41" fmla="*/ 70 h 107"/>
                <a:gd name="T42" fmla="*/ 56 w 146"/>
                <a:gd name="T43" fmla="*/ 73 h 107"/>
                <a:gd name="T44" fmla="*/ 51 w 146"/>
                <a:gd name="T45" fmla="*/ 78 h 107"/>
                <a:gd name="T46" fmla="*/ 42 w 146"/>
                <a:gd name="T47" fmla="*/ 77 h 107"/>
                <a:gd name="T48" fmla="*/ 46 w 146"/>
                <a:gd name="T49" fmla="*/ 86 h 107"/>
                <a:gd name="T50" fmla="*/ 56 w 146"/>
                <a:gd name="T51" fmla="*/ 91 h 107"/>
                <a:gd name="T52" fmla="*/ 68 w 146"/>
                <a:gd name="T53" fmla="*/ 92 h 107"/>
                <a:gd name="T54" fmla="*/ 67 w 146"/>
                <a:gd name="T55" fmla="*/ 94 h 107"/>
                <a:gd name="T56" fmla="*/ 66 w 146"/>
                <a:gd name="T57" fmla="*/ 99 h 107"/>
                <a:gd name="T58" fmla="*/ 75 w 146"/>
                <a:gd name="T59" fmla="*/ 106 h 107"/>
                <a:gd name="T60" fmla="*/ 85 w 146"/>
                <a:gd name="T61" fmla="*/ 102 h 107"/>
                <a:gd name="T62" fmla="*/ 93 w 146"/>
                <a:gd name="T63" fmla="*/ 84 h 107"/>
                <a:gd name="T64" fmla="*/ 102 w 146"/>
                <a:gd name="T65" fmla="*/ 78 h 107"/>
                <a:gd name="T66" fmla="*/ 104 w 146"/>
                <a:gd name="T67" fmla="*/ 66 h 107"/>
                <a:gd name="T68" fmla="*/ 112 w 146"/>
                <a:gd name="T69" fmla="*/ 52 h 107"/>
                <a:gd name="T70" fmla="*/ 124 w 146"/>
                <a:gd name="T71" fmla="*/ 47 h 107"/>
                <a:gd name="T72" fmla="*/ 138 w 146"/>
                <a:gd name="T73" fmla="*/ 44 h 107"/>
                <a:gd name="T74" fmla="*/ 142 w 146"/>
                <a:gd name="T75" fmla="*/ 38 h 107"/>
                <a:gd name="T76" fmla="*/ 131 w 146"/>
                <a:gd name="T77" fmla="*/ 32 h 107"/>
                <a:gd name="T78" fmla="*/ 121 w 146"/>
                <a:gd name="T79" fmla="*/ 30 h 107"/>
                <a:gd name="T80" fmla="*/ 110 w 146"/>
                <a:gd name="T81" fmla="*/ 29 h 107"/>
                <a:gd name="T82" fmla="*/ 109 w 146"/>
                <a:gd name="T83" fmla="*/ 20 h 107"/>
                <a:gd name="T84" fmla="*/ 98 w 146"/>
                <a:gd name="T85" fmla="*/ 17 h 107"/>
                <a:gd name="T86" fmla="*/ 95 w 146"/>
                <a:gd name="T87" fmla="*/ 16 h 107"/>
                <a:gd name="T88" fmla="*/ 81 w 146"/>
                <a:gd name="T89" fmla="*/ 3 h 107"/>
                <a:gd name="T90" fmla="*/ 69 w 146"/>
                <a:gd name="T91" fmla="*/ 3 h 107"/>
                <a:gd name="T92" fmla="*/ 68 w 146"/>
                <a:gd name="T93" fmla="*/ 11 h 107"/>
                <a:gd name="T94" fmla="*/ 73 w 146"/>
                <a:gd name="T95" fmla="*/ 25 h 107"/>
                <a:gd name="T96" fmla="*/ 54 w 146"/>
                <a:gd name="T97" fmla="*/ 9 h 107"/>
                <a:gd name="T98" fmla="*/ 37 w 146"/>
                <a:gd name="T99" fmla="*/ 21 h 107"/>
                <a:gd name="T100" fmla="*/ 43 w 146"/>
                <a:gd name="T101" fmla="*/ 12 h 107"/>
                <a:gd name="T102" fmla="*/ 17 w 146"/>
                <a:gd name="T103" fmla="*/ 15 h 107"/>
                <a:gd name="T104" fmla="*/ 2 w 146"/>
                <a:gd name="T105" fmla="*/ 18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6" h="107">
                  <a:moveTo>
                    <a:pt x="3" y="23"/>
                  </a:moveTo>
                  <a:cubicBezTo>
                    <a:pt x="3" y="23"/>
                    <a:pt x="4" y="24"/>
                    <a:pt x="6" y="26"/>
                  </a:cubicBezTo>
                  <a:cubicBezTo>
                    <a:pt x="7" y="29"/>
                    <a:pt x="3" y="28"/>
                    <a:pt x="5" y="30"/>
                  </a:cubicBezTo>
                  <a:cubicBezTo>
                    <a:pt x="5" y="30"/>
                    <a:pt x="6" y="30"/>
                    <a:pt x="6" y="31"/>
                  </a:cubicBezTo>
                  <a:cubicBezTo>
                    <a:pt x="6" y="31"/>
                    <a:pt x="7" y="31"/>
                    <a:pt x="8" y="32"/>
                  </a:cubicBezTo>
                  <a:cubicBezTo>
                    <a:pt x="9" y="32"/>
                    <a:pt x="10" y="31"/>
                    <a:pt x="10" y="31"/>
                  </a:cubicBezTo>
                  <a:cubicBezTo>
                    <a:pt x="11" y="31"/>
                    <a:pt x="12" y="30"/>
                    <a:pt x="12" y="29"/>
                  </a:cubicBezTo>
                  <a:cubicBezTo>
                    <a:pt x="12" y="29"/>
                    <a:pt x="12" y="28"/>
                    <a:pt x="12" y="28"/>
                  </a:cubicBezTo>
                  <a:cubicBezTo>
                    <a:pt x="13" y="27"/>
                    <a:pt x="13" y="26"/>
                    <a:pt x="14" y="26"/>
                  </a:cubicBezTo>
                  <a:cubicBezTo>
                    <a:pt x="14" y="26"/>
                    <a:pt x="16" y="26"/>
                    <a:pt x="16" y="27"/>
                  </a:cubicBezTo>
                  <a:cubicBezTo>
                    <a:pt x="16" y="28"/>
                    <a:pt x="16" y="29"/>
                    <a:pt x="15" y="29"/>
                  </a:cubicBezTo>
                  <a:cubicBezTo>
                    <a:pt x="15" y="30"/>
                    <a:pt x="13" y="30"/>
                    <a:pt x="13" y="30"/>
                  </a:cubicBezTo>
                  <a:cubicBezTo>
                    <a:pt x="14" y="31"/>
                    <a:pt x="13" y="31"/>
                    <a:pt x="13" y="32"/>
                  </a:cubicBezTo>
                  <a:cubicBezTo>
                    <a:pt x="13" y="34"/>
                    <a:pt x="12" y="34"/>
                    <a:pt x="13" y="34"/>
                  </a:cubicBezTo>
                  <a:cubicBezTo>
                    <a:pt x="14" y="35"/>
                    <a:pt x="16" y="34"/>
                    <a:pt x="16" y="35"/>
                  </a:cubicBezTo>
                  <a:cubicBezTo>
                    <a:pt x="17" y="36"/>
                    <a:pt x="18" y="37"/>
                    <a:pt x="17" y="38"/>
                  </a:cubicBezTo>
                  <a:cubicBezTo>
                    <a:pt x="16" y="39"/>
                    <a:pt x="15" y="38"/>
                    <a:pt x="14" y="38"/>
                  </a:cubicBezTo>
                  <a:cubicBezTo>
                    <a:pt x="14" y="37"/>
                    <a:pt x="12" y="36"/>
                    <a:pt x="12" y="36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11" y="35"/>
                    <a:pt x="9" y="34"/>
                    <a:pt x="9" y="34"/>
                  </a:cubicBezTo>
                  <a:cubicBezTo>
                    <a:pt x="8" y="35"/>
                    <a:pt x="7" y="34"/>
                    <a:pt x="6" y="35"/>
                  </a:cubicBezTo>
                  <a:cubicBezTo>
                    <a:pt x="5" y="35"/>
                    <a:pt x="6" y="34"/>
                    <a:pt x="5" y="35"/>
                  </a:cubicBezTo>
                  <a:cubicBezTo>
                    <a:pt x="5" y="36"/>
                    <a:pt x="7" y="37"/>
                    <a:pt x="7" y="37"/>
                  </a:cubicBezTo>
                  <a:cubicBezTo>
                    <a:pt x="8" y="38"/>
                    <a:pt x="10" y="38"/>
                    <a:pt x="10" y="39"/>
                  </a:cubicBezTo>
                  <a:cubicBezTo>
                    <a:pt x="11" y="39"/>
                    <a:pt x="11" y="40"/>
                    <a:pt x="11" y="41"/>
                  </a:cubicBezTo>
                  <a:cubicBezTo>
                    <a:pt x="10" y="42"/>
                    <a:pt x="10" y="42"/>
                    <a:pt x="10" y="43"/>
                  </a:cubicBezTo>
                  <a:cubicBezTo>
                    <a:pt x="10" y="44"/>
                    <a:pt x="10" y="45"/>
                    <a:pt x="11" y="45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7" y="48"/>
                    <a:pt x="17" y="48"/>
                  </a:cubicBezTo>
                  <a:cubicBezTo>
                    <a:pt x="17" y="48"/>
                    <a:pt x="18" y="47"/>
                    <a:pt x="19" y="48"/>
                  </a:cubicBezTo>
                  <a:cubicBezTo>
                    <a:pt x="19" y="48"/>
                    <a:pt x="20" y="48"/>
                    <a:pt x="20" y="49"/>
                  </a:cubicBezTo>
                  <a:cubicBezTo>
                    <a:pt x="21" y="49"/>
                    <a:pt x="19" y="49"/>
                    <a:pt x="20" y="50"/>
                  </a:cubicBezTo>
                  <a:cubicBezTo>
                    <a:pt x="20" y="51"/>
                    <a:pt x="20" y="52"/>
                    <a:pt x="21" y="53"/>
                  </a:cubicBezTo>
                  <a:cubicBezTo>
                    <a:pt x="21" y="54"/>
                    <a:pt x="23" y="54"/>
                    <a:pt x="23" y="54"/>
                  </a:cubicBezTo>
                  <a:cubicBezTo>
                    <a:pt x="24" y="54"/>
                    <a:pt x="25" y="54"/>
                    <a:pt x="25" y="55"/>
                  </a:cubicBezTo>
                  <a:cubicBezTo>
                    <a:pt x="25" y="56"/>
                    <a:pt x="26" y="58"/>
                    <a:pt x="26" y="58"/>
                  </a:cubicBezTo>
                  <a:cubicBezTo>
                    <a:pt x="27" y="58"/>
                    <a:pt x="27" y="58"/>
                    <a:pt x="27" y="58"/>
                  </a:cubicBezTo>
                  <a:cubicBezTo>
                    <a:pt x="31" y="59"/>
                    <a:pt x="31" y="59"/>
                    <a:pt x="31" y="59"/>
                  </a:cubicBezTo>
                  <a:cubicBezTo>
                    <a:pt x="31" y="59"/>
                    <a:pt x="32" y="59"/>
                    <a:pt x="33" y="59"/>
                  </a:cubicBezTo>
                  <a:cubicBezTo>
                    <a:pt x="33" y="60"/>
                    <a:pt x="35" y="59"/>
                    <a:pt x="35" y="59"/>
                  </a:cubicBezTo>
                  <a:cubicBezTo>
                    <a:pt x="35" y="59"/>
                    <a:pt x="37" y="60"/>
                    <a:pt x="38" y="59"/>
                  </a:cubicBezTo>
                  <a:cubicBezTo>
                    <a:pt x="39" y="59"/>
                    <a:pt x="39" y="59"/>
                    <a:pt x="40" y="59"/>
                  </a:cubicBezTo>
                  <a:cubicBezTo>
                    <a:pt x="41" y="58"/>
                    <a:pt x="41" y="58"/>
                    <a:pt x="42" y="58"/>
                  </a:cubicBezTo>
                  <a:cubicBezTo>
                    <a:pt x="43" y="57"/>
                    <a:pt x="45" y="56"/>
                    <a:pt x="45" y="56"/>
                  </a:cubicBezTo>
                  <a:cubicBezTo>
                    <a:pt x="46" y="55"/>
                    <a:pt x="46" y="55"/>
                    <a:pt x="46" y="55"/>
                  </a:cubicBezTo>
                  <a:cubicBezTo>
                    <a:pt x="47" y="55"/>
                    <a:pt x="47" y="54"/>
                    <a:pt x="48" y="54"/>
                  </a:cubicBezTo>
                  <a:cubicBezTo>
                    <a:pt x="48" y="54"/>
                    <a:pt x="49" y="54"/>
                    <a:pt x="49" y="53"/>
                  </a:cubicBezTo>
                  <a:cubicBezTo>
                    <a:pt x="49" y="53"/>
                    <a:pt x="49" y="52"/>
                    <a:pt x="49" y="51"/>
                  </a:cubicBezTo>
                  <a:cubicBezTo>
                    <a:pt x="49" y="50"/>
                    <a:pt x="49" y="50"/>
                    <a:pt x="49" y="48"/>
                  </a:cubicBezTo>
                  <a:cubicBezTo>
                    <a:pt x="49" y="47"/>
                    <a:pt x="49" y="45"/>
                    <a:pt x="50" y="45"/>
                  </a:cubicBezTo>
                  <a:cubicBezTo>
                    <a:pt x="51" y="44"/>
                    <a:pt x="51" y="43"/>
                    <a:pt x="51" y="44"/>
                  </a:cubicBezTo>
                  <a:cubicBezTo>
                    <a:pt x="52" y="45"/>
                    <a:pt x="54" y="46"/>
                    <a:pt x="55" y="46"/>
                  </a:cubicBezTo>
                  <a:cubicBezTo>
                    <a:pt x="56" y="47"/>
                    <a:pt x="57" y="45"/>
                    <a:pt x="58" y="45"/>
                  </a:cubicBezTo>
                  <a:cubicBezTo>
                    <a:pt x="58" y="45"/>
                    <a:pt x="60" y="43"/>
                    <a:pt x="60" y="43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3" y="44"/>
                    <a:pt x="62" y="45"/>
                  </a:cubicBezTo>
                  <a:cubicBezTo>
                    <a:pt x="61" y="46"/>
                    <a:pt x="60" y="46"/>
                    <a:pt x="60" y="46"/>
                  </a:cubicBezTo>
                  <a:cubicBezTo>
                    <a:pt x="59" y="46"/>
                    <a:pt x="58" y="46"/>
                    <a:pt x="58" y="47"/>
                  </a:cubicBezTo>
                  <a:cubicBezTo>
                    <a:pt x="57" y="49"/>
                    <a:pt x="58" y="49"/>
                    <a:pt x="59" y="50"/>
                  </a:cubicBezTo>
                  <a:cubicBezTo>
                    <a:pt x="59" y="51"/>
                    <a:pt x="60" y="51"/>
                    <a:pt x="61" y="52"/>
                  </a:cubicBezTo>
                  <a:cubicBezTo>
                    <a:pt x="62" y="52"/>
                    <a:pt x="64" y="53"/>
                    <a:pt x="64" y="52"/>
                  </a:cubicBezTo>
                  <a:cubicBezTo>
                    <a:pt x="65" y="52"/>
                    <a:pt x="66" y="52"/>
                    <a:pt x="67" y="52"/>
                  </a:cubicBezTo>
                  <a:cubicBezTo>
                    <a:pt x="68" y="52"/>
                    <a:pt x="69" y="52"/>
                    <a:pt x="69" y="51"/>
                  </a:cubicBezTo>
                  <a:cubicBezTo>
                    <a:pt x="70" y="51"/>
                    <a:pt x="71" y="50"/>
                    <a:pt x="71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4" y="48"/>
                    <a:pt x="74" y="47"/>
                  </a:cubicBezTo>
                  <a:cubicBezTo>
                    <a:pt x="75" y="46"/>
                    <a:pt x="76" y="46"/>
                    <a:pt x="76" y="46"/>
                  </a:cubicBezTo>
                  <a:cubicBezTo>
                    <a:pt x="76" y="45"/>
                    <a:pt x="77" y="45"/>
                    <a:pt x="78" y="46"/>
                  </a:cubicBezTo>
                  <a:cubicBezTo>
                    <a:pt x="78" y="47"/>
                    <a:pt x="78" y="48"/>
                    <a:pt x="77" y="48"/>
                  </a:cubicBezTo>
                  <a:cubicBezTo>
                    <a:pt x="75" y="49"/>
                    <a:pt x="76" y="47"/>
                    <a:pt x="75" y="49"/>
                  </a:cubicBezTo>
                  <a:cubicBezTo>
                    <a:pt x="75" y="50"/>
                    <a:pt x="75" y="50"/>
                    <a:pt x="75" y="51"/>
                  </a:cubicBezTo>
                  <a:cubicBezTo>
                    <a:pt x="75" y="52"/>
                    <a:pt x="75" y="53"/>
                    <a:pt x="74" y="53"/>
                  </a:cubicBezTo>
                  <a:cubicBezTo>
                    <a:pt x="73" y="53"/>
                    <a:pt x="73" y="53"/>
                    <a:pt x="71" y="53"/>
                  </a:cubicBezTo>
                  <a:cubicBezTo>
                    <a:pt x="69" y="54"/>
                    <a:pt x="68" y="53"/>
                    <a:pt x="67" y="54"/>
                  </a:cubicBezTo>
                  <a:cubicBezTo>
                    <a:pt x="66" y="55"/>
                    <a:pt x="67" y="52"/>
                    <a:pt x="66" y="55"/>
                  </a:cubicBezTo>
                  <a:cubicBezTo>
                    <a:pt x="65" y="57"/>
                    <a:pt x="66" y="57"/>
                    <a:pt x="64" y="57"/>
                  </a:cubicBezTo>
                  <a:cubicBezTo>
                    <a:pt x="63" y="58"/>
                    <a:pt x="61" y="58"/>
                    <a:pt x="61" y="58"/>
                  </a:cubicBezTo>
                  <a:cubicBezTo>
                    <a:pt x="60" y="58"/>
                    <a:pt x="60" y="57"/>
                    <a:pt x="59" y="58"/>
                  </a:cubicBezTo>
                  <a:cubicBezTo>
                    <a:pt x="57" y="59"/>
                    <a:pt x="57" y="58"/>
                    <a:pt x="56" y="60"/>
                  </a:cubicBezTo>
                  <a:cubicBezTo>
                    <a:pt x="55" y="61"/>
                    <a:pt x="55" y="61"/>
                    <a:pt x="54" y="61"/>
                  </a:cubicBezTo>
                  <a:cubicBezTo>
                    <a:pt x="53" y="61"/>
                    <a:pt x="52" y="61"/>
                    <a:pt x="51" y="61"/>
                  </a:cubicBezTo>
                  <a:cubicBezTo>
                    <a:pt x="50" y="61"/>
                    <a:pt x="49" y="61"/>
                    <a:pt x="48" y="61"/>
                  </a:cubicBezTo>
                  <a:cubicBezTo>
                    <a:pt x="47" y="61"/>
                    <a:pt x="45" y="62"/>
                    <a:pt x="45" y="62"/>
                  </a:cubicBezTo>
                  <a:cubicBezTo>
                    <a:pt x="44" y="63"/>
                    <a:pt x="44" y="62"/>
                    <a:pt x="43" y="62"/>
                  </a:cubicBezTo>
                  <a:cubicBezTo>
                    <a:pt x="42" y="62"/>
                    <a:pt x="41" y="61"/>
                    <a:pt x="41" y="61"/>
                  </a:cubicBezTo>
                  <a:cubicBezTo>
                    <a:pt x="40" y="62"/>
                    <a:pt x="40" y="62"/>
                    <a:pt x="39" y="63"/>
                  </a:cubicBezTo>
                  <a:cubicBezTo>
                    <a:pt x="38" y="64"/>
                    <a:pt x="38" y="63"/>
                    <a:pt x="38" y="66"/>
                  </a:cubicBezTo>
                  <a:cubicBezTo>
                    <a:pt x="37" y="69"/>
                    <a:pt x="37" y="71"/>
                    <a:pt x="38" y="72"/>
                  </a:cubicBezTo>
                  <a:cubicBezTo>
                    <a:pt x="40" y="74"/>
                    <a:pt x="41" y="74"/>
                    <a:pt x="42" y="73"/>
                  </a:cubicBezTo>
                  <a:cubicBezTo>
                    <a:pt x="43" y="72"/>
                    <a:pt x="45" y="72"/>
                    <a:pt x="45" y="71"/>
                  </a:cubicBezTo>
                  <a:cubicBezTo>
                    <a:pt x="46" y="71"/>
                    <a:pt x="48" y="71"/>
                    <a:pt x="49" y="71"/>
                  </a:cubicBezTo>
                  <a:cubicBezTo>
                    <a:pt x="50" y="71"/>
                    <a:pt x="53" y="71"/>
                    <a:pt x="53" y="71"/>
                  </a:cubicBezTo>
                  <a:cubicBezTo>
                    <a:pt x="53" y="71"/>
                    <a:pt x="54" y="71"/>
                    <a:pt x="55" y="71"/>
                  </a:cubicBezTo>
                  <a:cubicBezTo>
                    <a:pt x="55" y="71"/>
                    <a:pt x="56" y="71"/>
                    <a:pt x="57" y="71"/>
                  </a:cubicBezTo>
                  <a:cubicBezTo>
                    <a:pt x="59" y="70"/>
                    <a:pt x="57" y="71"/>
                    <a:pt x="59" y="70"/>
                  </a:cubicBezTo>
                  <a:cubicBezTo>
                    <a:pt x="60" y="69"/>
                    <a:pt x="60" y="69"/>
                    <a:pt x="61" y="69"/>
                  </a:cubicBezTo>
                  <a:cubicBezTo>
                    <a:pt x="62" y="69"/>
                    <a:pt x="63" y="69"/>
                    <a:pt x="64" y="69"/>
                  </a:cubicBezTo>
                  <a:cubicBezTo>
                    <a:pt x="64" y="69"/>
                    <a:pt x="64" y="69"/>
                    <a:pt x="65" y="69"/>
                  </a:cubicBezTo>
                  <a:cubicBezTo>
                    <a:pt x="66" y="70"/>
                    <a:pt x="66" y="70"/>
                    <a:pt x="67" y="70"/>
                  </a:cubicBezTo>
                  <a:cubicBezTo>
                    <a:pt x="67" y="70"/>
                    <a:pt x="67" y="70"/>
                    <a:pt x="69" y="70"/>
                  </a:cubicBezTo>
                  <a:cubicBezTo>
                    <a:pt x="70" y="69"/>
                    <a:pt x="70" y="69"/>
                    <a:pt x="71" y="69"/>
                  </a:cubicBezTo>
                  <a:cubicBezTo>
                    <a:pt x="72" y="70"/>
                    <a:pt x="75" y="70"/>
                    <a:pt x="75" y="70"/>
                  </a:cubicBezTo>
                  <a:cubicBezTo>
                    <a:pt x="75" y="70"/>
                    <a:pt x="77" y="68"/>
                    <a:pt x="77" y="69"/>
                  </a:cubicBezTo>
                  <a:cubicBezTo>
                    <a:pt x="77" y="70"/>
                    <a:pt x="75" y="70"/>
                    <a:pt x="75" y="70"/>
                  </a:cubicBezTo>
                  <a:cubicBezTo>
                    <a:pt x="75" y="70"/>
                    <a:pt x="76" y="70"/>
                    <a:pt x="73" y="70"/>
                  </a:cubicBezTo>
                  <a:cubicBezTo>
                    <a:pt x="71" y="71"/>
                    <a:pt x="71" y="70"/>
                    <a:pt x="69" y="71"/>
                  </a:cubicBezTo>
                  <a:cubicBezTo>
                    <a:pt x="68" y="71"/>
                    <a:pt x="69" y="70"/>
                    <a:pt x="67" y="71"/>
                  </a:cubicBezTo>
                  <a:cubicBezTo>
                    <a:pt x="66" y="72"/>
                    <a:pt x="68" y="73"/>
                    <a:pt x="64" y="73"/>
                  </a:cubicBezTo>
                  <a:cubicBezTo>
                    <a:pt x="61" y="72"/>
                    <a:pt x="61" y="72"/>
                    <a:pt x="59" y="72"/>
                  </a:cubicBezTo>
                  <a:cubicBezTo>
                    <a:pt x="58" y="73"/>
                    <a:pt x="57" y="73"/>
                    <a:pt x="56" y="73"/>
                  </a:cubicBezTo>
                  <a:cubicBezTo>
                    <a:pt x="55" y="74"/>
                    <a:pt x="54" y="74"/>
                    <a:pt x="54" y="75"/>
                  </a:cubicBezTo>
                  <a:cubicBezTo>
                    <a:pt x="54" y="76"/>
                    <a:pt x="55" y="77"/>
                    <a:pt x="55" y="77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3" y="78"/>
                    <a:pt x="52" y="78"/>
                  </a:cubicBezTo>
                  <a:cubicBezTo>
                    <a:pt x="52" y="79"/>
                    <a:pt x="51" y="79"/>
                    <a:pt x="51" y="78"/>
                  </a:cubicBezTo>
                  <a:cubicBezTo>
                    <a:pt x="50" y="78"/>
                    <a:pt x="49" y="77"/>
                    <a:pt x="49" y="77"/>
                  </a:cubicBezTo>
                  <a:cubicBezTo>
                    <a:pt x="48" y="77"/>
                    <a:pt x="48" y="76"/>
                    <a:pt x="47" y="76"/>
                  </a:cubicBezTo>
                  <a:cubicBezTo>
                    <a:pt x="46" y="76"/>
                    <a:pt x="46" y="76"/>
                    <a:pt x="46" y="77"/>
                  </a:cubicBezTo>
                  <a:cubicBezTo>
                    <a:pt x="46" y="76"/>
                    <a:pt x="46" y="75"/>
                    <a:pt x="44" y="76"/>
                  </a:cubicBezTo>
                  <a:cubicBezTo>
                    <a:pt x="43" y="77"/>
                    <a:pt x="43" y="77"/>
                    <a:pt x="42" y="77"/>
                  </a:cubicBezTo>
                  <a:cubicBezTo>
                    <a:pt x="41" y="78"/>
                    <a:pt x="41" y="77"/>
                    <a:pt x="40" y="78"/>
                  </a:cubicBezTo>
                  <a:cubicBezTo>
                    <a:pt x="39" y="79"/>
                    <a:pt x="40" y="79"/>
                    <a:pt x="40" y="81"/>
                  </a:cubicBezTo>
                  <a:cubicBezTo>
                    <a:pt x="39" y="82"/>
                    <a:pt x="39" y="83"/>
                    <a:pt x="40" y="84"/>
                  </a:cubicBezTo>
                  <a:cubicBezTo>
                    <a:pt x="41" y="84"/>
                    <a:pt x="42" y="83"/>
                    <a:pt x="43" y="84"/>
                  </a:cubicBezTo>
                  <a:cubicBezTo>
                    <a:pt x="44" y="85"/>
                    <a:pt x="45" y="85"/>
                    <a:pt x="46" y="86"/>
                  </a:cubicBezTo>
                  <a:cubicBezTo>
                    <a:pt x="46" y="87"/>
                    <a:pt x="47" y="88"/>
                    <a:pt x="48" y="88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8"/>
                    <a:pt x="51" y="88"/>
                    <a:pt x="52" y="89"/>
                  </a:cubicBezTo>
                  <a:cubicBezTo>
                    <a:pt x="54" y="89"/>
                    <a:pt x="54" y="90"/>
                    <a:pt x="55" y="90"/>
                  </a:cubicBezTo>
                  <a:cubicBezTo>
                    <a:pt x="55" y="91"/>
                    <a:pt x="55" y="90"/>
                    <a:pt x="56" y="91"/>
                  </a:cubicBezTo>
                  <a:cubicBezTo>
                    <a:pt x="56" y="91"/>
                    <a:pt x="57" y="92"/>
                    <a:pt x="58" y="92"/>
                  </a:cubicBezTo>
                  <a:cubicBezTo>
                    <a:pt x="60" y="93"/>
                    <a:pt x="61" y="93"/>
                    <a:pt x="61" y="93"/>
                  </a:cubicBezTo>
                  <a:cubicBezTo>
                    <a:pt x="62" y="92"/>
                    <a:pt x="63" y="92"/>
                    <a:pt x="63" y="92"/>
                  </a:cubicBezTo>
                  <a:cubicBezTo>
                    <a:pt x="64" y="92"/>
                    <a:pt x="66" y="92"/>
                    <a:pt x="66" y="92"/>
                  </a:cubicBezTo>
                  <a:cubicBezTo>
                    <a:pt x="68" y="92"/>
                    <a:pt x="68" y="92"/>
                    <a:pt x="68" y="92"/>
                  </a:cubicBezTo>
                  <a:cubicBezTo>
                    <a:pt x="68" y="92"/>
                    <a:pt x="68" y="92"/>
                    <a:pt x="69" y="92"/>
                  </a:cubicBezTo>
                  <a:cubicBezTo>
                    <a:pt x="70" y="92"/>
                    <a:pt x="72" y="92"/>
                    <a:pt x="72" y="92"/>
                  </a:cubicBezTo>
                  <a:cubicBezTo>
                    <a:pt x="72" y="92"/>
                    <a:pt x="74" y="92"/>
                    <a:pt x="73" y="93"/>
                  </a:cubicBezTo>
                  <a:cubicBezTo>
                    <a:pt x="73" y="94"/>
                    <a:pt x="71" y="94"/>
                    <a:pt x="70" y="94"/>
                  </a:cubicBezTo>
                  <a:cubicBezTo>
                    <a:pt x="69" y="94"/>
                    <a:pt x="67" y="94"/>
                    <a:pt x="67" y="94"/>
                  </a:cubicBezTo>
                  <a:cubicBezTo>
                    <a:pt x="67" y="94"/>
                    <a:pt x="64" y="94"/>
                    <a:pt x="64" y="94"/>
                  </a:cubicBezTo>
                  <a:cubicBezTo>
                    <a:pt x="63" y="94"/>
                    <a:pt x="63" y="94"/>
                    <a:pt x="63" y="95"/>
                  </a:cubicBezTo>
                  <a:cubicBezTo>
                    <a:pt x="62" y="96"/>
                    <a:pt x="61" y="96"/>
                    <a:pt x="62" y="97"/>
                  </a:cubicBezTo>
                  <a:cubicBezTo>
                    <a:pt x="62" y="97"/>
                    <a:pt x="63" y="98"/>
                    <a:pt x="64" y="98"/>
                  </a:cubicBezTo>
                  <a:cubicBezTo>
                    <a:pt x="65" y="99"/>
                    <a:pt x="64" y="98"/>
                    <a:pt x="66" y="99"/>
                  </a:cubicBezTo>
                  <a:cubicBezTo>
                    <a:pt x="67" y="99"/>
                    <a:pt x="68" y="98"/>
                    <a:pt x="69" y="99"/>
                  </a:cubicBezTo>
                  <a:cubicBezTo>
                    <a:pt x="69" y="100"/>
                    <a:pt x="68" y="98"/>
                    <a:pt x="70" y="101"/>
                  </a:cubicBezTo>
                  <a:cubicBezTo>
                    <a:pt x="71" y="103"/>
                    <a:pt x="72" y="102"/>
                    <a:pt x="73" y="103"/>
                  </a:cubicBezTo>
                  <a:cubicBezTo>
                    <a:pt x="73" y="104"/>
                    <a:pt x="73" y="104"/>
                    <a:pt x="73" y="105"/>
                  </a:cubicBezTo>
                  <a:cubicBezTo>
                    <a:pt x="74" y="106"/>
                    <a:pt x="74" y="106"/>
                    <a:pt x="75" y="106"/>
                  </a:cubicBezTo>
                  <a:cubicBezTo>
                    <a:pt x="76" y="106"/>
                    <a:pt x="78" y="106"/>
                    <a:pt x="78" y="106"/>
                  </a:cubicBezTo>
                  <a:cubicBezTo>
                    <a:pt x="78" y="107"/>
                    <a:pt x="79" y="106"/>
                    <a:pt x="80" y="107"/>
                  </a:cubicBezTo>
                  <a:cubicBezTo>
                    <a:pt x="81" y="107"/>
                    <a:pt x="82" y="106"/>
                    <a:pt x="83" y="106"/>
                  </a:cubicBezTo>
                  <a:cubicBezTo>
                    <a:pt x="83" y="106"/>
                    <a:pt x="85" y="105"/>
                    <a:pt x="85" y="105"/>
                  </a:cubicBezTo>
                  <a:cubicBezTo>
                    <a:pt x="85" y="102"/>
                    <a:pt x="85" y="102"/>
                    <a:pt x="85" y="102"/>
                  </a:cubicBezTo>
                  <a:cubicBezTo>
                    <a:pt x="85" y="100"/>
                    <a:pt x="83" y="102"/>
                    <a:pt x="85" y="99"/>
                  </a:cubicBezTo>
                  <a:cubicBezTo>
                    <a:pt x="86" y="96"/>
                    <a:pt x="86" y="96"/>
                    <a:pt x="87" y="94"/>
                  </a:cubicBezTo>
                  <a:cubicBezTo>
                    <a:pt x="88" y="93"/>
                    <a:pt x="90" y="91"/>
                    <a:pt x="90" y="90"/>
                  </a:cubicBezTo>
                  <a:cubicBezTo>
                    <a:pt x="91" y="89"/>
                    <a:pt x="91" y="89"/>
                    <a:pt x="91" y="88"/>
                  </a:cubicBezTo>
                  <a:cubicBezTo>
                    <a:pt x="92" y="87"/>
                    <a:pt x="92" y="85"/>
                    <a:pt x="93" y="84"/>
                  </a:cubicBezTo>
                  <a:cubicBezTo>
                    <a:pt x="93" y="83"/>
                    <a:pt x="94" y="83"/>
                    <a:pt x="94" y="82"/>
                  </a:cubicBezTo>
                  <a:cubicBezTo>
                    <a:pt x="94" y="81"/>
                    <a:pt x="95" y="80"/>
                    <a:pt x="96" y="80"/>
                  </a:cubicBezTo>
                  <a:cubicBezTo>
                    <a:pt x="96" y="80"/>
                    <a:pt x="96" y="80"/>
                    <a:pt x="97" y="79"/>
                  </a:cubicBezTo>
                  <a:cubicBezTo>
                    <a:pt x="98" y="79"/>
                    <a:pt x="99" y="79"/>
                    <a:pt x="100" y="79"/>
                  </a:cubicBezTo>
                  <a:cubicBezTo>
                    <a:pt x="100" y="78"/>
                    <a:pt x="101" y="78"/>
                    <a:pt x="102" y="78"/>
                  </a:cubicBezTo>
                  <a:cubicBezTo>
                    <a:pt x="102" y="77"/>
                    <a:pt x="103" y="77"/>
                    <a:pt x="103" y="76"/>
                  </a:cubicBezTo>
                  <a:cubicBezTo>
                    <a:pt x="104" y="75"/>
                    <a:pt x="105" y="74"/>
                    <a:pt x="105" y="73"/>
                  </a:cubicBezTo>
                  <a:cubicBezTo>
                    <a:pt x="104" y="72"/>
                    <a:pt x="104" y="72"/>
                    <a:pt x="104" y="71"/>
                  </a:cubicBezTo>
                  <a:cubicBezTo>
                    <a:pt x="104" y="70"/>
                    <a:pt x="104" y="69"/>
                    <a:pt x="104" y="68"/>
                  </a:cubicBezTo>
                  <a:cubicBezTo>
                    <a:pt x="104" y="68"/>
                    <a:pt x="103" y="68"/>
                    <a:pt x="104" y="66"/>
                  </a:cubicBezTo>
                  <a:cubicBezTo>
                    <a:pt x="105" y="65"/>
                    <a:pt x="102" y="66"/>
                    <a:pt x="105" y="65"/>
                  </a:cubicBezTo>
                  <a:cubicBezTo>
                    <a:pt x="109" y="63"/>
                    <a:pt x="110" y="63"/>
                    <a:pt x="110" y="63"/>
                  </a:cubicBezTo>
                  <a:cubicBezTo>
                    <a:pt x="111" y="62"/>
                    <a:pt x="112" y="60"/>
                    <a:pt x="112" y="60"/>
                  </a:cubicBezTo>
                  <a:cubicBezTo>
                    <a:pt x="112" y="59"/>
                    <a:pt x="112" y="57"/>
                    <a:pt x="112" y="55"/>
                  </a:cubicBezTo>
                  <a:cubicBezTo>
                    <a:pt x="112" y="54"/>
                    <a:pt x="112" y="53"/>
                    <a:pt x="112" y="52"/>
                  </a:cubicBezTo>
                  <a:cubicBezTo>
                    <a:pt x="113" y="51"/>
                    <a:pt x="111" y="51"/>
                    <a:pt x="115" y="51"/>
                  </a:cubicBezTo>
                  <a:cubicBezTo>
                    <a:pt x="118" y="50"/>
                    <a:pt x="118" y="50"/>
                    <a:pt x="118" y="50"/>
                  </a:cubicBezTo>
                  <a:cubicBezTo>
                    <a:pt x="119" y="49"/>
                    <a:pt x="120" y="49"/>
                    <a:pt x="120" y="48"/>
                  </a:cubicBezTo>
                  <a:cubicBezTo>
                    <a:pt x="120" y="48"/>
                    <a:pt x="120" y="48"/>
                    <a:pt x="121" y="48"/>
                  </a:cubicBezTo>
                  <a:cubicBezTo>
                    <a:pt x="122" y="47"/>
                    <a:pt x="122" y="47"/>
                    <a:pt x="124" y="47"/>
                  </a:cubicBezTo>
                  <a:cubicBezTo>
                    <a:pt x="125" y="47"/>
                    <a:pt x="129" y="47"/>
                    <a:pt x="130" y="46"/>
                  </a:cubicBezTo>
                  <a:cubicBezTo>
                    <a:pt x="131" y="46"/>
                    <a:pt x="132" y="46"/>
                    <a:pt x="132" y="46"/>
                  </a:cubicBezTo>
                  <a:cubicBezTo>
                    <a:pt x="133" y="45"/>
                    <a:pt x="134" y="45"/>
                    <a:pt x="134" y="45"/>
                  </a:cubicBezTo>
                  <a:cubicBezTo>
                    <a:pt x="135" y="45"/>
                    <a:pt x="136" y="44"/>
                    <a:pt x="137" y="44"/>
                  </a:cubicBezTo>
                  <a:cubicBezTo>
                    <a:pt x="137" y="44"/>
                    <a:pt x="136" y="44"/>
                    <a:pt x="138" y="44"/>
                  </a:cubicBezTo>
                  <a:cubicBezTo>
                    <a:pt x="140" y="44"/>
                    <a:pt x="142" y="44"/>
                    <a:pt x="142" y="44"/>
                  </a:cubicBezTo>
                  <a:cubicBezTo>
                    <a:pt x="143" y="44"/>
                    <a:pt x="143" y="45"/>
                    <a:pt x="144" y="43"/>
                  </a:cubicBezTo>
                  <a:cubicBezTo>
                    <a:pt x="145" y="42"/>
                    <a:pt x="146" y="41"/>
                    <a:pt x="145" y="41"/>
                  </a:cubicBezTo>
                  <a:cubicBezTo>
                    <a:pt x="145" y="40"/>
                    <a:pt x="144" y="38"/>
                    <a:pt x="143" y="38"/>
                  </a:cubicBezTo>
                  <a:cubicBezTo>
                    <a:pt x="143" y="39"/>
                    <a:pt x="143" y="38"/>
                    <a:pt x="142" y="38"/>
                  </a:cubicBezTo>
                  <a:cubicBezTo>
                    <a:pt x="141" y="37"/>
                    <a:pt x="139" y="38"/>
                    <a:pt x="137" y="37"/>
                  </a:cubicBezTo>
                  <a:cubicBezTo>
                    <a:pt x="134" y="37"/>
                    <a:pt x="133" y="37"/>
                    <a:pt x="133" y="37"/>
                  </a:cubicBezTo>
                  <a:cubicBezTo>
                    <a:pt x="133" y="36"/>
                    <a:pt x="131" y="36"/>
                    <a:pt x="131" y="35"/>
                  </a:cubicBezTo>
                  <a:cubicBezTo>
                    <a:pt x="131" y="35"/>
                    <a:pt x="132" y="34"/>
                    <a:pt x="132" y="34"/>
                  </a:cubicBezTo>
                  <a:cubicBezTo>
                    <a:pt x="132" y="33"/>
                    <a:pt x="132" y="33"/>
                    <a:pt x="131" y="32"/>
                  </a:cubicBezTo>
                  <a:cubicBezTo>
                    <a:pt x="130" y="31"/>
                    <a:pt x="131" y="30"/>
                    <a:pt x="129" y="31"/>
                  </a:cubicBezTo>
                  <a:cubicBezTo>
                    <a:pt x="127" y="32"/>
                    <a:pt x="127" y="31"/>
                    <a:pt x="126" y="32"/>
                  </a:cubicBezTo>
                  <a:cubicBezTo>
                    <a:pt x="125" y="33"/>
                    <a:pt x="125" y="33"/>
                    <a:pt x="124" y="33"/>
                  </a:cubicBezTo>
                  <a:cubicBezTo>
                    <a:pt x="124" y="33"/>
                    <a:pt x="124" y="32"/>
                    <a:pt x="123" y="31"/>
                  </a:cubicBezTo>
                  <a:cubicBezTo>
                    <a:pt x="122" y="31"/>
                    <a:pt x="122" y="30"/>
                    <a:pt x="121" y="30"/>
                  </a:cubicBezTo>
                  <a:cubicBezTo>
                    <a:pt x="120" y="30"/>
                    <a:pt x="121" y="30"/>
                    <a:pt x="120" y="29"/>
                  </a:cubicBezTo>
                  <a:cubicBezTo>
                    <a:pt x="119" y="29"/>
                    <a:pt x="121" y="29"/>
                    <a:pt x="118" y="29"/>
                  </a:cubicBezTo>
                  <a:cubicBezTo>
                    <a:pt x="116" y="29"/>
                    <a:pt x="117" y="28"/>
                    <a:pt x="115" y="29"/>
                  </a:cubicBezTo>
                  <a:cubicBezTo>
                    <a:pt x="113" y="30"/>
                    <a:pt x="113" y="30"/>
                    <a:pt x="112" y="30"/>
                  </a:cubicBezTo>
                  <a:cubicBezTo>
                    <a:pt x="111" y="30"/>
                    <a:pt x="111" y="29"/>
                    <a:pt x="110" y="29"/>
                  </a:cubicBezTo>
                  <a:cubicBezTo>
                    <a:pt x="109" y="29"/>
                    <a:pt x="110" y="28"/>
                    <a:pt x="109" y="28"/>
                  </a:cubicBezTo>
                  <a:cubicBezTo>
                    <a:pt x="108" y="27"/>
                    <a:pt x="108" y="27"/>
                    <a:pt x="108" y="26"/>
                  </a:cubicBezTo>
                  <a:cubicBezTo>
                    <a:pt x="108" y="25"/>
                    <a:pt x="108" y="25"/>
                    <a:pt x="109" y="25"/>
                  </a:cubicBezTo>
                  <a:cubicBezTo>
                    <a:pt x="109" y="24"/>
                    <a:pt x="109" y="22"/>
                    <a:pt x="109" y="22"/>
                  </a:cubicBezTo>
                  <a:cubicBezTo>
                    <a:pt x="109" y="22"/>
                    <a:pt x="109" y="21"/>
                    <a:pt x="109" y="20"/>
                  </a:cubicBezTo>
                  <a:cubicBezTo>
                    <a:pt x="108" y="20"/>
                    <a:pt x="109" y="19"/>
                    <a:pt x="108" y="19"/>
                  </a:cubicBezTo>
                  <a:cubicBezTo>
                    <a:pt x="107" y="18"/>
                    <a:pt x="106" y="17"/>
                    <a:pt x="105" y="17"/>
                  </a:cubicBezTo>
                  <a:cubicBezTo>
                    <a:pt x="105" y="17"/>
                    <a:pt x="104" y="16"/>
                    <a:pt x="103" y="15"/>
                  </a:cubicBezTo>
                  <a:cubicBezTo>
                    <a:pt x="102" y="15"/>
                    <a:pt x="102" y="15"/>
                    <a:pt x="101" y="15"/>
                  </a:cubicBezTo>
                  <a:cubicBezTo>
                    <a:pt x="99" y="16"/>
                    <a:pt x="99" y="16"/>
                    <a:pt x="98" y="17"/>
                  </a:cubicBezTo>
                  <a:cubicBezTo>
                    <a:pt x="98" y="18"/>
                    <a:pt x="98" y="19"/>
                    <a:pt x="97" y="20"/>
                  </a:cubicBezTo>
                  <a:cubicBezTo>
                    <a:pt x="97" y="21"/>
                    <a:pt x="98" y="21"/>
                    <a:pt x="97" y="21"/>
                  </a:cubicBezTo>
                  <a:cubicBezTo>
                    <a:pt x="96" y="22"/>
                    <a:pt x="94" y="22"/>
                    <a:pt x="94" y="21"/>
                  </a:cubicBezTo>
                  <a:cubicBezTo>
                    <a:pt x="94" y="20"/>
                    <a:pt x="94" y="19"/>
                    <a:pt x="94" y="18"/>
                  </a:cubicBezTo>
                  <a:cubicBezTo>
                    <a:pt x="94" y="17"/>
                    <a:pt x="95" y="17"/>
                    <a:pt x="95" y="16"/>
                  </a:cubicBezTo>
                  <a:cubicBezTo>
                    <a:pt x="96" y="15"/>
                    <a:pt x="97" y="14"/>
                    <a:pt x="97" y="13"/>
                  </a:cubicBezTo>
                  <a:cubicBezTo>
                    <a:pt x="97" y="13"/>
                    <a:pt x="97" y="12"/>
                    <a:pt x="96" y="11"/>
                  </a:cubicBezTo>
                  <a:cubicBezTo>
                    <a:pt x="95" y="10"/>
                    <a:pt x="91" y="6"/>
                    <a:pt x="90" y="6"/>
                  </a:cubicBezTo>
                  <a:cubicBezTo>
                    <a:pt x="89" y="5"/>
                    <a:pt x="85" y="3"/>
                    <a:pt x="84" y="3"/>
                  </a:cubicBezTo>
                  <a:cubicBezTo>
                    <a:pt x="84" y="3"/>
                    <a:pt x="82" y="3"/>
                    <a:pt x="81" y="3"/>
                  </a:cubicBezTo>
                  <a:cubicBezTo>
                    <a:pt x="79" y="4"/>
                    <a:pt x="77" y="4"/>
                    <a:pt x="77" y="4"/>
                  </a:cubicBezTo>
                  <a:cubicBezTo>
                    <a:pt x="77" y="4"/>
                    <a:pt x="77" y="3"/>
                    <a:pt x="76" y="2"/>
                  </a:cubicBezTo>
                  <a:cubicBezTo>
                    <a:pt x="75" y="2"/>
                    <a:pt x="75" y="1"/>
                    <a:pt x="74" y="1"/>
                  </a:cubicBezTo>
                  <a:cubicBezTo>
                    <a:pt x="73" y="1"/>
                    <a:pt x="72" y="0"/>
                    <a:pt x="70" y="1"/>
                  </a:cubicBezTo>
                  <a:cubicBezTo>
                    <a:pt x="69" y="2"/>
                    <a:pt x="69" y="1"/>
                    <a:pt x="69" y="3"/>
                  </a:cubicBezTo>
                  <a:cubicBezTo>
                    <a:pt x="69" y="4"/>
                    <a:pt x="70" y="5"/>
                    <a:pt x="71" y="6"/>
                  </a:cubicBezTo>
                  <a:cubicBezTo>
                    <a:pt x="71" y="6"/>
                    <a:pt x="71" y="7"/>
                    <a:pt x="72" y="7"/>
                  </a:cubicBezTo>
                  <a:cubicBezTo>
                    <a:pt x="72" y="8"/>
                    <a:pt x="73" y="8"/>
                    <a:pt x="71" y="9"/>
                  </a:cubicBezTo>
                  <a:cubicBezTo>
                    <a:pt x="70" y="9"/>
                    <a:pt x="69" y="9"/>
                    <a:pt x="69" y="10"/>
                  </a:cubicBezTo>
                  <a:cubicBezTo>
                    <a:pt x="68" y="10"/>
                    <a:pt x="68" y="10"/>
                    <a:pt x="68" y="11"/>
                  </a:cubicBezTo>
                  <a:cubicBezTo>
                    <a:pt x="68" y="13"/>
                    <a:pt x="68" y="13"/>
                    <a:pt x="68" y="15"/>
                  </a:cubicBezTo>
                  <a:cubicBezTo>
                    <a:pt x="69" y="16"/>
                    <a:pt x="70" y="17"/>
                    <a:pt x="71" y="18"/>
                  </a:cubicBezTo>
                  <a:cubicBezTo>
                    <a:pt x="71" y="19"/>
                    <a:pt x="73" y="19"/>
                    <a:pt x="72" y="20"/>
                  </a:cubicBezTo>
                  <a:cubicBezTo>
                    <a:pt x="71" y="22"/>
                    <a:pt x="71" y="23"/>
                    <a:pt x="71" y="24"/>
                  </a:cubicBezTo>
                  <a:cubicBezTo>
                    <a:pt x="71" y="24"/>
                    <a:pt x="72" y="24"/>
                    <a:pt x="73" y="25"/>
                  </a:cubicBezTo>
                  <a:cubicBezTo>
                    <a:pt x="73" y="26"/>
                    <a:pt x="74" y="27"/>
                    <a:pt x="74" y="28"/>
                  </a:cubicBezTo>
                  <a:cubicBezTo>
                    <a:pt x="75" y="30"/>
                    <a:pt x="76" y="30"/>
                    <a:pt x="75" y="31"/>
                  </a:cubicBezTo>
                  <a:cubicBezTo>
                    <a:pt x="75" y="32"/>
                    <a:pt x="75" y="33"/>
                    <a:pt x="74" y="33"/>
                  </a:cubicBezTo>
                  <a:cubicBezTo>
                    <a:pt x="74" y="33"/>
                    <a:pt x="62" y="17"/>
                    <a:pt x="59" y="13"/>
                  </a:cubicBezTo>
                  <a:cubicBezTo>
                    <a:pt x="57" y="9"/>
                    <a:pt x="58" y="7"/>
                    <a:pt x="54" y="9"/>
                  </a:cubicBezTo>
                  <a:cubicBezTo>
                    <a:pt x="50" y="12"/>
                    <a:pt x="49" y="12"/>
                    <a:pt x="48" y="15"/>
                  </a:cubicBezTo>
                  <a:cubicBezTo>
                    <a:pt x="46" y="18"/>
                    <a:pt x="43" y="17"/>
                    <a:pt x="45" y="20"/>
                  </a:cubicBezTo>
                  <a:cubicBezTo>
                    <a:pt x="46" y="23"/>
                    <a:pt x="48" y="26"/>
                    <a:pt x="47" y="27"/>
                  </a:cubicBezTo>
                  <a:cubicBezTo>
                    <a:pt x="46" y="29"/>
                    <a:pt x="44" y="25"/>
                    <a:pt x="42" y="23"/>
                  </a:cubicBezTo>
                  <a:cubicBezTo>
                    <a:pt x="41" y="22"/>
                    <a:pt x="37" y="21"/>
                    <a:pt x="37" y="21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4" y="17"/>
                    <a:pt x="34" y="17"/>
                    <a:pt x="34" y="17"/>
                  </a:cubicBezTo>
                  <a:cubicBezTo>
                    <a:pt x="34" y="17"/>
                    <a:pt x="27" y="17"/>
                    <a:pt x="30" y="16"/>
                  </a:cubicBezTo>
                  <a:cubicBezTo>
                    <a:pt x="33" y="15"/>
                    <a:pt x="34" y="14"/>
                    <a:pt x="37" y="14"/>
                  </a:cubicBezTo>
                  <a:cubicBezTo>
                    <a:pt x="41" y="15"/>
                    <a:pt x="43" y="12"/>
                    <a:pt x="43" y="12"/>
                  </a:cubicBezTo>
                  <a:cubicBezTo>
                    <a:pt x="43" y="12"/>
                    <a:pt x="45" y="6"/>
                    <a:pt x="42" y="7"/>
                  </a:cubicBezTo>
                  <a:cubicBezTo>
                    <a:pt x="39" y="8"/>
                    <a:pt x="36" y="10"/>
                    <a:pt x="33" y="10"/>
                  </a:cubicBezTo>
                  <a:cubicBezTo>
                    <a:pt x="31" y="11"/>
                    <a:pt x="30" y="11"/>
                    <a:pt x="28" y="11"/>
                  </a:cubicBezTo>
                  <a:cubicBezTo>
                    <a:pt x="26" y="11"/>
                    <a:pt x="22" y="11"/>
                    <a:pt x="22" y="11"/>
                  </a:cubicBezTo>
                  <a:cubicBezTo>
                    <a:pt x="17" y="15"/>
                    <a:pt x="17" y="15"/>
                    <a:pt x="17" y="15"/>
                  </a:cubicBezTo>
                  <a:cubicBezTo>
                    <a:pt x="17" y="11"/>
                    <a:pt x="18" y="8"/>
                    <a:pt x="15" y="9"/>
                  </a:cubicBezTo>
                  <a:cubicBezTo>
                    <a:pt x="12" y="10"/>
                    <a:pt x="11" y="8"/>
                    <a:pt x="10" y="11"/>
                  </a:cubicBezTo>
                  <a:cubicBezTo>
                    <a:pt x="7" y="16"/>
                    <a:pt x="6" y="17"/>
                    <a:pt x="4" y="17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0" y="16"/>
                    <a:pt x="2" y="18"/>
                  </a:cubicBezTo>
                  <a:cubicBezTo>
                    <a:pt x="3" y="20"/>
                    <a:pt x="3" y="23"/>
                    <a:pt x="3" y="2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19" name="Freeform 178"/>
            <p:cNvSpPr>
              <a:spLocks/>
            </p:cNvSpPr>
            <p:nvPr/>
          </p:nvSpPr>
          <p:spPr bwMode="auto">
            <a:xfrm>
              <a:off x="4320" y="1428"/>
              <a:ext cx="95" cy="34"/>
            </a:xfrm>
            <a:custGeom>
              <a:avLst/>
              <a:gdLst>
                <a:gd name="T0" fmla="*/ 6 w 127"/>
                <a:gd name="T1" fmla="*/ 15 h 45"/>
                <a:gd name="T2" fmla="*/ 7 w 127"/>
                <a:gd name="T3" fmla="*/ 18 h 45"/>
                <a:gd name="T4" fmla="*/ 6 w 127"/>
                <a:gd name="T5" fmla="*/ 22 h 45"/>
                <a:gd name="T6" fmla="*/ 13 w 127"/>
                <a:gd name="T7" fmla="*/ 26 h 45"/>
                <a:gd name="T8" fmla="*/ 15 w 127"/>
                <a:gd name="T9" fmla="*/ 29 h 45"/>
                <a:gd name="T10" fmla="*/ 23 w 127"/>
                <a:gd name="T11" fmla="*/ 28 h 45"/>
                <a:gd name="T12" fmla="*/ 32 w 127"/>
                <a:gd name="T13" fmla="*/ 27 h 45"/>
                <a:gd name="T14" fmla="*/ 39 w 127"/>
                <a:gd name="T15" fmla="*/ 26 h 45"/>
                <a:gd name="T16" fmla="*/ 47 w 127"/>
                <a:gd name="T17" fmla="*/ 24 h 45"/>
                <a:gd name="T18" fmla="*/ 52 w 127"/>
                <a:gd name="T19" fmla="*/ 27 h 45"/>
                <a:gd name="T20" fmla="*/ 42 w 127"/>
                <a:gd name="T21" fmla="*/ 27 h 45"/>
                <a:gd name="T22" fmla="*/ 38 w 127"/>
                <a:gd name="T23" fmla="*/ 29 h 45"/>
                <a:gd name="T24" fmla="*/ 30 w 127"/>
                <a:gd name="T25" fmla="*/ 31 h 45"/>
                <a:gd name="T26" fmla="*/ 24 w 127"/>
                <a:gd name="T27" fmla="*/ 32 h 45"/>
                <a:gd name="T28" fmla="*/ 31 w 127"/>
                <a:gd name="T29" fmla="*/ 34 h 45"/>
                <a:gd name="T30" fmla="*/ 38 w 127"/>
                <a:gd name="T31" fmla="*/ 36 h 45"/>
                <a:gd name="T32" fmla="*/ 43 w 127"/>
                <a:gd name="T33" fmla="*/ 38 h 45"/>
                <a:gd name="T34" fmla="*/ 52 w 127"/>
                <a:gd name="T35" fmla="*/ 38 h 45"/>
                <a:gd name="T36" fmla="*/ 59 w 127"/>
                <a:gd name="T37" fmla="*/ 38 h 45"/>
                <a:gd name="T38" fmla="*/ 66 w 127"/>
                <a:gd name="T39" fmla="*/ 41 h 45"/>
                <a:gd name="T40" fmla="*/ 73 w 127"/>
                <a:gd name="T41" fmla="*/ 44 h 45"/>
                <a:gd name="T42" fmla="*/ 79 w 127"/>
                <a:gd name="T43" fmla="*/ 44 h 45"/>
                <a:gd name="T44" fmla="*/ 89 w 127"/>
                <a:gd name="T45" fmla="*/ 42 h 45"/>
                <a:gd name="T46" fmla="*/ 98 w 127"/>
                <a:gd name="T47" fmla="*/ 39 h 45"/>
                <a:gd name="T48" fmla="*/ 109 w 127"/>
                <a:gd name="T49" fmla="*/ 35 h 45"/>
                <a:gd name="T50" fmla="*/ 114 w 127"/>
                <a:gd name="T51" fmla="*/ 30 h 45"/>
                <a:gd name="T52" fmla="*/ 120 w 127"/>
                <a:gd name="T53" fmla="*/ 27 h 45"/>
                <a:gd name="T54" fmla="*/ 125 w 127"/>
                <a:gd name="T55" fmla="*/ 23 h 45"/>
                <a:gd name="T56" fmla="*/ 126 w 127"/>
                <a:gd name="T57" fmla="*/ 18 h 45"/>
                <a:gd name="T58" fmla="*/ 122 w 127"/>
                <a:gd name="T59" fmla="*/ 13 h 45"/>
                <a:gd name="T60" fmla="*/ 110 w 127"/>
                <a:gd name="T61" fmla="*/ 12 h 45"/>
                <a:gd name="T62" fmla="*/ 101 w 127"/>
                <a:gd name="T63" fmla="*/ 9 h 45"/>
                <a:gd name="T64" fmla="*/ 93 w 127"/>
                <a:gd name="T65" fmla="*/ 6 h 45"/>
                <a:gd name="T66" fmla="*/ 85 w 127"/>
                <a:gd name="T67" fmla="*/ 6 h 45"/>
                <a:gd name="T68" fmla="*/ 78 w 127"/>
                <a:gd name="T69" fmla="*/ 10 h 45"/>
                <a:gd name="T70" fmla="*/ 70 w 127"/>
                <a:gd name="T71" fmla="*/ 12 h 45"/>
                <a:gd name="T72" fmla="*/ 73 w 127"/>
                <a:gd name="T73" fmla="*/ 5 h 45"/>
                <a:gd name="T74" fmla="*/ 69 w 127"/>
                <a:gd name="T75" fmla="*/ 2 h 45"/>
                <a:gd name="T76" fmla="*/ 62 w 127"/>
                <a:gd name="T77" fmla="*/ 10 h 45"/>
                <a:gd name="T78" fmla="*/ 60 w 127"/>
                <a:gd name="T79" fmla="*/ 17 h 45"/>
                <a:gd name="T80" fmla="*/ 52 w 127"/>
                <a:gd name="T81" fmla="*/ 12 h 45"/>
                <a:gd name="T82" fmla="*/ 50 w 127"/>
                <a:gd name="T83" fmla="*/ 9 h 45"/>
                <a:gd name="T84" fmla="*/ 44 w 127"/>
                <a:gd name="T85" fmla="*/ 10 h 45"/>
                <a:gd name="T86" fmla="*/ 36 w 127"/>
                <a:gd name="T87" fmla="*/ 6 h 45"/>
                <a:gd name="T88" fmla="*/ 29 w 127"/>
                <a:gd name="T89" fmla="*/ 3 h 45"/>
                <a:gd name="T90" fmla="*/ 22 w 127"/>
                <a:gd name="T91" fmla="*/ 1 h 45"/>
                <a:gd name="T92" fmla="*/ 24 w 127"/>
                <a:gd name="T93" fmla="*/ 6 h 45"/>
                <a:gd name="T94" fmla="*/ 23 w 127"/>
                <a:gd name="T95" fmla="*/ 11 h 45"/>
                <a:gd name="T96" fmla="*/ 17 w 127"/>
                <a:gd name="T97" fmla="*/ 7 h 45"/>
                <a:gd name="T98" fmla="*/ 17 w 127"/>
                <a:gd name="T99" fmla="*/ 10 h 45"/>
                <a:gd name="T100" fmla="*/ 16 w 127"/>
                <a:gd name="T101" fmla="*/ 14 h 45"/>
                <a:gd name="T102" fmla="*/ 10 w 127"/>
                <a:gd name="T103" fmla="*/ 7 h 45"/>
                <a:gd name="T104" fmla="*/ 3 w 127"/>
                <a:gd name="T105" fmla="*/ 8 h 45"/>
                <a:gd name="T106" fmla="*/ 1 w 127"/>
                <a:gd name="T107" fmla="*/ 11 h 45"/>
                <a:gd name="T108" fmla="*/ 3 w 127"/>
                <a:gd name="T109" fmla="*/ 1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27" h="45">
                  <a:moveTo>
                    <a:pt x="3" y="15"/>
                  </a:moveTo>
                  <a:cubicBezTo>
                    <a:pt x="4" y="15"/>
                    <a:pt x="4" y="16"/>
                    <a:pt x="6" y="15"/>
                  </a:cubicBezTo>
                  <a:cubicBezTo>
                    <a:pt x="7" y="15"/>
                    <a:pt x="11" y="15"/>
                    <a:pt x="11" y="16"/>
                  </a:cubicBezTo>
                  <a:cubicBezTo>
                    <a:pt x="11" y="16"/>
                    <a:pt x="9" y="18"/>
                    <a:pt x="7" y="18"/>
                  </a:cubicBezTo>
                  <a:cubicBezTo>
                    <a:pt x="5" y="18"/>
                    <a:pt x="3" y="17"/>
                    <a:pt x="3" y="18"/>
                  </a:cubicBezTo>
                  <a:cubicBezTo>
                    <a:pt x="5" y="19"/>
                    <a:pt x="6" y="21"/>
                    <a:pt x="6" y="22"/>
                  </a:cubicBezTo>
                  <a:cubicBezTo>
                    <a:pt x="7" y="22"/>
                    <a:pt x="7" y="24"/>
                    <a:pt x="7" y="24"/>
                  </a:cubicBezTo>
                  <a:cubicBezTo>
                    <a:pt x="11" y="26"/>
                    <a:pt x="13" y="25"/>
                    <a:pt x="13" y="26"/>
                  </a:cubicBezTo>
                  <a:cubicBezTo>
                    <a:pt x="14" y="26"/>
                    <a:pt x="15" y="27"/>
                    <a:pt x="15" y="28"/>
                  </a:cubicBezTo>
                  <a:cubicBezTo>
                    <a:pt x="15" y="29"/>
                    <a:pt x="13" y="29"/>
                    <a:pt x="15" y="29"/>
                  </a:cubicBezTo>
                  <a:cubicBezTo>
                    <a:pt x="17" y="28"/>
                    <a:pt x="19" y="28"/>
                    <a:pt x="20" y="28"/>
                  </a:cubicBezTo>
                  <a:cubicBezTo>
                    <a:pt x="21" y="28"/>
                    <a:pt x="22" y="27"/>
                    <a:pt x="23" y="28"/>
                  </a:cubicBezTo>
                  <a:cubicBezTo>
                    <a:pt x="24" y="28"/>
                    <a:pt x="27" y="28"/>
                    <a:pt x="27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9" y="26"/>
                    <a:pt x="39" y="26"/>
                  </a:cubicBezTo>
                  <a:cubicBezTo>
                    <a:pt x="40" y="25"/>
                    <a:pt x="44" y="25"/>
                    <a:pt x="45" y="24"/>
                  </a:cubicBezTo>
                  <a:cubicBezTo>
                    <a:pt x="46" y="24"/>
                    <a:pt x="45" y="23"/>
                    <a:pt x="47" y="24"/>
                  </a:cubicBezTo>
                  <a:cubicBezTo>
                    <a:pt x="50" y="24"/>
                    <a:pt x="51" y="21"/>
                    <a:pt x="54" y="24"/>
                  </a:cubicBezTo>
                  <a:cubicBezTo>
                    <a:pt x="56" y="27"/>
                    <a:pt x="54" y="28"/>
                    <a:pt x="52" y="27"/>
                  </a:cubicBezTo>
                  <a:cubicBezTo>
                    <a:pt x="49" y="27"/>
                    <a:pt x="48" y="26"/>
                    <a:pt x="47" y="27"/>
                  </a:cubicBezTo>
                  <a:cubicBezTo>
                    <a:pt x="46" y="27"/>
                    <a:pt x="43" y="27"/>
                    <a:pt x="42" y="27"/>
                  </a:cubicBezTo>
                  <a:cubicBezTo>
                    <a:pt x="42" y="28"/>
                    <a:pt x="42" y="26"/>
                    <a:pt x="40" y="28"/>
                  </a:cubicBezTo>
                  <a:cubicBezTo>
                    <a:pt x="38" y="29"/>
                    <a:pt x="38" y="28"/>
                    <a:pt x="38" y="29"/>
                  </a:cubicBezTo>
                  <a:cubicBezTo>
                    <a:pt x="37" y="30"/>
                    <a:pt x="37" y="30"/>
                    <a:pt x="35" y="30"/>
                  </a:cubicBezTo>
                  <a:cubicBezTo>
                    <a:pt x="33" y="31"/>
                    <a:pt x="32" y="31"/>
                    <a:pt x="30" y="31"/>
                  </a:cubicBezTo>
                  <a:cubicBezTo>
                    <a:pt x="29" y="32"/>
                    <a:pt x="28" y="30"/>
                    <a:pt x="26" y="31"/>
                  </a:cubicBezTo>
                  <a:cubicBezTo>
                    <a:pt x="24" y="32"/>
                    <a:pt x="25" y="30"/>
                    <a:pt x="24" y="32"/>
                  </a:cubicBezTo>
                  <a:cubicBezTo>
                    <a:pt x="24" y="33"/>
                    <a:pt x="25" y="33"/>
                    <a:pt x="27" y="33"/>
                  </a:cubicBezTo>
                  <a:cubicBezTo>
                    <a:pt x="28" y="34"/>
                    <a:pt x="29" y="33"/>
                    <a:pt x="31" y="34"/>
                  </a:cubicBezTo>
                  <a:cubicBezTo>
                    <a:pt x="32" y="34"/>
                    <a:pt x="33" y="35"/>
                    <a:pt x="34" y="35"/>
                  </a:cubicBezTo>
                  <a:cubicBezTo>
                    <a:pt x="35" y="36"/>
                    <a:pt x="36" y="36"/>
                    <a:pt x="38" y="36"/>
                  </a:cubicBezTo>
                  <a:cubicBezTo>
                    <a:pt x="39" y="36"/>
                    <a:pt x="42" y="37"/>
                    <a:pt x="42" y="37"/>
                  </a:cubicBezTo>
                  <a:cubicBezTo>
                    <a:pt x="42" y="37"/>
                    <a:pt x="42" y="38"/>
                    <a:pt x="43" y="38"/>
                  </a:cubicBezTo>
                  <a:cubicBezTo>
                    <a:pt x="44" y="38"/>
                    <a:pt x="48" y="38"/>
                    <a:pt x="48" y="38"/>
                  </a:cubicBezTo>
                  <a:cubicBezTo>
                    <a:pt x="52" y="38"/>
                    <a:pt x="52" y="38"/>
                    <a:pt x="52" y="38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8" y="38"/>
                    <a:pt x="59" y="38"/>
                  </a:cubicBezTo>
                  <a:cubicBezTo>
                    <a:pt x="60" y="39"/>
                    <a:pt x="62" y="37"/>
                    <a:pt x="63" y="38"/>
                  </a:cubicBezTo>
                  <a:cubicBezTo>
                    <a:pt x="63" y="38"/>
                    <a:pt x="65" y="40"/>
                    <a:pt x="66" y="41"/>
                  </a:cubicBezTo>
                  <a:cubicBezTo>
                    <a:pt x="67" y="41"/>
                    <a:pt x="68" y="42"/>
                    <a:pt x="68" y="43"/>
                  </a:cubicBezTo>
                  <a:cubicBezTo>
                    <a:pt x="69" y="43"/>
                    <a:pt x="72" y="44"/>
                    <a:pt x="73" y="44"/>
                  </a:cubicBezTo>
                  <a:cubicBezTo>
                    <a:pt x="73" y="44"/>
                    <a:pt x="75" y="44"/>
                    <a:pt x="75" y="44"/>
                  </a:cubicBezTo>
                  <a:cubicBezTo>
                    <a:pt x="75" y="44"/>
                    <a:pt x="74" y="45"/>
                    <a:pt x="79" y="44"/>
                  </a:cubicBezTo>
                  <a:cubicBezTo>
                    <a:pt x="85" y="44"/>
                    <a:pt x="86" y="43"/>
                    <a:pt x="86" y="43"/>
                  </a:cubicBezTo>
                  <a:cubicBezTo>
                    <a:pt x="87" y="43"/>
                    <a:pt x="89" y="42"/>
                    <a:pt x="89" y="42"/>
                  </a:cubicBezTo>
                  <a:cubicBezTo>
                    <a:pt x="89" y="42"/>
                    <a:pt x="92" y="40"/>
                    <a:pt x="93" y="40"/>
                  </a:cubicBezTo>
                  <a:cubicBezTo>
                    <a:pt x="93" y="40"/>
                    <a:pt x="98" y="39"/>
                    <a:pt x="98" y="39"/>
                  </a:cubicBezTo>
                  <a:cubicBezTo>
                    <a:pt x="101" y="40"/>
                    <a:pt x="105" y="39"/>
                    <a:pt x="105" y="39"/>
                  </a:cubicBezTo>
                  <a:cubicBezTo>
                    <a:pt x="105" y="39"/>
                    <a:pt x="109" y="37"/>
                    <a:pt x="109" y="35"/>
                  </a:cubicBezTo>
                  <a:cubicBezTo>
                    <a:pt x="109" y="34"/>
                    <a:pt x="108" y="35"/>
                    <a:pt x="110" y="33"/>
                  </a:cubicBezTo>
                  <a:cubicBezTo>
                    <a:pt x="111" y="31"/>
                    <a:pt x="113" y="30"/>
                    <a:pt x="114" y="30"/>
                  </a:cubicBezTo>
                  <a:cubicBezTo>
                    <a:pt x="114" y="30"/>
                    <a:pt x="117" y="29"/>
                    <a:pt x="117" y="29"/>
                  </a:cubicBezTo>
                  <a:cubicBezTo>
                    <a:pt x="117" y="29"/>
                    <a:pt x="119" y="27"/>
                    <a:pt x="120" y="27"/>
                  </a:cubicBezTo>
                  <a:cubicBezTo>
                    <a:pt x="121" y="27"/>
                    <a:pt x="122" y="25"/>
                    <a:pt x="123" y="25"/>
                  </a:cubicBezTo>
                  <a:cubicBezTo>
                    <a:pt x="124" y="24"/>
                    <a:pt x="125" y="23"/>
                    <a:pt x="125" y="23"/>
                  </a:cubicBezTo>
                  <a:cubicBezTo>
                    <a:pt x="125" y="23"/>
                    <a:pt x="126" y="22"/>
                    <a:pt x="126" y="21"/>
                  </a:cubicBezTo>
                  <a:cubicBezTo>
                    <a:pt x="127" y="20"/>
                    <a:pt x="126" y="18"/>
                    <a:pt x="126" y="18"/>
                  </a:cubicBezTo>
                  <a:cubicBezTo>
                    <a:pt x="125" y="17"/>
                    <a:pt x="126" y="15"/>
                    <a:pt x="125" y="14"/>
                  </a:cubicBezTo>
                  <a:cubicBezTo>
                    <a:pt x="123" y="13"/>
                    <a:pt x="124" y="13"/>
                    <a:pt x="122" y="13"/>
                  </a:cubicBezTo>
                  <a:cubicBezTo>
                    <a:pt x="121" y="13"/>
                    <a:pt x="119" y="12"/>
                    <a:pt x="117" y="12"/>
                  </a:cubicBezTo>
                  <a:cubicBezTo>
                    <a:pt x="115" y="13"/>
                    <a:pt x="113" y="11"/>
                    <a:pt x="110" y="12"/>
                  </a:cubicBezTo>
                  <a:cubicBezTo>
                    <a:pt x="108" y="12"/>
                    <a:pt x="106" y="11"/>
                    <a:pt x="105" y="11"/>
                  </a:cubicBezTo>
                  <a:cubicBezTo>
                    <a:pt x="103" y="11"/>
                    <a:pt x="102" y="9"/>
                    <a:pt x="101" y="9"/>
                  </a:cubicBezTo>
                  <a:cubicBezTo>
                    <a:pt x="99" y="9"/>
                    <a:pt x="98" y="7"/>
                    <a:pt x="96" y="8"/>
                  </a:cubicBezTo>
                  <a:cubicBezTo>
                    <a:pt x="95" y="8"/>
                    <a:pt x="95" y="6"/>
                    <a:pt x="93" y="6"/>
                  </a:cubicBezTo>
                  <a:cubicBezTo>
                    <a:pt x="91" y="6"/>
                    <a:pt x="89" y="5"/>
                    <a:pt x="88" y="5"/>
                  </a:cubicBezTo>
                  <a:cubicBezTo>
                    <a:pt x="86" y="6"/>
                    <a:pt x="87" y="6"/>
                    <a:pt x="85" y="6"/>
                  </a:cubicBezTo>
                  <a:cubicBezTo>
                    <a:pt x="83" y="7"/>
                    <a:pt x="84" y="6"/>
                    <a:pt x="81" y="7"/>
                  </a:cubicBezTo>
                  <a:cubicBezTo>
                    <a:pt x="79" y="9"/>
                    <a:pt x="81" y="8"/>
                    <a:pt x="78" y="10"/>
                  </a:cubicBezTo>
                  <a:cubicBezTo>
                    <a:pt x="76" y="12"/>
                    <a:pt x="78" y="12"/>
                    <a:pt x="74" y="12"/>
                  </a:cubicBezTo>
                  <a:cubicBezTo>
                    <a:pt x="70" y="12"/>
                    <a:pt x="70" y="14"/>
                    <a:pt x="70" y="12"/>
                  </a:cubicBezTo>
                  <a:cubicBezTo>
                    <a:pt x="71" y="10"/>
                    <a:pt x="71" y="9"/>
                    <a:pt x="72" y="8"/>
                  </a:cubicBezTo>
                  <a:cubicBezTo>
                    <a:pt x="73" y="7"/>
                    <a:pt x="74" y="6"/>
                    <a:pt x="73" y="5"/>
                  </a:cubicBezTo>
                  <a:cubicBezTo>
                    <a:pt x="73" y="4"/>
                    <a:pt x="71" y="3"/>
                    <a:pt x="71" y="3"/>
                  </a:cubicBezTo>
                  <a:cubicBezTo>
                    <a:pt x="71" y="3"/>
                    <a:pt x="71" y="1"/>
                    <a:pt x="69" y="2"/>
                  </a:cubicBezTo>
                  <a:cubicBezTo>
                    <a:pt x="66" y="3"/>
                    <a:pt x="65" y="3"/>
                    <a:pt x="63" y="5"/>
                  </a:cubicBezTo>
                  <a:cubicBezTo>
                    <a:pt x="62" y="7"/>
                    <a:pt x="63" y="8"/>
                    <a:pt x="62" y="10"/>
                  </a:cubicBezTo>
                  <a:cubicBezTo>
                    <a:pt x="61" y="12"/>
                    <a:pt x="61" y="11"/>
                    <a:pt x="60" y="13"/>
                  </a:cubicBezTo>
                  <a:cubicBezTo>
                    <a:pt x="60" y="15"/>
                    <a:pt x="61" y="16"/>
                    <a:pt x="60" y="17"/>
                  </a:cubicBezTo>
                  <a:cubicBezTo>
                    <a:pt x="58" y="17"/>
                    <a:pt x="57" y="15"/>
                    <a:pt x="56" y="14"/>
                  </a:cubicBezTo>
                  <a:cubicBezTo>
                    <a:pt x="56" y="14"/>
                    <a:pt x="53" y="12"/>
                    <a:pt x="52" y="12"/>
                  </a:cubicBezTo>
                  <a:cubicBezTo>
                    <a:pt x="52" y="12"/>
                    <a:pt x="53" y="11"/>
                    <a:pt x="52" y="10"/>
                  </a:cubicBezTo>
                  <a:cubicBezTo>
                    <a:pt x="52" y="9"/>
                    <a:pt x="51" y="9"/>
                    <a:pt x="50" y="9"/>
                  </a:cubicBezTo>
                  <a:cubicBezTo>
                    <a:pt x="49" y="8"/>
                    <a:pt x="49" y="6"/>
                    <a:pt x="47" y="8"/>
                  </a:cubicBezTo>
                  <a:cubicBezTo>
                    <a:pt x="44" y="10"/>
                    <a:pt x="46" y="10"/>
                    <a:pt x="44" y="10"/>
                  </a:cubicBezTo>
                  <a:cubicBezTo>
                    <a:pt x="43" y="11"/>
                    <a:pt x="43" y="10"/>
                    <a:pt x="41" y="9"/>
                  </a:cubicBezTo>
                  <a:cubicBezTo>
                    <a:pt x="39" y="9"/>
                    <a:pt x="37" y="6"/>
                    <a:pt x="36" y="6"/>
                  </a:cubicBezTo>
                  <a:cubicBezTo>
                    <a:pt x="35" y="6"/>
                    <a:pt x="33" y="5"/>
                    <a:pt x="32" y="4"/>
                  </a:cubicBezTo>
                  <a:cubicBezTo>
                    <a:pt x="31" y="4"/>
                    <a:pt x="30" y="3"/>
                    <a:pt x="29" y="3"/>
                  </a:cubicBezTo>
                  <a:cubicBezTo>
                    <a:pt x="28" y="3"/>
                    <a:pt x="26" y="2"/>
                    <a:pt x="25" y="3"/>
                  </a:cubicBezTo>
                  <a:cubicBezTo>
                    <a:pt x="24" y="4"/>
                    <a:pt x="23" y="0"/>
                    <a:pt x="22" y="1"/>
                  </a:cubicBezTo>
                  <a:cubicBezTo>
                    <a:pt x="21" y="2"/>
                    <a:pt x="18" y="2"/>
                    <a:pt x="20" y="3"/>
                  </a:cubicBezTo>
                  <a:cubicBezTo>
                    <a:pt x="23" y="4"/>
                    <a:pt x="23" y="4"/>
                    <a:pt x="24" y="6"/>
                  </a:cubicBezTo>
                  <a:cubicBezTo>
                    <a:pt x="25" y="7"/>
                    <a:pt x="26" y="6"/>
                    <a:pt x="25" y="8"/>
                  </a:cubicBezTo>
                  <a:cubicBezTo>
                    <a:pt x="24" y="10"/>
                    <a:pt x="24" y="12"/>
                    <a:pt x="23" y="11"/>
                  </a:cubicBezTo>
                  <a:cubicBezTo>
                    <a:pt x="22" y="11"/>
                    <a:pt x="23" y="9"/>
                    <a:pt x="21" y="9"/>
                  </a:cubicBezTo>
                  <a:cubicBezTo>
                    <a:pt x="19" y="9"/>
                    <a:pt x="18" y="7"/>
                    <a:pt x="17" y="7"/>
                  </a:cubicBezTo>
                  <a:cubicBezTo>
                    <a:pt x="15" y="7"/>
                    <a:pt x="16" y="5"/>
                    <a:pt x="15" y="7"/>
                  </a:cubicBezTo>
                  <a:cubicBezTo>
                    <a:pt x="15" y="9"/>
                    <a:pt x="16" y="8"/>
                    <a:pt x="17" y="10"/>
                  </a:cubicBezTo>
                  <a:cubicBezTo>
                    <a:pt x="18" y="11"/>
                    <a:pt x="19" y="11"/>
                    <a:pt x="19" y="12"/>
                  </a:cubicBezTo>
                  <a:cubicBezTo>
                    <a:pt x="19" y="14"/>
                    <a:pt x="18" y="14"/>
                    <a:pt x="16" y="14"/>
                  </a:cubicBezTo>
                  <a:cubicBezTo>
                    <a:pt x="15" y="13"/>
                    <a:pt x="13" y="12"/>
                    <a:pt x="13" y="12"/>
                  </a:cubicBezTo>
                  <a:cubicBezTo>
                    <a:pt x="11" y="9"/>
                    <a:pt x="10" y="7"/>
                    <a:pt x="10" y="7"/>
                  </a:cubicBezTo>
                  <a:cubicBezTo>
                    <a:pt x="7" y="6"/>
                    <a:pt x="6" y="4"/>
                    <a:pt x="5" y="5"/>
                  </a:cubicBezTo>
                  <a:cubicBezTo>
                    <a:pt x="3" y="7"/>
                    <a:pt x="3" y="6"/>
                    <a:pt x="3" y="8"/>
                  </a:cubicBezTo>
                  <a:cubicBezTo>
                    <a:pt x="3" y="9"/>
                    <a:pt x="4" y="10"/>
                    <a:pt x="3" y="11"/>
                  </a:cubicBezTo>
                  <a:cubicBezTo>
                    <a:pt x="1" y="11"/>
                    <a:pt x="1" y="10"/>
                    <a:pt x="1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1" y="14"/>
                    <a:pt x="3" y="1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20" name="Freeform 179"/>
            <p:cNvSpPr>
              <a:spLocks/>
            </p:cNvSpPr>
            <p:nvPr/>
          </p:nvSpPr>
          <p:spPr bwMode="auto">
            <a:xfrm>
              <a:off x="4342" y="1473"/>
              <a:ext cx="50" cy="30"/>
            </a:xfrm>
            <a:custGeom>
              <a:avLst/>
              <a:gdLst>
                <a:gd name="T0" fmla="*/ 64 w 67"/>
                <a:gd name="T1" fmla="*/ 27 h 40"/>
                <a:gd name="T2" fmla="*/ 65 w 67"/>
                <a:gd name="T3" fmla="*/ 25 h 40"/>
                <a:gd name="T4" fmla="*/ 61 w 67"/>
                <a:gd name="T5" fmla="*/ 23 h 40"/>
                <a:gd name="T6" fmla="*/ 55 w 67"/>
                <a:gd name="T7" fmla="*/ 24 h 40"/>
                <a:gd name="T8" fmla="*/ 50 w 67"/>
                <a:gd name="T9" fmla="*/ 23 h 40"/>
                <a:gd name="T10" fmla="*/ 46 w 67"/>
                <a:gd name="T11" fmla="*/ 20 h 40"/>
                <a:gd name="T12" fmla="*/ 44 w 67"/>
                <a:gd name="T13" fmla="*/ 18 h 40"/>
                <a:gd name="T14" fmla="*/ 46 w 67"/>
                <a:gd name="T15" fmla="*/ 16 h 40"/>
                <a:gd name="T16" fmla="*/ 46 w 67"/>
                <a:gd name="T17" fmla="*/ 14 h 40"/>
                <a:gd name="T18" fmla="*/ 41 w 67"/>
                <a:gd name="T19" fmla="*/ 12 h 40"/>
                <a:gd name="T20" fmla="*/ 36 w 67"/>
                <a:gd name="T21" fmla="*/ 12 h 40"/>
                <a:gd name="T22" fmla="*/ 32 w 67"/>
                <a:gd name="T23" fmla="*/ 12 h 40"/>
                <a:gd name="T24" fmla="*/ 31 w 67"/>
                <a:gd name="T25" fmla="*/ 9 h 40"/>
                <a:gd name="T26" fmla="*/ 31 w 67"/>
                <a:gd name="T27" fmla="*/ 6 h 40"/>
                <a:gd name="T28" fmla="*/ 30 w 67"/>
                <a:gd name="T29" fmla="*/ 3 h 40"/>
                <a:gd name="T30" fmla="*/ 28 w 67"/>
                <a:gd name="T31" fmla="*/ 2 h 40"/>
                <a:gd name="T32" fmla="*/ 24 w 67"/>
                <a:gd name="T33" fmla="*/ 1 h 40"/>
                <a:gd name="T34" fmla="*/ 21 w 67"/>
                <a:gd name="T35" fmla="*/ 1 h 40"/>
                <a:gd name="T36" fmla="*/ 14 w 67"/>
                <a:gd name="T37" fmla="*/ 2 h 40"/>
                <a:gd name="T38" fmla="*/ 9 w 67"/>
                <a:gd name="T39" fmla="*/ 3 h 40"/>
                <a:gd name="T40" fmla="*/ 6 w 67"/>
                <a:gd name="T41" fmla="*/ 3 h 40"/>
                <a:gd name="T42" fmla="*/ 1 w 67"/>
                <a:gd name="T43" fmla="*/ 6 h 40"/>
                <a:gd name="T44" fmla="*/ 5 w 67"/>
                <a:gd name="T45" fmla="*/ 8 h 40"/>
                <a:gd name="T46" fmla="*/ 8 w 67"/>
                <a:gd name="T47" fmla="*/ 8 h 40"/>
                <a:gd name="T48" fmla="*/ 10 w 67"/>
                <a:gd name="T49" fmla="*/ 11 h 40"/>
                <a:gd name="T50" fmla="*/ 14 w 67"/>
                <a:gd name="T51" fmla="*/ 13 h 40"/>
                <a:gd name="T52" fmla="*/ 14 w 67"/>
                <a:gd name="T53" fmla="*/ 15 h 40"/>
                <a:gd name="T54" fmla="*/ 15 w 67"/>
                <a:gd name="T55" fmla="*/ 20 h 40"/>
                <a:gd name="T56" fmla="*/ 19 w 67"/>
                <a:gd name="T57" fmla="*/ 21 h 40"/>
                <a:gd name="T58" fmla="*/ 22 w 67"/>
                <a:gd name="T59" fmla="*/ 22 h 40"/>
                <a:gd name="T60" fmla="*/ 19 w 67"/>
                <a:gd name="T61" fmla="*/ 27 h 40"/>
                <a:gd name="T62" fmla="*/ 13 w 67"/>
                <a:gd name="T63" fmla="*/ 32 h 40"/>
                <a:gd name="T64" fmla="*/ 12 w 67"/>
                <a:gd name="T65" fmla="*/ 34 h 40"/>
                <a:gd name="T66" fmla="*/ 18 w 67"/>
                <a:gd name="T67" fmla="*/ 34 h 40"/>
                <a:gd name="T68" fmla="*/ 17 w 67"/>
                <a:gd name="T69" fmla="*/ 35 h 40"/>
                <a:gd name="T70" fmla="*/ 23 w 67"/>
                <a:gd name="T71" fmla="*/ 37 h 40"/>
                <a:gd name="T72" fmla="*/ 28 w 67"/>
                <a:gd name="T73" fmla="*/ 37 h 40"/>
                <a:gd name="T74" fmla="*/ 33 w 67"/>
                <a:gd name="T75" fmla="*/ 33 h 40"/>
                <a:gd name="T76" fmla="*/ 36 w 67"/>
                <a:gd name="T77" fmla="*/ 32 h 40"/>
                <a:gd name="T78" fmla="*/ 35 w 67"/>
                <a:gd name="T79" fmla="*/ 37 h 40"/>
                <a:gd name="T80" fmla="*/ 33 w 67"/>
                <a:gd name="T81" fmla="*/ 39 h 40"/>
                <a:gd name="T82" fmla="*/ 38 w 67"/>
                <a:gd name="T83" fmla="*/ 40 h 40"/>
                <a:gd name="T84" fmla="*/ 41 w 67"/>
                <a:gd name="T85" fmla="*/ 39 h 40"/>
                <a:gd name="T86" fmla="*/ 43 w 67"/>
                <a:gd name="T87" fmla="*/ 37 h 40"/>
                <a:gd name="T88" fmla="*/ 46 w 67"/>
                <a:gd name="T89" fmla="*/ 36 h 40"/>
                <a:gd name="T90" fmla="*/ 49 w 67"/>
                <a:gd name="T91" fmla="*/ 35 h 40"/>
                <a:gd name="T92" fmla="*/ 55 w 67"/>
                <a:gd name="T93" fmla="*/ 32 h 40"/>
                <a:gd name="T94" fmla="*/ 58 w 67"/>
                <a:gd name="T95" fmla="*/ 30 h 40"/>
                <a:gd name="T96" fmla="*/ 59 w 67"/>
                <a:gd name="T97" fmla="*/ 29 h 40"/>
                <a:gd name="T98" fmla="*/ 64 w 67"/>
                <a:gd name="T99" fmla="*/ 2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7" h="40">
                  <a:moveTo>
                    <a:pt x="64" y="27"/>
                  </a:moveTo>
                  <a:cubicBezTo>
                    <a:pt x="64" y="27"/>
                    <a:pt x="67" y="26"/>
                    <a:pt x="65" y="25"/>
                  </a:cubicBezTo>
                  <a:cubicBezTo>
                    <a:pt x="63" y="25"/>
                    <a:pt x="63" y="22"/>
                    <a:pt x="61" y="23"/>
                  </a:cubicBezTo>
                  <a:cubicBezTo>
                    <a:pt x="60" y="23"/>
                    <a:pt x="57" y="23"/>
                    <a:pt x="55" y="24"/>
                  </a:cubicBezTo>
                  <a:cubicBezTo>
                    <a:pt x="54" y="24"/>
                    <a:pt x="50" y="23"/>
                    <a:pt x="50" y="23"/>
                  </a:cubicBezTo>
                  <a:cubicBezTo>
                    <a:pt x="48" y="20"/>
                    <a:pt x="46" y="20"/>
                    <a:pt x="46" y="20"/>
                  </a:cubicBezTo>
                  <a:cubicBezTo>
                    <a:pt x="43" y="19"/>
                    <a:pt x="43" y="18"/>
                    <a:pt x="44" y="18"/>
                  </a:cubicBezTo>
                  <a:cubicBezTo>
                    <a:pt x="44" y="18"/>
                    <a:pt x="46" y="17"/>
                    <a:pt x="46" y="16"/>
                  </a:cubicBezTo>
                  <a:cubicBezTo>
                    <a:pt x="46" y="16"/>
                    <a:pt x="46" y="14"/>
                    <a:pt x="46" y="14"/>
                  </a:cubicBezTo>
                  <a:cubicBezTo>
                    <a:pt x="44" y="13"/>
                    <a:pt x="43" y="12"/>
                    <a:pt x="41" y="12"/>
                  </a:cubicBezTo>
                  <a:cubicBezTo>
                    <a:pt x="40" y="12"/>
                    <a:pt x="38" y="11"/>
                    <a:pt x="36" y="12"/>
                  </a:cubicBezTo>
                  <a:cubicBezTo>
                    <a:pt x="34" y="12"/>
                    <a:pt x="33" y="12"/>
                    <a:pt x="32" y="12"/>
                  </a:cubicBezTo>
                  <a:cubicBezTo>
                    <a:pt x="31" y="11"/>
                    <a:pt x="31" y="10"/>
                    <a:pt x="31" y="9"/>
                  </a:cubicBezTo>
                  <a:cubicBezTo>
                    <a:pt x="31" y="8"/>
                    <a:pt x="31" y="7"/>
                    <a:pt x="31" y="6"/>
                  </a:cubicBezTo>
                  <a:cubicBezTo>
                    <a:pt x="30" y="6"/>
                    <a:pt x="30" y="3"/>
                    <a:pt x="30" y="3"/>
                  </a:cubicBezTo>
                  <a:cubicBezTo>
                    <a:pt x="30" y="3"/>
                    <a:pt x="29" y="2"/>
                    <a:pt x="28" y="2"/>
                  </a:cubicBezTo>
                  <a:cubicBezTo>
                    <a:pt x="26" y="2"/>
                    <a:pt x="26" y="0"/>
                    <a:pt x="24" y="1"/>
                  </a:cubicBezTo>
                  <a:cubicBezTo>
                    <a:pt x="22" y="1"/>
                    <a:pt x="22" y="0"/>
                    <a:pt x="21" y="1"/>
                  </a:cubicBezTo>
                  <a:cubicBezTo>
                    <a:pt x="19" y="1"/>
                    <a:pt x="13" y="1"/>
                    <a:pt x="14" y="2"/>
                  </a:cubicBezTo>
                  <a:cubicBezTo>
                    <a:pt x="15" y="3"/>
                    <a:pt x="12" y="3"/>
                    <a:pt x="9" y="3"/>
                  </a:cubicBezTo>
                  <a:cubicBezTo>
                    <a:pt x="6" y="3"/>
                    <a:pt x="10" y="1"/>
                    <a:pt x="6" y="3"/>
                  </a:cubicBezTo>
                  <a:cubicBezTo>
                    <a:pt x="3" y="6"/>
                    <a:pt x="0" y="4"/>
                    <a:pt x="1" y="6"/>
                  </a:cubicBezTo>
                  <a:cubicBezTo>
                    <a:pt x="2" y="7"/>
                    <a:pt x="4" y="9"/>
                    <a:pt x="5" y="8"/>
                  </a:cubicBezTo>
                  <a:cubicBezTo>
                    <a:pt x="6" y="8"/>
                    <a:pt x="8" y="8"/>
                    <a:pt x="8" y="8"/>
                  </a:cubicBezTo>
                  <a:cubicBezTo>
                    <a:pt x="8" y="8"/>
                    <a:pt x="9" y="10"/>
                    <a:pt x="10" y="11"/>
                  </a:cubicBezTo>
                  <a:cubicBezTo>
                    <a:pt x="12" y="13"/>
                    <a:pt x="13" y="13"/>
                    <a:pt x="14" y="13"/>
                  </a:cubicBezTo>
                  <a:cubicBezTo>
                    <a:pt x="15" y="13"/>
                    <a:pt x="15" y="13"/>
                    <a:pt x="14" y="15"/>
                  </a:cubicBezTo>
                  <a:cubicBezTo>
                    <a:pt x="13" y="18"/>
                    <a:pt x="15" y="20"/>
                    <a:pt x="15" y="20"/>
                  </a:cubicBezTo>
                  <a:cubicBezTo>
                    <a:pt x="16" y="20"/>
                    <a:pt x="18" y="20"/>
                    <a:pt x="19" y="21"/>
                  </a:cubicBezTo>
                  <a:cubicBezTo>
                    <a:pt x="21" y="21"/>
                    <a:pt x="24" y="19"/>
                    <a:pt x="22" y="22"/>
                  </a:cubicBezTo>
                  <a:cubicBezTo>
                    <a:pt x="20" y="26"/>
                    <a:pt x="22" y="25"/>
                    <a:pt x="19" y="27"/>
                  </a:cubicBezTo>
                  <a:cubicBezTo>
                    <a:pt x="15" y="29"/>
                    <a:pt x="15" y="30"/>
                    <a:pt x="13" y="32"/>
                  </a:cubicBezTo>
                  <a:cubicBezTo>
                    <a:pt x="11" y="34"/>
                    <a:pt x="11" y="33"/>
                    <a:pt x="12" y="34"/>
                  </a:cubicBezTo>
                  <a:cubicBezTo>
                    <a:pt x="13" y="35"/>
                    <a:pt x="17" y="34"/>
                    <a:pt x="18" y="34"/>
                  </a:cubicBezTo>
                  <a:cubicBezTo>
                    <a:pt x="18" y="34"/>
                    <a:pt x="15" y="34"/>
                    <a:pt x="17" y="35"/>
                  </a:cubicBezTo>
                  <a:cubicBezTo>
                    <a:pt x="19" y="37"/>
                    <a:pt x="21" y="36"/>
                    <a:pt x="23" y="37"/>
                  </a:cubicBezTo>
                  <a:cubicBezTo>
                    <a:pt x="24" y="38"/>
                    <a:pt x="27" y="38"/>
                    <a:pt x="28" y="37"/>
                  </a:cubicBezTo>
                  <a:cubicBezTo>
                    <a:pt x="28" y="37"/>
                    <a:pt x="33" y="34"/>
                    <a:pt x="33" y="33"/>
                  </a:cubicBezTo>
                  <a:cubicBezTo>
                    <a:pt x="34" y="32"/>
                    <a:pt x="36" y="32"/>
                    <a:pt x="36" y="32"/>
                  </a:cubicBezTo>
                  <a:cubicBezTo>
                    <a:pt x="36" y="32"/>
                    <a:pt x="36" y="35"/>
                    <a:pt x="35" y="37"/>
                  </a:cubicBezTo>
                  <a:cubicBezTo>
                    <a:pt x="33" y="38"/>
                    <a:pt x="32" y="38"/>
                    <a:pt x="33" y="39"/>
                  </a:cubicBezTo>
                  <a:cubicBezTo>
                    <a:pt x="35" y="40"/>
                    <a:pt x="38" y="40"/>
                    <a:pt x="38" y="40"/>
                  </a:cubicBezTo>
                  <a:cubicBezTo>
                    <a:pt x="38" y="40"/>
                    <a:pt x="41" y="40"/>
                    <a:pt x="41" y="39"/>
                  </a:cubicBezTo>
                  <a:cubicBezTo>
                    <a:pt x="42" y="38"/>
                    <a:pt x="43" y="37"/>
                    <a:pt x="43" y="37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8" y="36"/>
                    <a:pt x="49" y="35"/>
                  </a:cubicBezTo>
                  <a:cubicBezTo>
                    <a:pt x="50" y="34"/>
                    <a:pt x="54" y="34"/>
                    <a:pt x="55" y="32"/>
                  </a:cubicBezTo>
                  <a:cubicBezTo>
                    <a:pt x="56" y="31"/>
                    <a:pt x="57" y="31"/>
                    <a:pt x="58" y="30"/>
                  </a:cubicBezTo>
                  <a:cubicBezTo>
                    <a:pt x="59" y="29"/>
                    <a:pt x="57" y="29"/>
                    <a:pt x="59" y="29"/>
                  </a:cubicBezTo>
                  <a:cubicBezTo>
                    <a:pt x="61" y="28"/>
                    <a:pt x="64" y="27"/>
                    <a:pt x="64" y="27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21" name="Freeform 180"/>
            <p:cNvSpPr>
              <a:spLocks/>
            </p:cNvSpPr>
            <p:nvPr/>
          </p:nvSpPr>
          <p:spPr bwMode="auto">
            <a:xfrm>
              <a:off x="4656" y="1509"/>
              <a:ext cx="178" cy="126"/>
            </a:xfrm>
            <a:custGeom>
              <a:avLst/>
              <a:gdLst>
                <a:gd name="T0" fmla="*/ 5 w 240"/>
                <a:gd name="T1" fmla="*/ 146 h 170"/>
                <a:gd name="T2" fmla="*/ 19 w 240"/>
                <a:gd name="T3" fmla="*/ 151 h 170"/>
                <a:gd name="T4" fmla="*/ 24 w 240"/>
                <a:gd name="T5" fmla="*/ 157 h 170"/>
                <a:gd name="T6" fmla="*/ 30 w 240"/>
                <a:gd name="T7" fmla="*/ 150 h 170"/>
                <a:gd name="T8" fmla="*/ 36 w 240"/>
                <a:gd name="T9" fmla="*/ 157 h 170"/>
                <a:gd name="T10" fmla="*/ 35 w 240"/>
                <a:gd name="T11" fmla="*/ 163 h 170"/>
                <a:gd name="T12" fmla="*/ 51 w 240"/>
                <a:gd name="T13" fmla="*/ 168 h 170"/>
                <a:gd name="T14" fmla="*/ 69 w 240"/>
                <a:gd name="T15" fmla="*/ 168 h 170"/>
                <a:gd name="T16" fmla="*/ 80 w 240"/>
                <a:gd name="T17" fmla="*/ 168 h 170"/>
                <a:gd name="T18" fmla="*/ 71 w 240"/>
                <a:gd name="T19" fmla="*/ 153 h 170"/>
                <a:gd name="T20" fmla="*/ 57 w 240"/>
                <a:gd name="T21" fmla="*/ 137 h 170"/>
                <a:gd name="T22" fmla="*/ 58 w 240"/>
                <a:gd name="T23" fmla="*/ 117 h 170"/>
                <a:gd name="T24" fmla="*/ 74 w 240"/>
                <a:gd name="T25" fmla="*/ 102 h 170"/>
                <a:gd name="T26" fmla="*/ 92 w 240"/>
                <a:gd name="T27" fmla="*/ 87 h 170"/>
                <a:gd name="T28" fmla="*/ 98 w 240"/>
                <a:gd name="T29" fmla="*/ 74 h 170"/>
                <a:gd name="T30" fmla="*/ 103 w 240"/>
                <a:gd name="T31" fmla="*/ 70 h 170"/>
                <a:gd name="T32" fmla="*/ 112 w 240"/>
                <a:gd name="T33" fmla="*/ 64 h 170"/>
                <a:gd name="T34" fmla="*/ 125 w 240"/>
                <a:gd name="T35" fmla="*/ 58 h 170"/>
                <a:gd name="T36" fmla="*/ 136 w 240"/>
                <a:gd name="T37" fmla="*/ 48 h 170"/>
                <a:gd name="T38" fmla="*/ 155 w 240"/>
                <a:gd name="T39" fmla="*/ 41 h 170"/>
                <a:gd name="T40" fmla="*/ 192 w 240"/>
                <a:gd name="T41" fmla="*/ 32 h 170"/>
                <a:gd name="T42" fmla="*/ 213 w 240"/>
                <a:gd name="T43" fmla="*/ 25 h 170"/>
                <a:gd name="T44" fmla="*/ 228 w 240"/>
                <a:gd name="T45" fmla="*/ 20 h 170"/>
                <a:gd name="T46" fmla="*/ 238 w 240"/>
                <a:gd name="T47" fmla="*/ 12 h 170"/>
                <a:gd name="T48" fmla="*/ 230 w 240"/>
                <a:gd name="T49" fmla="*/ 1 h 170"/>
                <a:gd name="T50" fmla="*/ 202 w 240"/>
                <a:gd name="T51" fmla="*/ 5 h 170"/>
                <a:gd name="T52" fmla="*/ 193 w 240"/>
                <a:gd name="T53" fmla="*/ 12 h 170"/>
                <a:gd name="T54" fmla="*/ 179 w 240"/>
                <a:gd name="T55" fmla="*/ 16 h 170"/>
                <a:gd name="T56" fmla="*/ 165 w 240"/>
                <a:gd name="T57" fmla="*/ 19 h 170"/>
                <a:gd name="T58" fmla="*/ 152 w 240"/>
                <a:gd name="T59" fmla="*/ 21 h 170"/>
                <a:gd name="T60" fmla="*/ 137 w 240"/>
                <a:gd name="T61" fmla="*/ 19 h 170"/>
                <a:gd name="T62" fmla="*/ 125 w 240"/>
                <a:gd name="T63" fmla="*/ 27 h 170"/>
                <a:gd name="T64" fmla="*/ 114 w 240"/>
                <a:gd name="T65" fmla="*/ 30 h 170"/>
                <a:gd name="T66" fmla="*/ 101 w 240"/>
                <a:gd name="T67" fmla="*/ 35 h 170"/>
                <a:gd name="T68" fmla="*/ 87 w 240"/>
                <a:gd name="T69" fmla="*/ 42 h 170"/>
                <a:gd name="T70" fmla="*/ 74 w 240"/>
                <a:gd name="T71" fmla="*/ 46 h 170"/>
                <a:gd name="T72" fmla="*/ 62 w 240"/>
                <a:gd name="T73" fmla="*/ 51 h 170"/>
                <a:gd name="T74" fmla="*/ 63 w 240"/>
                <a:gd name="T75" fmla="*/ 64 h 170"/>
                <a:gd name="T76" fmla="*/ 56 w 240"/>
                <a:gd name="T77" fmla="*/ 72 h 170"/>
                <a:gd name="T78" fmla="*/ 45 w 240"/>
                <a:gd name="T79" fmla="*/ 82 h 170"/>
                <a:gd name="T80" fmla="*/ 34 w 240"/>
                <a:gd name="T81" fmla="*/ 93 h 170"/>
                <a:gd name="T82" fmla="*/ 40 w 240"/>
                <a:gd name="T83" fmla="*/ 98 h 170"/>
                <a:gd name="T84" fmla="*/ 25 w 240"/>
                <a:gd name="T85" fmla="*/ 108 h 170"/>
                <a:gd name="T86" fmla="*/ 16 w 240"/>
                <a:gd name="T87" fmla="*/ 116 h 170"/>
                <a:gd name="T88" fmla="*/ 18 w 240"/>
                <a:gd name="T89" fmla="*/ 124 h 170"/>
                <a:gd name="T90" fmla="*/ 9 w 240"/>
                <a:gd name="T91" fmla="*/ 131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0" h="170">
                  <a:moveTo>
                    <a:pt x="1" y="138"/>
                  </a:moveTo>
                  <a:cubicBezTo>
                    <a:pt x="2" y="140"/>
                    <a:pt x="2" y="140"/>
                    <a:pt x="3" y="143"/>
                  </a:cubicBezTo>
                  <a:cubicBezTo>
                    <a:pt x="3" y="146"/>
                    <a:pt x="3" y="146"/>
                    <a:pt x="5" y="146"/>
                  </a:cubicBezTo>
                  <a:cubicBezTo>
                    <a:pt x="7" y="147"/>
                    <a:pt x="10" y="147"/>
                    <a:pt x="10" y="147"/>
                  </a:cubicBezTo>
                  <a:cubicBezTo>
                    <a:pt x="14" y="146"/>
                    <a:pt x="17" y="144"/>
                    <a:pt x="18" y="146"/>
                  </a:cubicBezTo>
                  <a:cubicBezTo>
                    <a:pt x="20" y="150"/>
                    <a:pt x="19" y="151"/>
                    <a:pt x="19" y="151"/>
                  </a:cubicBezTo>
                  <a:cubicBezTo>
                    <a:pt x="19" y="151"/>
                    <a:pt x="14" y="151"/>
                    <a:pt x="15" y="152"/>
                  </a:cubicBezTo>
                  <a:cubicBezTo>
                    <a:pt x="17" y="155"/>
                    <a:pt x="16" y="153"/>
                    <a:pt x="19" y="155"/>
                  </a:cubicBezTo>
                  <a:cubicBezTo>
                    <a:pt x="21" y="157"/>
                    <a:pt x="22" y="160"/>
                    <a:pt x="24" y="157"/>
                  </a:cubicBezTo>
                  <a:cubicBezTo>
                    <a:pt x="25" y="153"/>
                    <a:pt x="26" y="153"/>
                    <a:pt x="25" y="151"/>
                  </a:cubicBezTo>
                  <a:cubicBezTo>
                    <a:pt x="23" y="149"/>
                    <a:pt x="19" y="146"/>
                    <a:pt x="24" y="147"/>
                  </a:cubicBezTo>
                  <a:cubicBezTo>
                    <a:pt x="28" y="149"/>
                    <a:pt x="28" y="149"/>
                    <a:pt x="30" y="150"/>
                  </a:cubicBezTo>
                  <a:cubicBezTo>
                    <a:pt x="31" y="151"/>
                    <a:pt x="31" y="152"/>
                    <a:pt x="31" y="153"/>
                  </a:cubicBezTo>
                  <a:cubicBezTo>
                    <a:pt x="31" y="154"/>
                    <a:pt x="34" y="153"/>
                    <a:pt x="35" y="154"/>
                  </a:cubicBezTo>
                  <a:cubicBezTo>
                    <a:pt x="37" y="155"/>
                    <a:pt x="38" y="157"/>
                    <a:pt x="36" y="157"/>
                  </a:cubicBezTo>
                  <a:cubicBezTo>
                    <a:pt x="35" y="157"/>
                    <a:pt x="30" y="158"/>
                    <a:pt x="30" y="159"/>
                  </a:cubicBezTo>
                  <a:cubicBezTo>
                    <a:pt x="29" y="160"/>
                    <a:pt x="28" y="161"/>
                    <a:pt x="30" y="162"/>
                  </a:cubicBezTo>
                  <a:cubicBezTo>
                    <a:pt x="32" y="163"/>
                    <a:pt x="33" y="163"/>
                    <a:pt x="35" y="163"/>
                  </a:cubicBezTo>
                  <a:cubicBezTo>
                    <a:pt x="37" y="163"/>
                    <a:pt x="37" y="160"/>
                    <a:pt x="40" y="163"/>
                  </a:cubicBezTo>
                  <a:cubicBezTo>
                    <a:pt x="43" y="166"/>
                    <a:pt x="46" y="167"/>
                    <a:pt x="47" y="168"/>
                  </a:cubicBezTo>
                  <a:cubicBezTo>
                    <a:pt x="48" y="168"/>
                    <a:pt x="51" y="168"/>
                    <a:pt x="51" y="168"/>
                  </a:cubicBezTo>
                  <a:cubicBezTo>
                    <a:pt x="55" y="170"/>
                    <a:pt x="56" y="168"/>
                    <a:pt x="57" y="168"/>
                  </a:cubicBezTo>
                  <a:cubicBezTo>
                    <a:pt x="61" y="168"/>
                    <a:pt x="63" y="168"/>
                    <a:pt x="64" y="168"/>
                  </a:cubicBezTo>
                  <a:cubicBezTo>
                    <a:pt x="67" y="169"/>
                    <a:pt x="68" y="169"/>
                    <a:pt x="69" y="168"/>
                  </a:cubicBezTo>
                  <a:cubicBezTo>
                    <a:pt x="70" y="168"/>
                    <a:pt x="73" y="167"/>
                    <a:pt x="73" y="167"/>
                  </a:cubicBezTo>
                  <a:cubicBezTo>
                    <a:pt x="73" y="167"/>
                    <a:pt x="75" y="169"/>
                    <a:pt x="76" y="169"/>
                  </a:cubicBezTo>
                  <a:cubicBezTo>
                    <a:pt x="78" y="169"/>
                    <a:pt x="77" y="168"/>
                    <a:pt x="80" y="168"/>
                  </a:cubicBezTo>
                  <a:cubicBezTo>
                    <a:pt x="83" y="168"/>
                    <a:pt x="87" y="170"/>
                    <a:pt x="85" y="165"/>
                  </a:cubicBezTo>
                  <a:cubicBezTo>
                    <a:pt x="85" y="163"/>
                    <a:pt x="76" y="164"/>
                    <a:pt x="76" y="160"/>
                  </a:cubicBezTo>
                  <a:cubicBezTo>
                    <a:pt x="76" y="156"/>
                    <a:pt x="74" y="156"/>
                    <a:pt x="71" y="153"/>
                  </a:cubicBezTo>
                  <a:cubicBezTo>
                    <a:pt x="68" y="150"/>
                    <a:pt x="71" y="153"/>
                    <a:pt x="68" y="150"/>
                  </a:cubicBezTo>
                  <a:cubicBezTo>
                    <a:pt x="64" y="148"/>
                    <a:pt x="62" y="146"/>
                    <a:pt x="61" y="144"/>
                  </a:cubicBezTo>
                  <a:cubicBezTo>
                    <a:pt x="60" y="143"/>
                    <a:pt x="57" y="140"/>
                    <a:pt x="57" y="137"/>
                  </a:cubicBezTo>
                  <a:cubicBezTo>
                    <a:pt x="58" y="134"/>
                    <a:pt x="57" y="130"/>
                    <a:pt x="57" y="128"/>
                  </a:cubicBezTo>
                  <a:cubicBezTo>
                    <a:pt x="58" y="127"/>
                    <a:pt x="56" y="126"/>
                    <a:pt x="57" y="123"/>
                  </a:cubicBezTo>
                  <a:cubicBezTo>
                    <a:pt x="58" y="119"/>
                    <a:pt x="56" y="119"/>
                    <a:pt x="58" y="117"/>
                  </a:cubicBezTo>
                  <a:cubicBezTo>
                    <a:pt x="61" y="116"/>
                    <a:pt x="61" y="113"/>
                    <a:pt x="63" y="114"/>
                  </a:cubicBezTo>
                  <a:cubicBezTo>
                    <a:pt x="63" y="114"/>
                    <a:pt x="65" y="112"/>
                    <a:pt x="66" y="110"/>
                  </a:cubicBezTo>
                  <a:cubicBezTo>
                    <a:pt x="71" y="105"/>
                    <a:pt x="72" y="104"/>
                    <a:pt x="74" y="102"/>
                  </a:cubicBezTo>
                  <a:cubicBezTo>
                    <a:pt x="79" y="99"/>
                    <a:pt x="79" y="98"/>
                    <a:pt x="80" y="97"/>
                  </a:cubicBezTo>
                  <a:cubicBezTo>
                    <a:pt x="83" y="93"/>
                    <a:pt x="82" y="94"/>
                    <a:pt x="83" y="93"/>
                  </a:cubicBezTo>
                  <a:cubicBezTo>
                    <a:pt x="89" y="90"/>
                    <a:pt x="92" y="87"/>
                    <a:pt x="92" y="87"/>
                  </a:cubicBezTo>
                  <a:cubicBezTo>
                    <a:pt x="94" y="83"/>
                    <a:pt x="91" y="82"/>
                    <a:pt x="94" y="80"/>
                  </a:cubicBezTo>
                  <a:cubicBezTo>
                    <a:pt x="97" y="77"/>
                    <a:pt x="97" y="77"/>
                    <a:pt x="97" y="77"/>
                  </a:cubicBezTo>
                  <a:cubicBezTo>
                    <a:pt x="98" y="75"/>
                    <a:pt x="98" y="75"/>
                    <a:pt x="98" y="74"/>
                  </a:cubicBezTo>
                  <a:cubicBezTo>
                    <a:pt x="97" y="72"/>
                    <a:pt x="97" y="69"/>
                    <a:pt x="97" y="69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101" y="68"/>
                    <a:pt x="101" y="71"/>
                    <a:pt x="103" y="70"/>
                  </a:cubicBezTo>
                  <a:cubicBezTo>
                    <a:pt x="106" y="69"/>
                    <a:pt x="105" y="68"/>
                    <a:pt x="105" y="66"/>
                  </a:cubicBezTo>
                  <a:cubicBezTo>
                    <a:pt x="106" y="64"/>
                    <a:pt x="106" y="63"/>
                    <a:pt x="107" y="63"/>
                  </a:cubicBezTo>
                  <a:cubicBezTo>
                    <a:pt x="108" y="63"/>
                    <a:pt x="112" y="64"/>
                    <a:pt x="112" y="64"/>
                  </a:cubicBezTo>
                  <a:cubicBezTo>
                    <a:pt x="115" y="64"/>
                    <a:pt x="118" y="63"/>
                    <a:pt x="118" y="63"/>
                  </a:cubicBezTo>
                  <a:cubicBezTo>
                    <a:pt x="119" y="60"/>
                    <a:pt x="119" y="60"/>
                    <a:pt x="120" y="60"/>
                  </a:cubicBezTo>
                  <a:cubicBezTo>
                    <a:pt x="124" y="59"/>
                    <a:pt x="124" y="59"/>
                    <a:pt x="125" y="58"/>
                  </a:cubicBezTo>
                  <a:cubicBezTo>
                    <a:pt x="126" y="54"/>
                    <a:pt x="129" y="52"/>
                    <a:pt x="129" y="52"/>
                  </a:cubicBezTo>
                  <a:cubicBezTo>
                    <a:pt x="129" y="52"/>
                    <a:pt x="131" y="51"/>
                    <a:pt x="133" y="50"/>
                  </a:cubicBezTo>
                  <a:cubicBezTo>
                    <a:pt x="134" y="50"/>
                    <a:pt x="135" y="49"/>
                    <a:pt x="136" y="48"/>
                  </a:cubicBezTo>
                  <a:cubicBezTo>
                    <a:pt x="136" y="48"/>
                    <a:pt x="138" y="49"/>
                    <a:pt x="140" y="48"/>
                  </a:cubicBezTo>
                  <a:cubicBezTo>
                    <a:pt x="142" y="47"/>
                    <a:pt x="143" y="45"/>
                    <a:pt x="144" y="45"/>
                  </a:cubicBezTo>
                  <a:cubicBezTo>
                    <a:pt x="152" y="43"/>
                    <a:pt x="151" y="42"/>
                    <a:pt x="155" y="41"/>
                  </a:cubicBezTo>
                  <a:cubicBezTo>
                    <a:pt x="158" y="40"/>
                    <a:pt x="157" y="40"/>
                    <a:pt x="161" y="39"/>
                  </a:cubicBezTo>
                  <a:cubicBezTo>
                    <a:pt x="165" y="38"/>
                    <a:pt x="187" y="33"/>
                    <a:pt x="187" y="33"/>
                  </a:cubicBezTo>
                  <a:cubicBezTo>
                    <a:pt x="187" y="33"/>
                    <a:pt x="191" y="32"/>
                    <a:pt x="192" y="32"/>
                  </a:cubicBezTo>
                  <a:cubicBezTo>
                    <a:pt x="193" y="31"/>
                    <a:pt x="198" y="29"/>
                    <a:pt x="199" y="29"/>
                  </a:cubicBezTo>
                  <a:cubicBezTo>
                    <a:pt x="200" y="29"/>
                    <a:pt x="201" y="28"/>
                    <a:pt x="204" y="27"/>
                  </a:cubicBezTo>
                  <a:cubicBezTo>
                    <a:pt x="207" y="26"/>
                    <a:pt x="210" y="26"/>
                    <a:pt x="213" y="25"/>
                  </a:cubicBezTo>
                  <a:cubicBezTo>
                    <a:pt x="215" y="24"/>
                    <a:pt x="216" y="23"/>
                    <a:pt x="218" y="23"/>
                  </a:cubicBezTo>
                  <a:cubicBezTo>
                    <a:pt x="220" y="23"/>
                    <a:pt x="220" y="22"/>
                    <a:pt x="222" y="22"/>
                  </a:cubicBezTo>
                  <a:cubicBezTo>
                    <a:pt x="224" y="22"/>
                    <a:pt x="226" y="21"/>
                    <a:pt x="228" y="20"/>
                  </a:cubicBezTo>
                  <a:cubicBezTo>
                    <a:pt x="229" y="20"/>
                    <a:pt x="230" y="19"/>
                    <a:pt x="231" y="18"/>
                  </a:cubicBezTo>
                  <a:cubicBezTo>
                    <a:pt x="233" y="17"/>
                    <a:pt x="234" y="16"/>
                    <a:pt x="235" y="15"/>
                  </a:cubicBezTo>
                  <a:cubicBezTo>
                    <a:pt x="236" y="14"/>
                    <a:pt x="237" y="16"/>
                    <a:pt x="238" y="12"/>
                  </a:cubicBezTo>
                  <a:cubicBezTo>
                    <a:pt x="238" y="7"/>
                    <a:pt x="240" y="6"/>
                    <a:pt x="238" y="5"/>
                  </a:cubicBezTo>
                  <a:cubicBezTo>
                    <a:pt x="237" y="5"/>
                    <a:pt x="236" y="3"/>
                    <a:pt x="235" y="2"/>
                  </a:cubicBezTo>
                  <a:cubicBezTo>
                    <a:pt x="234" y="1"/>
                    <a:pt x="240" y="1"/>
                    <a:pt x="230" y="1"/>
                  </a:cubicBezTo>
                  <a:cubicBezTo>
                    <a:pt x="221" y="0"/>
                    <a:pt x="223" y="0"/>
                    <a:pt x="219" y="0"/>
                  </a:cubicBezTo>
                  <a:cubicBezTo>
                    <a:pt x="214" y="0"/>
                    <a:pt x="211" y="0"/>
                    <a:pt x="209" y="1"/>
                  </a:cubicBezTo>
                  <a:cubicBezTo>
                    <a:pt x="207" y="2"/>
                    <a:pt x="206" y="2"/>
                    <a:pt x="202" y="5"/>
                  </a:cubicBezTo>
                  <a:cubicBezTo>
                    <a:pt x="198" y="8"/>
                    <a:pt x="199" y="6"/>
                    <a:pt x="198" y="8"/>
                  </a:cubicBezTo>
                  <a:cubicBezTo>
                    <a:pt x="197" y="9"/>
                    <a:pt x="197" y="10"/>
                    <a:pt x="196" y="11"/>
                  </a:cubicBezTo>
                  <a:cubicBezTo>
                    <a:pt x="195" y="12"/>
                    <a:pt x="194" y="11"/>
                    <a:pt x="193" y="12"/>
                  </a:cubicBezTo>
                  <a:cubicBezTo>
                    <a:pt x="192" y="12"/>
                    <a:pt x="191" y="10"/>
                    <a:pt x="188" y="12"/>
                  </a:cubicBezTo>
                  <a:cubicBezTo>
                    <a:pt x="186" y="14"/>
                    <a:pt x="186" y="13"/>
                    <a:pt x="184" y="14"/>
                  </a:cubicBezTo>
                  <a:cubicBezTo>
                    <a:pt x="182" y="16"/>
                    <a:pt x="181" y="15"/>
                    <a:pt x="179" y="16"/>
                  </a:cubicBezTo>
                  <a:cubicBezTo>
                    <a:pt x="176" y="17"/>
                    <a:pt x="177" y="16"/>
                    <a:pt x="175" y="17"/>
                  </a:cubicBezTo>
                  <a:cubicBezTo>
                    <a:pt x="173" y="18"/>
                    <a:pt x="168" y="19"/>
                    <a:pt x="168" y="19"/>
                  </a:cubicBezTo>
                  <a:cubicBezTo>
                    <a:pt x="168" y="19"/>
                    <a:pt x="166" y="18"/>
                    <a:pt x="165" y="19"/>
                  </a:cubicBezTo>
                  <a:cubicBezTo>
                    <a:pt x="164" y="20"/>
                    <a:pt x="163" y="20"/>
                    <a:pt x="161" y="21"/>
                  </a:cubicBezTo>
                  <a:cubicBezTo>
                    <a:pt x="159" y="22"/>
                    <a:pt x="156" y="22"/>
                    <a:pt x="155" y="22"/>
                  </a:cubicBezTo>
                  <a:cubicBezTo>
                    <a:pt x="154" y="22"/>
                    <a:pt x="154" y="21"/>
                    <a:pt x="152" y="21"/>
                  </a:cubicBezTo>
                  <a:cubicBezTo>
                    <a:pt x="151" y="21"/>
                    <a:pt x="151" y="22"/>
                    <a:pt x="148" y="21"/>
                  </a:cubicBezTo>
                  <a:cubicBezTo>
                    <a:pt x="146" y="21"/>
                    <a:pt x="142" y="21"/>
                    <a:pt x="141" y="20"/>
                  </a:cubicBezTo>
                  <a:cubicBezTo>
                    <a:pt x="140" y="20"/>
                    <a:pt x="138" y="19"/>
                    <a:pt x="137" y="19"/>
                  </a:cubicBezTo>
                  <a:cubicBezTo>
                    <a:pt x="135" y="20"/>
                    <a:pt x="132" y="20"/>
                    <a:pt x="131" y="21"/>
                  </a:cubicBezTo>
                  <a:cubicBezTo>
                    <a:pt x="129" y="26"/>
                    <a:pt x="132" y="25"/>
                    <a:pt x="129" y="26"/>
                  </a:cubicBezTo>
                  <a:cubicBezTo>
                    <a:pt x="127" y="27"/>
                    <a:pt x="125" y="27"/>
                    <a:pt x="125" y="27"/>
                  </a:cubicBezTo>
                  <a:cubicBezTo>
                    <a:pt x="125" y="27"/>
                    <a:pt x="125" y="24"/>
                    <a:pt x="122" y="26"/>
                  </a:cubicBezTo>
                  <a:cubicBezTo>
                    <a:pt x="120" y="27"/>
                    <a:pt x="122" y="26"/>
                    <a:pt x="120" y="27"/>
                  </a:cubicBezTo>
                  <a:cubicBezTo>
                    <a:pt x="116" y="30"/>
                    <a:pt x="115" y="30"/>
                    <a:pt x="114" y="30"/>
                  </a:cubicBezTo>
                  <a:cubicBezTo>
                    <a:pt x="109" y="30"/>
                    <a:pt x="108" y="29"/>
                    <a:pt x="108" y="29"/>
                  </a:cubicBezTo>
                  <a:cubicBezTo>
                    <a:pt x="104" y="30"/>
                    <a:pt x="104" y="30"/>
                    <a:pt x="104" y="30"/>
                  </a:cubicBezTo>
                  <a:cubicBezTo>
                    <a:pt x="100" y="32"/>
                    <a:pt x="102" y="34"/>
                    <a:pt x="101" y="35"/>
                  </a:cubicBezTo>
                  <a:cubicBezTo>
                    <a:pt x="100" y="35"/>
                    <a:pt x="96" y="36"/>
                    <a:pt x="96" y="36"/>
                  </a:cubicBezTo>
                  <a:cubicBezTo>
                    <a:pt x="96" y="36"/>
                    <a:pt x="92" y="36"/>
                    <a:pt x="91" y="38"/>
                  </a:cubicBezTo>
                  <a:cubicBezTo>
                    <a:pt x="90" y="40"/>
                    <a:pt x="89" y="40"/>
                    <a:pt x="87" y="42"/>
                  </a:cubicBezTo>
                  <a:cubicBezTo>
                    <a:pt x="85" y="43"/>
                    <a:pt x="86" y="43"/>
                    <a:pt x="85" y="45"/>
                  </a:cubicBezTo>
                  <a:cubicBezTo>
                    <a:pt x="83" y="47"/>
                    <a:pt x="84" y="41"/>
                    <a:pt x="79" y="43"/>
                  </a:cubicBezTo>
                  <a:cubicBezTo>
                    <a:pt x="75" y="46"/>
                    <a:pt x="75" y="44"/>
                    <a:pt x="74" y="46"/>
                  </a:cubicBezTo>
                  <a:cubicBezTo>
                    <a:pt x="72" y="49"/>
                    <a:pt x="72" y="50"/>
                    <a:pt x="71" y="51"/>
                  </a:cubicBezTo>
                  <a:cubicBezTo>
                    <a:pt x="69" y="52"/>
                    <a:pt x="68" y="50"/>
                    <a:pt x="66" y="50"/>
                  </a:cubicBezTo>
                  <a:cubicBezTo>
                    <a:pt x="64" y="50"/>
                    <a:pt x="61" y="49"/>
                    <a:pt x="62" y="51"/>
                  </a:cubicBezTo>
                  <a:cubicBezTo>
                    <a:pt x="62" y="54"/>
                    <a:pt x="61" y="54"/>
                    <a:pt x="62" y="55"/>
                  </a:cubicBezTo>
                  <a:cubicBezTo>
                    <a:pt x="65" y="57"/>
                    <a:pt x="63" y="57"/>
                    <a:pt x="63" y="59"/>
                  </a:cubicBezTo>
                  <a:cubicBezTo>
                    <a:pt x="63" y="64"/>
                    <a:pt x="65" y="62"/>
                    <a:pt x="63" y="64"/>
                  </a:cubicBezTo>
                  <a:cubicBezTo>
                    <a:pt x="61" y="65"/>
                    <a:pt x="59" y="63"/>
                    <a:pt x="57" y="66"/>
                  </a:cubicBezTo>
                  <a:cubicBezTo>
                    <a:pt x="55" y="69"/>
                    <a:pt x="55" y="65"/>
                    <a:pt x="55" y="69"/>
                  </a:cubicBezTo>
                  <a:cubicBezTo>
                    <a:pt x="56" y="72"/>
                    <a:pt x="57" y="69"/>
                    <a:pt x="56" y="72"/>
                  </a:cubicBezTo>
                  <a:cubicBezTo>
                    <a:pt x="55" y="75"/>
                    <a:pt x="52" y="72"/>
                    <a:pt x="54" y="75"/>
                  </a:cubicBezTo>
                  <a:cubicBezTo>
                    <a:pt x="55" y="79"/>
                    <a:pt x="48" y="79"/>
                    <a:pt x="48" y="79"/>
                  </a:cubicBezTo>
                  <a:cubicBezTo>
                    <a:pt x="48" y="79"/>
                    <a:pt x="46" y="80"/>
                    <a:pt x="45" y="82"/>
                  </a:cubicBezTo>
                  <a:cubicBezTo>
                    <a:pt x="44" y="83"/>
                    <a:pt x="44" y="83"/>
                    <a:pt x="42" y="85"/>
                  </a:cubicBezTo>
                  <a:cubicBezTo>
                    <a:pt x="41" y="87"/>
                    <a:pt x="36" y="88"/>
                    <a:pt x="36" y="88"/>
                  </a:cubicBezTo>
                  <a:cubicBezTo>
                    <a:pt x="34" y="91"/>
                    <a:pt x="32" y="93"/>
                    <a:pt x="34" y="93"/>
                  </a:cubicBezTo>
                  <a:cubicBezTo>
                    <a:pt x="36" y="93"/>
                    <a:pt x="36" y="90"/>
                    <a:pt x="38" y="92"/>
                  </a:cubicBezTo>
                  <a:cubicBezTo>
                    <a:pt x="39" y="94"/>
                    <a:pt x="38" y="93"/>
                    <a:pt x="39" y="95"/>
                  </a:cubicBezTo>
                  <a:cubicBezTo>
                    <a:pt x="40" y="98"/>
                    <a:pt x="40" y="96"/>
                    <a:pt x="40" y="98"/>
                  </a:cubicBezTo>
                  <a:cubicBezTo>
                    <a:pt x="36" y="102"/>
                    <a:pt x="34" y="102"/>
                    <a:pt x="32" y="102"/>
                  </a:cubicBezTo>
                  <a:cubicBezTo>
                    <a:pt x="31" y="102"/>
                    <a:pt x="28" y="101"/>
                    <a:pt x="27" y="103"/>
                  </a:cubicBezTo>
                  <a:cubicBezTo>
                    <a:pt x="27" y="103"/>
                    <a:pt x="25" y="106"/>
                    <a:pt x="25" y="108"/>
                  </a:cubicBezTo>
                  <a:cubicBezTo>
                    <a:pt x="25" y="110"/>
                    <a:pt x="20" y="112"/>
                    <a:pt x="19" y="112"/>
                  </a:cubicBezTo>
                  <a:cubicBezTo>
                    <a:pt x="18" y="112"/>
                    <a:pt x="16" y="109"/>
                    <a:pt x="16" y="112"/>
                  </a:cubicBezTo>
                  <a:cubicBezTo>
                    <a:pt x="16" y="116"/>
                    <a:pt x="13" y="115"/>
                    <a:pt x="16" y="116"/>
                  </a:cubicBezTo>
                  <a:cubicBezTo>
                    <a:pt x="19" y="117"/>
                    <a:pt x="19" y="117"/>
                    <a:pt x="21" y="117"/>
                  </a:cubicBezTo>
                  <a:cubicBezTo>
                    <a:pt x="22" y="118"/>
                    <a:pt x="24" y="119"/>
                    <a:pt x="22" y="121"/>
                  </a:cubicBezTo>
                  <a:cubicBezTo>
                    <a:pt x="21" y="122"/>
                    <a:pt x="20" y="122"/>
                    <a:pt x="18" y="124"/>
                  </a:cubicBezTo>
                  <a:cubicBezTo>
                    <a:pt x="16" y="128"/>
                    <a:pt x="18" y="130"/>
                    <a:pt x="16" y="130"/>
                  </a:cubicBezTo>
                  <a:cubicBezTo>
                    <a:pt x="14" y="130"/>
                    <a:pt x="17" y="129"/>
                    <a:pt x="14" y="130"/>
                  </a:cubicBezTo>
                  <a:cubicBezTo>
                    <a:pt x="11" y="132"/>
                    <a:pt x="9" y="131"/>
                    <a:pt x="9" y="131"/>
                  </a:cubicBezTo>
                  <a:cubicBezTo>
                    <a:pt x="9" y="131"/>
                    <a:pt x="6" y="130"/>
                    <a:pt x="5" y="131"/>
                  </a:cubicBezTo>
                  <a:cubicBezTo>
                    <a:pt x="3" y="134"/>
                    <a:pt x="0" y="136"/>
                    <a:pt x="1" y="138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22" name="Freeform 181"/>
            <p:cNvSpPr>
              <a:spLocks/>
            </p:cNvSpPr>
            <p:nvPr/>
          </p:nvSpPr>
          <p:spPr bwMode="auto">
            <a:xfrm>
              <a:off x="4622" y="1652"/>
              <a:ext cx="24" cy="16"/>
            </a:xfrm>
            <a:custGeom>
              <a:avLst/>
              <a:gdLst>
                <a:gd name="T0" fmla="*/ 10 w 33"/>
                <a:gd name="T1" fmla="*/ 3 h 21"/>
                <a:gd name="T2" fmla="*/ 4 w 33"/>
                <a:gd name="T3" fmla="*/ 9 h 21"/>
                <a:gd name="T4" fmla="*/ 2 w 33"/>
                <a:gd name="T5" fmla="*/ 16 h 21"/>
                <a:gd name="T6" fmla="*/ 7 w 33"/>
                <a:gd name="T7" fmla="*/ 20 h 21"/>
                <a:gd name="T8" fmla="*/ 12 w 33"/>
                <a:gd name="T9" fmla="*/ 20 h 21"/>
                <a:gd name="T10" fmla="*/ 17 w 33"/>
                <a:gd name="T11" fmla="*/ 18 h 21"/>
                <a:gd name="T12" fmla="*/ 23 w 33"/>
                <a:gd name="T13" fmla="*/ 18 h 21"/>
                <a:gd name="T14" fmla="*/ 26 w 33"/>
                <a:gd name="T15" fmla="*/ 15 h 21"/>
                <a:gd name="T16" fmla="*/ 29 w 33"/>
                <a:gd name="T17" fmla="*/ 13 h 21"/>
                <a:gd name="T18" fmla="*/ 33 w 33"/>
                <a:gd name="T19" fmla="*/ 9 h 21"/>
                <a:gd name="T20" fmla="*/ 10 w 33"/>
                <a:gd name="T21" fmla="*/ 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21">
                  <a:moveTo>
                    <a:pt x="10" y="3"/>
                  </a:moveTo>
                  <a:cubicBezTo>
                    <a:pt x="9" y="3"/>
                    <a:pt x="5" y="7"/>
                    <a:pt x="4" y="9"/>
                  </a:cubicBezTo>
                  <a:cubicBezTo>
                    <a:pt x="4" y="11"/>
                    <a:pt x="0" y="13"/>
                    <a:pt x="2" y="16"/>
                  </a:cubicBezTo>
                  <a:cubicBezTo>
                    <a:pt x="4" y="18"/>
                    <a:pt x="6" y="20"/>
                    <a:pt x="7" y="20"/>
                  </a:cubicBezTo>
                  <a:cubicBezTo>
                    <a:pt x="8" y="20"/>
                    <a:pt x="9" y="21"/>
                    <a:pt x="12" y="20"/>
                  </a:cubicBezTo>
                  <a:cubicBezTo>
                    <a:pt x="15" y="19"/>
                    <a:pt x="17" y="17"/>
                    <a:pt x="17" y="18"/>
                  </a:cubicBezTo>
                  <a:cubicBezTo>
                    <a:pt x="18" y="19"/>
                    <a:pt x="22" y="20"/>
                    <a:pt x="23" y="18"/>
                  </a:cubicBezTo>
                  <a:cubicBezTo>
                    <a:pt x="24" y="16"/>
                    <a:pt x="25" y="17"/>
                    <a:pt x="26" y="15"/>
                  </a:cubicBezTo>
                  <a:cubicBezTo>
                    <a:pt x="27" y="14"/>
                    <a:pt x="28" y="14"/>
                    <a:pt x="29" y="13"/>
                  </a:cubicBezTo>
                  <a:cubicBezTo>
                    <a:pt x="32" y="11"/>
                    <a:pt x="33" y="11"/>
                    <a:pt x="33" y="9"/>
                  </a:cubicBezTo>
                  <a:cubicBezTo>
                    <a:pt x="33" y="7"/>
                    <a:pt x="18" y="0"/>
                    <a:pt x="10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23" name="Freeform 182"/>
            <p:cNvSpPr>
              <a:spLocks/>
            </p:cNvSpPr>
            <p:nvPr/>
          </p:nvSpPr>
          <p:spPr bwMode="auto">
            <a:xfrm>
              <a:off x="5073" y="1421"/>
              <a:ext cx="1" cy="1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24" name="Freeform 183"/>
            <p:cNvSpPr>
              <a:spLocks/>
            </p:cNvSpPr>
            <p:nvPr/>
          </p:nvSpPr>
          <p:spPr bwMode="auto">
            <a:xfrm>
              <a:off x="5057" y="1412"/>
              <a:ext cx="68" cy="39"/>
            </a:xfrm>
            <a:custGeom>
              <a:avLst/>
              <a:gdLst>
                <a:gd name="T0" fmla="*/ 5 w 91"/>
                <a:gd name="T1" fmla="*/ 47 h 52"/>
                <a:gd name="T2" fmla="*/ 13 w 91"/>
                <a:gd name="T3" fmla="*/ 48 h 52"/>
                <a:gd name="T4" fmla="*/ 16 w 91"/>
                <a:gd name="T5" fmla="*/ 51 h 52"/>
                <a:gd name="T6" fmla="*/ 25 w 91"/>
                <a:gd name="T7" fmla="*/ 51 h 52"/>
                <a:gd name="T8" fmla="*/ 28 w 91"/>
                <a:gd name="T9" fmla="*/ 48 h 52"/>
                <a:gd name="T10" fmla="*/ 33 w 91"/>
                <a:gd name="T11" fmla="*/ 44 h 52"/>
                <a:gd name="T12" fmla="*/ 38 w 91"/>
                <a:gd name="T13" fmla="*/ 40 h 52"/>
                <a:gd name="T14" fmla="*/ 48 w 91"/>
                <a:gd name="T15" fmla="*/ 36 h 52"/>
                <a:gd name="T16" fmla="*/ 57 w 91"/>
                <a:gd name="T17" fmla="*/ 35 h 52"/>
                <a:gd name="T18" fmla="*/ 68 w 91"/>
                <a:gd name="T19" fmla="*/ 34 h 52"/>
                <a:gd name="T20" fmla="*/ 77 w 91"/>
                <a:gd name="T21" fmla="*/ 34 h 52"/>
                <a:gd name="T22" fmla="*/ 83 w 91"/>
                <a:gd name="T23" fmla="*/ 32 h 52"/>
                <a:gd name="T24" fmla="*/ 82 w 91"/>
                <a:gd name="T25" fmla="*/ 27 h 52"/>
                <a:gd name="T26" fmla="*/ 82 w 91"/>
                <a:gd name="T27" fmla="*/ 20 h 52"/>
                <a:gd name="T28" fmla="*/ 87 w 91"/>
                <a:gd name="T29" fmla="*/ 20 h 52"/>
                <a:gd name="T30" fmla="*/ 88 w 91"/>
                <a:gd name="T31" fmla="*/ 16 h 52"/>
                <a:gd name="T32" fmla="*/ 81 w 91"/>
                <a:gd name="T33" fmla="*/ 13 h 52"/>
                <a:gd name="T34" fmla="*/ 73 w 91"/>
                <a:gd name="T35" fmla="*/ 8 h 52"/>
                <a:gd name="T36" fmla="*/ 66 w 91"/>
                <a:gd name="T37" fmla="*/ 3 h 52"/>
                <a:gd name="T38" fmla="*/ 61 w 91"/>
                <a:gd name="T39" fmla="*/ 0 h 52"/>
                <a:gd name="T40" fmla="*/ 55 w 91"/>
                <a:gd name="T41" fmla="*/ 1 h 52"/>
                <a:gd name="T42" fmla="*/ 50 w 91"/>
                <a:gd name="T43" fmla="*/ 5 h 52"/>
                <a:gd name="T44" fmla="*/ 43 w 91"/>
                <a:gd name="T45" fmla="*/ 9 h 52"/>
                <a:gd name="T46" fmla="*/ 28 w 91"/>
                <a:gd name="T47" fmla="*/ 10 h 52"/>
                <a:gd name="T48" fmla="*/ 20 w 91"/>
                <a:gd name="T49" fmla="*/ 17 h 52"/>
                <a:gd name="T50" fmla="*/ 18 w 91"/>
                <a:gd name="T51" fmla="*/ 24 h 52"/>
                <a:gd name="T52" fmla="*/ 9 w 91"/>
                <a:gd name="T53" fmla="*/ 26 h 52"/>
                <a:gd name="T54" fmla="*/ 13 w 91"/>
                <a:gd name="T55" fmla="*/ 30 h 52"/>
                <a:gd name="T56" fmla="*/ 17 w 91"/>
                <a:gd name="T57" fmla="*/ 35 h 52"/>
                <a:gd name="T58" fmla="*/ 20 w 91"/>
                <a:gd name="T59" fmla="*/ 39 h 52"/>
                <a:gd name="T60" fmla="*/ 10 w 91"/>
                <a:gd name="T61" fmla="*/ 40 h 52"/>
                <a:gd name="T62" fmla="*/ 1 w 91"/>
                <a:gd name="T63" fmla="*/ 4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1" h="52">
                  <a:moveTo>
                    <a:pt x="2" y="45"/>
                  </a:moveTo>
                  <a:cubicBezTo>
                    <a:pt x="2" y="45"/>
                    <a:pt x="3" y="47"/>
                    <a:pt x="5" y="47"/>
                  </a:cubicBezTo>
                  <a:cubicBezTo>
                    <a:pt x="6" y="46"/>
                    <a:pt x="8" y="47"/>
                    <a:pt x="8" y="47"/>
                  </a:cubicBezTo>
                  <a:cubicBezTo>
                    <a:pt x="8" y="47"/>
                    <a:pt x="10" y="47"/>
                    <a:pt x="13" y="48"/>
                  </a:cubicBezTo>
                  <a:cubicBezTo>
                    <a:pt x="15" y="49"/>
                    <a:pt x="13" y="49"/>
                    <a:pt x="13" y="50"/>
                  </a:cubicBezTo>
                  <a:cubicBezTo>
                    <a:pt x="14" y="52"/>
                    <a:pt x="15" y="51"/>
                    <a:pt x="16" y="51"/>
                  </a:cubicBezTo>
                  <a:cubicBezTo>
                    <a:pt x="17" y="51"/>
                    <a:pt x="18" y="52"/>
                    <a:pt x="21" y="51"/>
                  </a:cubicBezTo>
                  <a:cubicBezTo>
                    <a:pt x="23" y="51"/>
                    <a:pt x="23" y="52"/>
                    <a:pt x="25" y="51"/>
                  </a:cubicBezTo>
                  <a:cubicBezTo>
                    <a:pt x="27" y="50"/>
                    <a:pt x="25" y="51"/>
                    <a:pt x="27" y="49"/>
                  </a:cubicBezTo>
                  <a:cubicBezTo>
                    <a:pt x="29" y="47"/>
                    <a:pt x="27" y="49"/>
                    <a:pt x="28" y="48"/>
                  </a:cubicBezTo>
                  <a:cubicBezTo>
                    <a:pt x="30" y="47"/>
                    <a:pt x="30" y="47"/>
                    <a:pt x="31" y="46"/>
                  </a:cubicBezTo>
                  <a:cubicBezTo>
                    <a:pt x="32" y="45"/>
                    <a:pt x="33" y="46"/>
                    <a:pt x="33" y="44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4" y="42"/>
                    <a:pt x="37" y="41"/>
                    <a:pt x="38" y="40"/>
                  </a:cubicBezTo>
                  <a:cubicBezTo>
                    <a:pt x="40" y="39"/>
                    <a:pt x="41" y="40"/>
                    <a:pt x="41" y="40"/>
                  </a:cubicBezTo>
                  <a:cubicBezTo>
                    <a:pt x="41" y="40"/>
                    <a:pt x="44" y="39"/>
                    <a:pt x="48" y="36"/>
                  </a:cubicBezTo>
                  <a:cubicBezTo>
                    <a:pt x="49" y="36"/>
                    <a:pt x="52" y="36"/>
                    <a:pt x="53" y="35"/>
                  </a:cubicBezTo>
                  <a:cubicBezTo>
                    <a:pt x="55" y="34"/>
                    <a:pt x="56" y="35"/>
                    <a:pt x="57" y="35"/>
                  </a:cubicBezTo>
                  <a:cubicBezTo>
                    <a:pt x="59" y="34"/>
                    <a:pt x="60" y="35"/>
                    <a:pt x="61" y="35"/>
                  </a:cubicBezTo>
                  <a:cubicBezTo>
                    <a:pt x="62" y="34"/>
                    <a:pt x="66" y="34"/>
                    <a:pt x="68" y="34"/>
                  </a:cubicBezTo>
                  <a:cubicBezTo>
                    <a:pt x="70" y="34"/>
                    <a:pt x="70" y="34"/>
                    <a:pt x="71" y="34"/>
                  </a:cubicBezTo>
                  <a:cubicBezTo>
                    <a:pt x="72" y="34"/>
                    <a:pt x="76" y="34"/>
                    <a:pt x="77" y="34"/>
                  </a:cubicBezTo>
                  <a:cubicBezTo>
                    <a:pt x="78" y="34"/>
                    <a:pt x="80" y="34"/>
                    <a:pt x="80" y="34"/>
                  </a:cubicBezTo>
                  <a:cubicBezTo>
                    <a:pt x="80" y="34"/>
                    <a:pt x="82" y="32"/>
                    <a:pt x="83" y="32"/>
                  </a:cubicBezTo>
                  <a:cubicBezTo>
                    <a:pt x="85" y="31"/>
                    <a:pt x="84" y="31"/>
                    <a:pt x="83" y="29"/>
                  </a:cubicBezTo>
                  <a:cubicBezTo>
                    <a:pt x="83" y="28"/>
                    <a:pt x="83" y="28"/>
                    <a:pt x="82" y="27"/>
                  </a:cubicBezTo>
                  <a:cubicBezTo>
                    <a:pt x="82" y="26"/>
                    <a:pt x="82" y="25"/>
                    <a:pt x="80" y="23"/>
                  </a:cubicBezTo>
                  <a:cubicBezTo>
                    <a:pt x="78" y="20"/>
                    <a:pt x="80" y="23"/>
                    <a:pt x="82" y="20"/>
                  </a:cubicBezTo>
                  <a:cubicBezTo>
                    <a:pt x="83" y="18"/>
                    <a:pt x="82" y="20"/>
                    <a:pt x="84" y="20"/>
                  </a:cubicBezTo>
                  <a:cubicBezTo>
                    <a:pt x="86" y="20"/>
                    <a:pt x="85" y="20"/>
                    <a:pt x="87" y="20"/>
                  </a:cubicBezTo>
                  <a:cubicBezTo>
                    <a:pt x="90" y="21"/>
                    <a:pt x="90" y="21"/>
                    <a:pt x="90" y="20"/>
                  </a:cubicBezTo>
                  <a:cubicBezTo>
                    <a:pt x="91" y="19"/>
                    <a:pt x="91" y="19"/>
                    <a:pt x="88" y="16"/>
                  </a:cubicBezTo>
                  <a:cubicBezTo>
                    <a:pt x="87" y="15"/>
                    <a:pt x="86" y="16"/>
                    <a:pt x="85" y="15"/>
                  </a:cubicBezTo>
                  <a:cubicBezTo>
                    <a:pt x="83" y="14"/>
                    <a:pt x="82" y="14"/>
                    <a:pt x="81" y="13"/>
                  </a:cubicBezTo>
                  <a:cubicBezTo>
                    <a:pt x="80" y="12"/>
                    <a:pt x="77" y="13"/>
                    <a:pt x="75" y="10"/>
                  </a:cubicBezTo>
                  <a:cubicBezTo>
                    <a:pt x="74" y="9"/>
                    <a:pt x="73" y="8"/>
                    <a:pt x="73" y="8"/>
                  </a:cubicBezTo>
                  <a:cubicBezTo>
                    <a:pt x="72" y="7"/>
                    <a:pt x="70" y="6"/>
                    <a:pt x="69" y="5"/>
                  </a:cubicBezTo>
                  <a:cubicBezTo>
                    <a:pt x="68" y="4"/>
                    <a:pt x="67" y="4"/>
                    <a:pt x="66" y="3"/>
                  </a:cubicBezTo>
                  <a:cubicBezTo>
                    <a:pt x="66" y="3"/>
                    <a:pt x="65" y="2"/>
                    <a:pt x="64" y="1"/>
                  </a:cubicBezTo>
                  <a:cubicBezTo>
                    <a:pt x="62" y="0"/>
                    <a:pt x="61" y="0"/>
                    <a:pt x="61" y="0"/>
                  </a:cubicBezTo>
                  <a:cubicBezTo>
                    <a:pt x="58" y="1"/>
                    <a:pt x="58" y="1"/>
                    <a:pt x="58" y="1"/>
                  </a:cubicBezTo>
                  <a:cubicBezTo>
                    <a:pt x="58" y="1"/>
                    <a:pt x="57" y="1"/>
                    <a:pt x="55" y="1"/>
                  </a:cubicBezTo>
                  <a:cubicBezTo>
                    <a:pt x="54" y="2"/>
                    <a:pt x="53" y="2"/>
                    <a:pt x="51" y="3"/>
                  </a:cubicBezTo>
                  <a:cubicBezTo>
                    <a:pt x="49" y="4"/>
                    <a:pt x="50" y="5"/>
                    <a:pt x="50" y="5"/>
                  </a:cubicBezTo>
                  <a:cubicBezTo>
                    <a:pt x="50" y="6"/>
                    <a:pt x="48" y="6"/>
                    <a:pt x="47" y="7"/>
                  </a:cubicBezTo>
                  <a:cubicBezTo>
                    <a:pt x="47" y="8"/>
                    <a:pt x="45" y="9"/>
                    <a:pt x="43" y="9"/>
                  </a:cubicBezTo>
                  <a:cubicBezTo>
                    <a:pt x="42" y="9"/>
                    <a:pt x="37" y="7"/>
                    <a:pt x="37" y="7"/>
                  </a:cubicBezTo>
                  <a:cubicBezTo>
                    <a:pt x="34" y="8"/>
                    <a:pt x="28" y="10"/>
                    <a:pt x="28" y="10"/>
                  </a:cubicBezTo>
                  <a:cubicBezTo>
                    <a:pt x="27" y="11"/>
                    <a:pt x="22" y="13"/>
                    <a:pt x="22" y="13"/>
                  </a:cubicBezTo>
                  <a:cubicBezTo>
                    <a:pt x="20" y="16"/>
                    <a:pt x="22" y="13"/>
                    <a:pt x="20" y="17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8" y="24"/>
                    <a:pt x="15" y="24"/>
                    <a:pt x="13" y="24"/>
                  </a:cubicBezTo>
                  <a:cubicBezTo>
                    <a:pt x="12" y="25"/>
                    <a:pt x="10" y="25"/>
                    <a:pt x="9" y="26"/>
                  </a:cubicBezTo>
                  <a:cubicBezTo>
                    <a:pt x="8" y="26"/>
                    <a:pt x="9" y="28"/>
                    <a:pt x="9" y="30"/>
                  </a:cubicBezTo>
                  <a:cubicBezTo>
                    <a:pt x="9" y="31"/>
                    <a:pt x="11" y="31"/>
                    <a:pt x="13" y="30"/>
                  </a:cubicBezTo>
                  <a:cubicBezTo>
                    <a:pt x="16" y="28"/>
                    <a:pt x="18" y="30"/>
                    <a:pt x="19" y="29"/>
                  </a:cubicBezTo>
                  <a:cubicBezTo>
                    <a:pt x="20" y="29"/>
                    <a:pt x="19" y="31"/>
                    <a:pt x="17" y="35"/>
                  </a:cubicBezTo>
                  <a:cubicBezTo>
                    <a:pt x="17" y="35"/>
                    <a:pt x="20" y="37"/>
                    <a:pt x="22" y="37"/>
                  </a:cubicBezTo>
                  <a:cubicBezTo>
                    <a:pt x="23" y="37"/>
                    <a:pt x="23" y="39"/>
                    <a:pt x="20" y="39"/>
                  </a:cubicBezTo>
                  <a:cubicBezTo>
                    <a:pt x="19" y="39"/>
                    <a:pt x="16" y="40"/>
                    <a:pt x="15" y="40"/>
                  </a:cubicBezTo>
                  <a:cubicBezTo>
                    <a:pt x="13" y="40"/>
                    <a:pt x="12" y="41"/>
                    <a:pt x="10" y="40"/>
                  </a:cubicBezTo>
                  <a:cubicBezTo>
                    <a:pt x="9" y="40"/>
                    <a:pt x="4" y="40"/>
                    <a:pt x="3" y="39"/>
                  </a:cubicBezTo>
                  <a:cubicBezTo>
                    <a:pt x="1" y="39"/>
                    <a:pt x="0" y="40"/>
                    <a:pt x="1" y="41"/>
                  </a:cubicBezTo>
                  <a:cubicBezTo>
                    <a:pt x="3" y="43"/>
                    <a:pt x="2" y="45"/>
                    <a:pt x="2" y="4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25" name="Line 184"/>
            <p:cNvSpPr>
              <a:spLocks noChangeShapeType="1"/>
            </p:cNvSpPr>
            <p:nvPr/>
          </p:nvSpPr>
          <p:spPr bwMode="auto">
            <a:xfrm>
              <a:off x="5091" y="1443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26" name="Line 185"/>
            <p:cNvSpPr>
              <a:spLocks noChangeShapeType="1"/>
            </p:cNvSpPr>
            <p:nvPr/>
          </p:nvSpPr>
          <p:spPr bwMode="auto">
            <a:xfrm>
              <a:off x="5091" y="1443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27" name="Line 186"/>
            <p:cNvSpPr>
              <a:spLocks noChangeShapeType="1"/>
            </p:cNvSpPr>
            <p:nvPr/>
          </p:nvSpPr>
          <p:spPr bwMode="auto">
            <a:xfrm>
              <a:off x="5133" y="1442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28" name="Line 187"/>
            <p:cNvSpPr>
              <a:spLocks noChangeShapeType="1"/>
            </p:cNvSpPr>
            <p:nvPr/>
          </p:nvSpPr>
          <p:spPr bwMode="auto">
            <a:xfrm>
              <a:off x="5133" y="1442"/>
              <a:ext cx="0" cy="0"/>
            </a:xfrm>
            <a:prstGeom prst="line">
              <a:avLst/>
            </a:pr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29" name="Freeform 188"/>
            <p:cNvSpPr>
              <a:spLocks/>
            </p:cNvSpPr>
            <p:nvPr/>
          </p:nvSpPr>
          <p:spPr bwMode="auto">
            <a:xfrm>
              <a:off x="5075" y="1438"/>
              <a:ext cx="71" cy="32"/>
            </a:xfrm>
            <a:custGeom>
              <a:avLst/>
              <a:gdLst>
                <a:gd name="T0" fmla="*/ 59 w 96"/>
                <a:gd name="T1" fmla="*/ 1 h 43"/>
                <a:gd name="T2" fmla="*/ 49 w 96"/>
                <a:gd name="T3" fmla="*/ 3 h 43"/>
                <a:gd name="T4" fmla="*/ 41 w 96"/>
                <a:gd name="T5" fmla="*/ 3 h 43"/>
                <a:gd name="T6" fmla="*/ 34 w 96"/>
                <a:gd name="T7" fmla="*/ 3 h 43"/>
                <a:gd name="T8" fmla="*/ 27 w 96"/>
                <a:gd name="T9" fmla="*/ 5 h 43"/>
                <a:gd name="T10" fmla="*/ 22 w 96"/>
                <a:gd name="T11" fmla="*/ 7 h 43"/>
                <a:gd name="T12" fmla="*/ 17 w 96"/>
                <a:gd name="T13" fmla="*/ 11 h 43"/>
                <a:gd name="T14" fmla="*/ 17 w 96"/>
                <a:gd name="T15" fmla="*/ 11 h 43"/>
                <a:gd name="T16" fmla="*/ 17 w 96"/>
                <a:gd name="T17" fmla="*/ 11 h 43"/>
                <a:gd name="T18" fmla="*/ 16 w 96"/>
                <a:gd name="T19" fmla="*/ 11 h 43"/>
                <a:gd name="T20" fmla="*/ 15 w 96"/>
                <a:gd name="T21" fmla="*/ 12 h 43"/>
                <a:gd name="T22" fmla="*/ 11 w 96"/>
                <a:gd name="T23" fmla="*/ 15 h 43"/>
                <a:gd name="T24" fmla="*/ 10 w 96"/>
                <a:gd name="T25" fmla="*/ 18 h 43"/>
                <a:gd name="T26" fmla="*/ 5 w 96"/>
                <a:gd name="T27" fmla="*/ 19 h 43"/>
                <a:gd name="T28" fmla="*/ 3 w 96"/>
                <a:gd name="T29" fmla="*/ 22 h 43"/>
                <a:gd name="T30" fmla="*/ 7 w 96"/>
                <a:gd name="T31" fmla="*/ 24 h 43"/>
                <a:gd name="T32" fmla="*/ 12 w 96"/>
                <a:gd name="T33" fmla="*/ 23 h 43"/>
                <a:gd name="T34" fmla="*/ 19 w 96"/>
                <a:gd name="T35" fmla="*/ 27 h 43"/>
                <a:gd name="T36" fmla="*/ 23 w 96"/>
                <a:gd name="T37" fmla="*/ 32 h 43"/>
                <a:gd name="T38" fmla="*/ 29 w 96"/>
                <a:gd name="T39" fmla="*/ 35 h 43"/>
                <a:gd name="T40" fmla="*/ 35 w 96"/>
                <a:gd name="T41" fmla="*/ 35 h 43"/>
                <a:gd name="T42" fmla="*/ 40 w 96"/>
                <a:gd name="T43" fmla="*/ 37 h 43"/>
                <a:gd name="T44" fmla="*/ 48 w 96"/>
                <a:gd name="T45" fmla="*/ 36 h 43"/>
                <a:gd name="T46" fmla="*/ 54 w 96"/>
                <a:gd name="T47" fmla="*/ 39 h 43"/>
                <a:gd name="T48" fmla="*/ 59 w 96"/>
                <a:gd name="T49" fmla="*/ 41 h 43"/>
                <a:gd name="T50" fmla="*/ 68 w 96"/>
                <a:gd name="T51" fmla="*/ 43 h 43"/>
                <a:gd name="T52" fmla="*/ 86 w 96"/>
                <a:gd name="T53" fmla="*/ 41 h 43"/>
                <a:gd name="T54" fmla="*/ 92 w 96"/>
                <a:gd name="T55" fmla="*/ 39 h 43"/>
                <a:gd name="T56" fmla="*/ 91 w 96"/>
                <a:gd name="T57" fmla="*/ 33 h 43"/>
                <a:gd name="T58" fmla="*/ 87 w 96"/>
                <a:gd name="T59" fmla="*/ 29 h 43"/>
                <a:gd name="T60" fmla="*/ 90 w 96"/>
                <a:gd name="T61" fmla="*/ 26 h 43"/>
                <a:gd name="T62" fmla="*/ 91 w 96"/>
                <a:gd name="T63" fmla="*/ 19 h 43"/>
                <a:gd name="T64" fmla="*/ 95 w 96"/>
                <a:gd name="T65" fmla="*/ 11 h 43"/>
                <a:gd name="T66" fmla="*/ 90 w 96"/>
                <a:gd name="T67" fmla="*/ 6 h 43"/>
                <a:gd name="T68" fmla="*/ 80 w 96"/>
                <a:gd name="T69" fmla="*/ 4 h 43"/>
                <a:gd name="T70" fmla="*/ 73 w 96"/>
                <a:gd name="T71" fmla="*/ 10 h 43"/>
                <a:gd name="T72" fmla="*/ 66 w 96"/>
                <a:gd name="T73" fmla="*/ 11 h 43"/>
                <a:gd name="T74" fmla="*/ 66 w 96"/>
                <a:gd name="T75" fmla="*/ 8 h 43"/>
                <a:gd name="T76" fmla="*/ 65 w 96"/>
                <a:gd name="T77" fmla="*/ 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43">
                  <a:moveTo>
                    <a:pt x="65" y="2"/>
                  </a:moveTo>
                  <a:cubicBezTo>
                    <a:pt x="61" y="0"/>
                    <a:pt x="61" y="0"/>
                    <a:pt x="59" y="1"/>
                  </a:cubicBezTo>
                  <a:cubicBezTo>
                    <a:pt x="58" y="1"/>
                    <a:pt x="54" y="2"/>
                    <a:pt x="53" y="3"/>
                  </a:cubicBezTo>
                  <a:cubicBezTo>
                    <a:pt x="52" y="4"/>
                    <a:pt x="50" y="3"/>
                    <a:pt x="49" y="3"/>
                  </a:cubicBezTo>
                  <a:cubicBezTo>
                    <a:pt x="48" y="3"/>
                    <a:pt x="46" y="2"/>
                    <a:pt x="45" y="3"/>
                  </a:cubicBezTo>
                  <a:cubicBezTo>
                    <a:pt x="44" y="3"/>
                    <a:pt x="43" y="2"/>
                    <a:pt x="41" y="3"/>
                  </a:cubicBezTo>
                  <a:cubicBezTo>
                    <a:pt x="40" y="3"/>
                    <a:pt x="39" y="2"/>
                    <a:pt x="37" y="3"/>
                  </a:cubicBezTo>
                  <a:cubicBezTo>
                    <a:pt x="35" y="3"/>
                    <a:pt x="36" y="1"/>
                    <a:pt x="34" y="3"/>
                  </a:cubicBezTo>
                  <a:cubicBezTo>
                    <a:pt x="31" y="5"/>
                    <a:pt x="31" y="5"/>
                    <a:pt x="30" y="6"/>
                  </a:cubicBezTo>
                  <a:cubicBezTo>
                    <a:pt x="29" y="6"/>
                    <a:pt x="29" y="5"/>
                    <a:pt x="27" y="5"/>
                  </a:cubicBezTo>
                  <a:cubicBezTo>
                    <a:pt x="24" y="6"/>
                    <a:pt x="27" y="5"/>
                    <a:pt x="24" y="6"/>
                  </a:cubicBezTo>
                  <a:cubicBezTo>
                    <a:pt x="22" y="7"/>
                    <a:pt x="24" y="6"/>
                    <a:pt x="22" y="7"/>
                  </a:cubicBezTo>
                  <a:cubicBezTo>
                    <a:pt x="21" y="10"/>
                    <a:pt x="21" y="11"/>
                    <a:pt x="21" y="11"/>
                  </a:cubicBezTo>
                  <a:cubicBezTo>
                    <a:pt x="21" y="11"/>
                    <a:pt x="19" y="10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5" y="12"/>
                  </a:cubicBezTo>
                  <a:cubicBezTo>
                    <a:pt x="13" y="13"/>
                    <a:pt x="14" y="13"/>
                    <a:pt x="13" y="14"/>
                  </a:cubicBezTo>
                  <a:cubicBezTo>
                    <a:pt x="12" y="16"/>
                    <a:pt x="11" y="13"/>
                    <a:pt x="11" y="15"/>
                  </a:cubicBezTo>
                  <a:cubicBezTo>
                    <a:pt x="10" y="17"/>
                    <a:pt x="10" y="16"/>
                    <a:pt x="10" y="17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0" y="18"/>
                    <a:pt x="8" y="19"/>
                    <a:pt x="7" y="19"/>
                  </a:cubicBezTo>
                  <a:cubicBezTo>
                    <a:pt x="7" y="19"/>
                    <a:pt x="6" y="19"/>
                    <a:pt x="5" y="19"/>
                  </a:cubicBezTo>
                  <a:cubicBezTo>
                    <a:pt x="3" y="19"/>
                    <a:pt x="0" y="18"/>
                    <a:pt x="1" y="19"/>
                  </a:cubicBezTo>
                  <a:cubicBezTo>
                    <a:pt x="2" y="21"/>
                    <a:pt x="4" y="21"/>
                    <a:pt x="3" y="22"/>
                  </a:cubicBezTo>
                  <a:cubicBezTo>
                    <a:pt x="3" y="23"/>
                    <a:pt x="4" y="24"/>
                    <a:pt x="4" y="24"/>
                  </a:cubicBezTo>
                  <a:cubicBezTo>
                    <a:pt x="4" y="24"/>
                    <a:pt x="6" y="24"/>
                    <a:pt x="7" y="24"/>
                  </a:cubicBezTo>
                  <a:cubicBezTo>
                    <a:pt x="8" y="24"/>
                    <a:pt x="9" y="22"/>
                    <a:pt x="10" y="23"/>
                  </a:cubicBezTo>
                  <a:cubicBezTo>
                    <a:pt x="11" y="23"/>
                    <a:pt x="11" y="23"/>
                    <a:pt x="12" y="23"/>
                  </a:cubicBezTo>
                  <a:cubicBezTo>
                    <a:pt x="13" y="23"/>
                    <a:pt x="15" y="22"/>
                    <a:pt x="16" y="23"/>
                  </a:cubicBezTo>
                  <a:cubicBezTo>
                    <a:pt x="18" y="26"/>
                    <a:pt x="19" y="26"/>
                    <a:pt x="19" y="27"/>
                  </a:cubicBezTo>
                  <a:cubicBezTo>
                    <a:pt x="19" y="29"/>
                    <a:pt x="20" y="30"/>
                    <a:pt x="21" y="30"/>
                  </a:cubicBezTo>
                  <a:cubicBezTo>
                    <a:pt x="21" y="31"/>
                    <a:pt x="23" y="32"/>
                    <a:pt x="23" y="32"/>
                  </a:cubicBezTo>
                  <a:cubicBezTo>
                    <a:pt x="25" y="33"/>
                    <a:pt x="25" y="33"/>
                    <a:pt x="25" y="33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31" y="34"/>
                    <a:pt x="31" y="35"/>
                  </a:cubicBezTo>
                  <a:cubicBezTo>
                    <a:pt x="32" y="36"/>
                    <a:pt x="34" y="35"/>
                    <a:pt x="35" y="35"/>
                  </a:cubicBezTo>
                  <a:cubicBezTo>
                    <a:pt x="36" y="35"/>
                    <a:pt x="37" y="35"/>
                    <a:pt x="37" y="36"/>
                  </a:cubicBezTo>
                  <a:cubicBezTo>
                    <a:pt x="38" y="37"/>
                    <a:pt x="40" y="37"/>
                    <a:pt x="40" y="37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8" y="35"/>
                    <a:pt x="48" y="36"/>
                  </a:cubicBezTo>
                  <a:cubicBezTo>
                    <a:pt x="48" y="37"/>
                    <a:pt x="50" y="37"/>
                    <a:pt x="51" y="37"/>
                  </a:cubicBezTo>
                  <a:cubicBezTo>
                    <a:pt x="52" y="38"/>
                    <a:pt x="54" y="39"/>
                    <a:pt x="54" y="39"/>
                  </a:cubicBezTo>
                  <a:cubicBezTo>
                    <a:pt x="54" y="39"/>
                    <a:pt x="57" y="40"/>
                    <a:pt x="56" y="40"/>
                  </a:cubicBezTo>
                  <a:cubicBezTo>
                    <a:pt x="56" y="41"/>
                    <a:pt x="58" y="41"/>
                    <a:pt x="59" y="41"/>
                  </a:cubicBezTo>
                  <a:cubicBezTo>
                    <a:pt x="59" y="42"/>
                    <a:pt x="62" y="42"/>
                    <a:pt x="62" y="42"/>
                  </a:cubicBezTo>
                  <a:cubicBezTo>
                    <a:pt x="64" y="43"/>
                    <a:pt x="67" y="42"/>
                    <a:pt x="68" y="43"/>
                  </a:cubicBezTo>
                  <a:cubicBezTo>
                    <a:pt x="69" y="43"/>
                    <a:pt x="76" y="42"/>
                    <a:pt x="79" y="42"/>
                  </a:cubicBezTo>
                  <a:cubicBezTo>
                    <a:pt x="83" y="42"/>
                    <a:pt x="84" y="42"/>
                    <a:pt x="86" y="41"/>
                  </a:cubicBezTo>
                  <a:cubicBezTo>
                    <a:pt x="87" y="41"/>
                    <a:pt x="90" y="41"/>
                    <a:pt x="90" y="41"/>
                  </a:cubicBezTo>
                  <a:cubicBezTo>
                    <a:pt x="90" y="41"/>
                    <a:pt x="91" y="40"/>
                    <a:pt x="92" y="39"/>
                  </a:cubicBezTo>
                  <a:cubicBezTo>
                    <a:pt x="93" y="39"/>
                    <a:pt x="93" y="37"/>
                    <a:pt x="93" y="37"/>
                  </a:cubicBezTo>
                  <a:cubicBezTo>
                    <a:pt x="92" y="35"/>
                    <a:pt x="91" y="35"/>
                    <a:pt x="91" y="33"/>
                  </a:cubicBezTo>
                  <a:cubicBezTo>
                    <a:pt x="91" y="32"/>
                    <a:pt x="91" y="31"/>
                    <a:pt x="90" y="30"/>
                  </a:cubicBezTo>
                  <a:cubicBezTo>
                    <a:pt x="89" y="30"/>
                    <a:pt x="87" y="29"/>
                    <a:pt x="87" y="29"/>
                  </a:cubicBezTo>
                  <a:cubicBezTo>
                    <a:pt x="87" y="29"/>
                    <a:pt x="89" y="28"/>
                    <a:pt x="89" y="28"/>
                  </a:cubicBezTo>
                  <a:cubicBezTo>
                    <a:pt x="90" y="27"/>
                    <a:pt x="90" y="27"/>
                    <a:pt x="90" y="26"/>
                  </a:cubicBezTo>
                  <a:cubicBezTo>
                    <a:pt x="91" y="25"/>
                    <a:pt x="91" y="24"/>
                    <a:pt x="91" y="24"/>
                  </a:cubicBezTo>
                  <a:cubicBezTo>
                    <a:pt x="91" y="23"/>
                    <a:pt x="90" y="22"/>
                    <a:pt x="91" y="19"/>
                  </a:cubicBezTo>
                  <a:cubicBezTo>
                    <a:pt x="92" y="17"/>
                    <a:pt x="93" y="19"/>
                    <a:pt x="94" y="17"/>
                  </a:cubicBezTo>
                  <a:cubicBezTo>
                    <a:pt x="96" y="14"/>
                    <a:pt x="95" y="13"/>
                    <a:pt x="95" y="11"/>
                  </a:cubicBezTo>
                  <a:cubicBezTo>
                    <a:pt x="95" y="10"/>
                    <a:pt x="96" y="11"/>
                    <a:pt x="94" y="9"/>
                  </a:cubicBezTo>
                  <a:cubicBezTo>
                    <a:pt x="92" y="8"/>
                    <a:pt x="94" y="8"/>
                    <a:pt x="90" y="6"/>
                  </a:cubicBezTo>
                  <a:cubicBezTo>
                    <a:pt x="86" y="5"/>
                    <a:pt x="89" y="5"/>
                    <a:pt x="86" y="5"/>
                  </a:cubicBezTo>
                  <a:cubicBezTo>
                    <a:pt x="83" y="4"/>
                    <a:pt x="82" y="3"/>
                    <a:pt x="80" y="4"/>
                  </a:cubicBezTo>
                  <a:cubicBezTo>
                    <a:pt x="78" y="5"/>
                    <a:pt x="80" y="4"/>
                    <a:pt x="78" y="5"/>
                  </a:cubicBezTo>
                  <a:cubicBezTo>
                    <a:pt x="74" y="9"/>
                    <a:pt x="73" y="10"/>
                    <a:pt x="73" y="10"/>
                  </a:cubicBezTo>
                  <a:cubicBezTo>
                    <a:pt x="69" y="11"/>
                    <a:pt x="71" y="11"/>
                    <a:pt x="69" y="11"/>
                  </a:cubicBezTo>
                  <a:cubicBezTo>
                    <a:pt x="68" y="10"/>
                    <a:pt x="69" y="9"/>
                    <a:pt x="66" y="11"/>
                  </a:cubicBezTo>
                  <a:cubicBezTo>
                    <a:pt x="63" y="12"/>
                    <a:pt x="62" y="13"/>
                    <a:pt x="63" y="12"/>
                  </a:cubicBezTo>
                  <a:cubicBezTo>
                    <a:pt x="64" y="11"/>
                    <a:pt x="64" y="10"/>
                    <a:pt x="66" y="8"/>
                  </a:cubicBezTo>
                  <a:cubicBezTo>
                    <a:pt x="67" y="6"/>
                    <a:pt x="68" y="9"/>
                    <a:pt x="67" y="6"/>
                  </a:cubicBezTo>
                  <a:cubicBezTo>
                    <a:pt x="67" y="4"/>
                    <a:pt x="66" y="3"/>
                    <a:pt x="65" y="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30" name="Freeform 189"/>
            <p:cNvSpPr>
              <a:spLocks/>
            </p:cNvSpPr>
            <p:nvPr/>
          </p:nvSpPr>
          <p:spPr bwMode="auto">
            <a:xfrm>
              <a:off x="5140" y="1454"/>
              <a:ext cx="62" cy="35"/>
            </a:xfrm>
            <a:custGeom>
              <a:avLst/>
              <a:gdLst>
                <a:gd name="T0" fmla="*/ 4 w 83"/>
                <a:gd name="T1" fmla="*/ 36 h 46"/>
                <a:gd name="T2" fmla="*/ 1 w 83"/>
                <a:gd name="T3" fmla="*/ 40 h 46"/>
                <a:gd name="T4" fmla="*/ 0 w 83"/>
                <a:gd name="T5" fmla="*/ 44 h 46"/>
                <a:gd name="T6" fmla="*/ 4 w 83"/>
                <a:gd name="T7" fmla="*/ 45 h 46"/>
                <a:gd name="T8" fmla="*/ 6 w 83"/>
                <a:gd name="T9" fmla="*/ 45 h 46"/>
                <a:gd name="T10" fmla="*/ 9 w 83"/>
                <a:gd name="T11" fmla="*/ 45 h 46"/>
                <a:gd name="T12" fmla="*/ 15 w 83"/>
                <a:gd name="T13" fmla="*/ 42 h 46"/>
                <a:gd name="T14" fmla="*/ 17 w 83"/>
                <a:gd name="T15" fmla="*/ 42 h 46"/>
                <a:gd name="T16" fmla="*/ 19 w 83"/>
                <a:gd name="T17" fmla="*/ 41 h 46"/>
                <a:gd name="T18" fmla="*/ 22 w 83"/>
                <a:gd name="T19" fmla="*/ 39 h 46"/>
                <a:gd name="T20" fmla="*/ 26 w 83"/>
                <a:gd name="T21" fmla="*/ 38 h 46"/>
                <a:gd name="T22" fmla="*/ 30 w 83"/>
                <a:gd name="T23" fmla="*/ 38 h 46"/>
                <a:gd name="T24" fmla="*/ 35 w 83"/>
                <a:gd name="T25" fmla="*/ 37 h 46"/>
                <a:gd name="T26" fmla="*/ 39 w 83"/>
                <a:gd name="T27" fmla="*/ 37 h 46"/>
                <a:gd name="T28" fmla="*/ 43 w 83"/>
                <a:gd name="T29" fmla="*/ 38 h 46"/>
                <a:gd name="T30" fmla="*/ 47 w 83"/>
                <a:gd name="T31" fmla="*/ 37 h 46"/>
                <a:gd name="T32" fmla="*/ 50 w 83"/>
                <a:gd name="T33" fmla="*/ 37 h 46"/>
                <a:gd name="T34" fmla="*/ 53 w 83"/>
                <a:gd name="T35" fmla="*/ 37 h 46"/>
                <a:gd name="T36" fmla="*/ 57 w 83"/>
                <a:gd name="T37" fmla="*/ 36 h 46"/>
                <a:gd name="T38" fmla="*/ 61 w 83"/>
                <a:gd name="T39" fmla="*/ 36 h 46"/>
                <a:gd name="T40" fmla="*/ 64 w 83"/>
                <a:gd name="T41" fmla="*/ 35 h 46"/>
                <a:gd name="T42" fmla="*/ 67 w 83"/>
                <a:gd name="T43" fmla="*/ 34 h 46"/>
                <a:gd name="T44" fmla="*/ 71 w 83"/>
                <a:gd name="T45" fmla="*/ 34 h 46"/>
                <a:gd name="T46" fmla="*/ 74 w 83"/>
                <a:gd name="T47" fmla="*/ 33 h 46"/>
                <a:gd name="T48" fmla="*/ 78 w 83"/>
                <a:gd name="T49" fmla="*/ 32 h 46"/>
                <a:gd name="T50" fmla="*/ 82 w 83"/>
                <a:gd name="T51" fmla="*/ 29 h 46"/>
                <a:gd name="T52" fmla="*/ 82 w 83"/>
                <a:gd name="T53" fmla="*/ 27 h 46"/>
                <a:gd name="T54" fmla="*/ 81 w 83"/>
                <a:gd name="T55" fmla="*/ 22 h 46"/>
                <a:gd name="T56" fmla="*/ 76 w 83"/>
                <a:gd name="T57" fmla="*/ 20 h 46"/>
                <a:gd name="T58" fmla="*/ 72 w 83"/>
                <a:gd name="T59" fmla="*/ 20 h 46"/>
                <a:gd name="T60" fmla="*/ 69 w 83"/>
                <a:gd name="T61" fmla="*/ 16 h 46"/>
                <a:gd name="T62" fmla="*/ 66 w 83"/>
                <a:gd name="T63" fmla="*/ 14 h 46"/>
                <a:gd name="T64" fmla="*/ 62 w 83"/>
                <a:gd name="T65" fmla="*/ 12 h 46"/>
                <a:gd name="T66" fmla="*/ 57 w 83"/>
                <a:gd name="T67" fmla="*/ 10 h 46"/>
                <a:gd name="T68" fmla="*/ 53 w 83"/>
                <a:gd name="T69" fmla="*/ 11 h 46"/>
                <a:gd name="T70" fmla="*/ 49 w 83"/>
                <a:gd name="T71" fmla="*/ 13 h 46"/>
                <a:gd name="T72" fmla="*/ 47 w 83"/>
                <a:gd name="T73" fmla="*/ 15 h 46"/>
                <a:gd name="T74" fmla="*/ 43 w 83"/>
                <a:gd name="T75" fmla="*/ 17 h 46"/>
                <a:gd name="T76" fmla="*/ 41 w 83"/>
                <a:gd name="T77" fmla="*/ 15 h 46"/>
                <a:gd name="T78" fmla="*/ 44 w 83"/>
                <a:gd name="T79" fmla="*/ 12 h 46"/>
                <a:gd name="T80" fmla="*/ 46 w 83"/>
                <a:gd name="T81" fmla="*/ 9 h 46"/>
                <a:gd name="T82" fmla="*/ 47 w 83"/>
                <a:gd name="T83" fmla="*/ 3 h 46"/>
                <a:gd name="T84" fmla="*/ 41 w 83"/>
                <a:gd name="T85" fmla="*/ 1 h 46"/>
                <a:gd name="T86" fmla="*/ 38 w 83"/>
                <a:gd name="T87" fmla="*/ 5 h 46"/>
                <a:gd name="T88" fmla="*/ 34 w 83"/>
                <a:gd name="T89" fmla="*/ 6 h 46"/>
                <a:gd name="T90" fmla="*/ 32 w 83"/>
                <a:gd name="T91" fmla="*/ 3 h 46"/>
                <a:gd name="T92" fmla="*/ 29 w 83"/>
                <a:gd name="T93" fmla="*/ 5 h 46"/>
                <a:gd name="T94" fmla="*/ 25 w 83"/>
                <a:gd name="T95" fmla="*/ 8 h 46"/>
                <a:gd name="T96" fmla="*/ 22 w 83"/>
                <a:gd name="T97" fmla="*/ 13 h 46"/>
                <a:gd name="T98" fmla="*/ 18 w 83"/>
                <a:gd name="T99" fmla="*/ 17 h 46"/>
                <a:gd name="T100" fmla="*/ 17 w 83"/>
                <a:gd name="T101" fmla="*/ 21 h 46"/>
                <a:gd name="T102" fmla="*/ 13 w 83"/>
                <a:gd name="T103" fmla="*/ 23 h 46"/>
                <a:gd name="T104" fmla="*/ 14 w 83"/>
                <a:gd name="T105" fmla="*/ 25 h 46"/>
                <a:gd name="T106" fmla="*/ 13 w 83"/>
                <a:gd name="T107" fmla="*/ 25 h 46"/>
                <a:gd name="T108" fmla="*/ 10 w 83"/>
                <a:gd name="T109" fmla="*/ 29 h 46"/>
                <a:gd name="T110" fmla="*/ 7 w 83"/>
                <a:gd name="T111" fmla="*/ 33 h 46"/>
                <a:gd name="T112" fmla="*/ 4 w 83"/>
                <a:gd name="T113" fmla="*/ 3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3" h="46">
                  <a:moveTo>
                    <a:pt x="4" y="36"/>
                  </a:moveTo>
                  <a:cubicBezTo>
                    <a:pt x="4" y="36"/>
                    <a:pt x="2" y="39"/>
                    <a:pt x="1" y="40"/>
                  </a:cubicBezTo>
                  <a:cubicBezTo>
                    <a:pt x="0" y="40"/>
                    <a:pt x="0" y="42"/>
                    <a:pt x="0" y="44"/>
                  </a:cubicBezTo>
                  <a:cubicBezTo>
                    <a:pt x="1" y="45"/>
                    <a:pt x="2" y="45"/>
                    <a:pt x="4" y="45"/>
                  </a:cubicBezTo>
                  <a:cubicBezTo>
                    <a:pt x="5" y="46"/>
                    <a:pt x="5" y="46"/>
                    <a:pt x="6" y="45"/>
                  </a:cubicBezTo>
                  <a:cubicBezTo>
                    <a:pt x="8" y="45"/>
                    <a:pt x="8" y="45"/>
                    <a:pt x="9" y="45"/>
                  </a:cubicBezTo>
                  <a:cubicBezTo>
                    <a:pt x="10" y="45"/>
                    <a:pt x="13" y="44"/>
                    <a:pt x="15" y="42"/>
                  </a:cubicBezTo>
                  <a:cubicBezTo>
                    <a:pt x="15" y="41"/>
                    <a:pt x="16" y="42"/>
                    <a:pt x="17" y="42"/>
                  </a:cubicBezTo>
                  <a:cubicBezTo>
                    <a:pt x="18" y="42"/>
                    <a:pt x="18" y="42"/>
                    <a:pt x="19" y="41"/>
                  </a:cubicBezTo>
                  <a:cubicBezTo>
                    <a:pt x="20" y="41"/>
                    <a:pt x="21" y="40"/>
                    <a:pt x="22" y="39"/>
                  </a:cubicBezTo>
                  <a:cubicBezTo>
                    <a:pt x="23" y="39"/>
                    <a:pt x="24" y="38"/>
                    <a:pt x="26" y="38"/>
                  </a:cubicBezTo>
                  <a:cubicBezTo>
                    <a:pt x="28" y="37"/>
                    <a:pt x="27" y="38"/>
                    <a:pt x="30" y="38"/>
                  </a:cubicBezTo>
                  <a:cubicBezTo>
                    <a:pt x="32" y="37"/>
                    <a:pt x="32" y="38"/>
                    <a:pt x="35" y="37"/>
                  </a:cubicBezTo>
                  <a:cubicBezTo>
                    <a:pt x="38" y="36"/>
                    <a:pt x="37" y="38"/>
                    <a:pt x="39" y="37"/>
                  </a:cubicBezTo>
                  <a:cubicBezTo>
                    <a:pt x="41" y="37"/>
                    <a:pt x="41" y="38"/>
                    <a:pt x="43" y="38"/>
                  </a:cubicBezTo>
                  <a:cubicBezTo>
                    <a:pt x="44" y="37"/>
                    <a:pt x="45" y="38"/>
                    <a:pt x="47" y="37"/>
                  </a:cubicBezTo>
                  <a:cubicBezTo>
                    <a:pt x="49" y="36"/>
                    <a:pt x="48" y="37"/>
                    <a:pt x="50" y="37"/>
                  </a:cubicBezTo>
                  <a:cubicBezTo>
                    <a:pt x="52" y="36"/>
                    <a:pt x="52" y="37"/>
                    <a:pt x="53" y="37"/>
                  </a:cubicBezTo>
                  <a:cubicBezTo>
                    <a:pt x="54" y="37"/>
                    <a:pt x="55" y="36"/>
                    <a:pt x="57" y="36"/>
                  </a:cubicBezTo>
                  <a:cubicBezTo>
                    <a:pt x="59" y="36"/>
                    <a:pt x="60" y="36"/>
                    <a:pt x="61" y="36"/>
                  </a:cubicBezTo>
                  <a:cubicBezTo>
                    <a:pt x="62" y="35"/>
                    <a:pt x="63" y="35"/>
                    <a:pt x="64" y="35"/>
                  </a:cubicBezTo>
                  <a:cubicBezTo>
                    <a:pt x="66" y="35"/>
                    <a:pt x="66" y="35"/>
                    <a:pt x="67" y="34"/>
                  </a:cubicBezTo>
                  <a:cubicBezTo>
                    <a:pt x="67" y="34"/>
                    <a:pt x="69" y="34"/>
                    <a:pt x="71" y="34"/>
                  </a:cubicBezTo>
                  <a:cubicBezTo>
                    <a:pt x="72" y="33"/>
                    <a:pt x="73" y="34"/>
                    <a:pt x="74" y="33"/>
                  </a:cubicBezTo>
                  <a:cubicBezTo>
                    <a:pt x="75" y="32"/>
                    <a:pt x="76" y="32"/>
                    <a:pt x="78" y="32"/>
                  </a:cubicBezTo>
                  <a:cubicBezTo>
                    <a:pt x="79" y="32"/>
                    <a:pt x="80" y="31"/>
                    <a:pt x="82" y="29"/>
                  </a:cubicBezTo>
                  <a:cubicBezTo>
                    <a:pt x="83" y="28"/>
                    <a:pt x="82" y="28"/>
                    <a:pt x="82" y="27"/>
                  </a:cubicBezTo>
                  <a:cubicBezTo>
                    <a:pt x="82" y="26"/>
                    <a:pt x="81" y="22"/>
                    <a:pt x="81" y="22"/>
                  </a:cubicBezTo>
                  <a:cubicBezTo>
                    <a:pt x="80" y="20"/>
                    <a:pt x="79" y="21"/>
                    <a:pt x="76" y="2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9" y="16"/>
                    <a:pt x="66" y="15"/>
                    <a:pt x="66" y="14"/>
                  </a:cubicBezTo>
                  <a:cubicBezTo>
                    <a:pt x="66" y="13"/>
                    <a:pt x="63" y="13"/>
                    <a:pt x="62" y="12"/>
                  </a:cubicBezTo>
                  <a:cubicBezTo>
                    <a:pt x="62" y="11"/>
                    <a:pt x="57" y="10"/>
                    <a:pt x="57" y="10"/>
                  </a:cubicBezTo>
                  <a:cubicBezTo>
                    <a:pt x="57" y="10"/>
                    <a:pt x="55" y="10"/>
                    <a:pt x="53" y="11"/>
                  </a:cubicBezTo>
                  <a:cubicBezTo>
                    <a:pt x="51" y="11"/>
                    <a:pt x="49" y="13"/>
                    <a:pt x="49" y="13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4"/>
                    <a:pt x="43" y="13"/>
                    <a:pt x="44" y="12"/>
                  </a:cubicBezTo>
                  <a:cubicBezTo>
                    <a:pt x="45" y="10"/>
                    <a:pt x="46" y="11"/>
                    <a:pt x="46" y="9"/>
                  </a:cubicBezTo>
                  <a:cubicBezTo>
                    <a:pt x="47" y="7"/>
                    <a:pt x="48" y="7"/>
                    <a:pt x="47" y="3"/>
                  </a:cubicBezTo>
                  <a:cubicBezTo>
                    <a:pt x="46" y="2"/>
                    <a:pt x="45" y="2"/>
                    <a:pt x="41" y="1"/>
                  </a:cubicBezTo>
                  <a:cubicBezTo>
                    <a:pt x="36" y="0"/>
                    <a:pt x="38" y="5"/>
                    <a:pt x="38" y="5"/>
                  </a:cubicBezTo>
                  <a:cubicBezTo>
                    <a:pt x="38" y="5"/>
                    <a:pt x="35" y="6"/>
                    <a:pt x="34" y="6"/>
                  </a:cubicBezTo>
                  <a:cubicBezTo>
                    <a:pt x="32" y="6"/>
                    <a:pt x="34" y="6"/>
                    <a:pt x="32" y="3"/>
                  </a:cubicBezTo>
                  <a:cubicBezTo>
                    <a:pt x="30" y="0"/>
                    <a:pt x="30" y="4"/>
                    <a:pt x="29" y="5"/>
                  </a:cubicBezTo>
                  <a:cubicBezTo>
                    <a:pt x="27" y="6"/>
                    <a:pt x="27" y="7"/>
                    <a:pt x="25" y="8"/>
                  </a:cubicBezTo>
                  <a:cubicBezTo>
                    <a:pt x="23" y="10"/>
                    <a:pt x="24" y="10"/>
                    <a:pt x="22" y="13"/>
                  </a:cubicBezTo>
                  <a:cubicBezTo>
                    <a:pt x="22" y="14"/>
                    <a:pt x="20" y="15"/>
                    <a:pt x="18" y="17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6" y="21"/>
                    <a:pt x="13" y="23"/>
                    <a:pt x="13" y="23"/>
                  </a:cubicBezTo>
                  <a:cubicBezTo>
                    <a:pt x="13" y="23"/>
                    <a:pt x="13" y="24"/>
                    <a:pt x="14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0" y="27"/>
                    <a:pt x="11" y="28"/>
                    <a:pt x="10" y="29"/>
                  </a:cubicBezTo>
                  <a:cubicBezTo>
                    <a:pt x="9" y="30"/>
                    <a:pt x="7" y="33"/>
                    <a:pt x="7" y="33"/>
                  </a:cubicBezTo>
                  <a:cubicBezTo>
                    <a:pt x="7" y="33"/>
                    <a:pt x="5" y="36"/>
                    <a:pt x="4" y="3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31" name="Freeform 190"/>
            <p:cNvSpPr>
              <a:spLocks/>
            </p:cNvSpPr>
            <p:nvPr/>
          </p:nvSpPr>
          <p:spPr bwMode="auto">
            <a:xfrm>
              <a:off x="5261" y="1559"/>
              <a:ext cx="20" cy="11"/>
            </a:xfrm>
            <a:custGeom>
              <a:avLst/>
              <a:gdLst>
                <a:gd name="T0" fmla="*/ 21 w 27"/>
                <a:gd name="T1" fmla="*/ 1 h 15"/>
                <a:gd name="T2" fmla="*/ 17 w 27"/>
                <a:gd name="T3" fmla="*/ 2 h 15"/>
                <a:gd name="T4" fmla="*/ 15 w 27"/>
                <a:gd name="T5" fmla="*/ 2 h 15"/>
                <a:gd name="T6" fmla="*/ 11 w 27"/>
                <a:gd name="T7" fmla="*/ 1 h 15"/>
                <a:gd name="T8" fmla="*/ 8 w 27"/>
                <a:gd name="T9" fmla="*/ 2 h 15"/>
                <a:gd name="T10" fmla="*/ 5 w 27"/>
                <a:gd name="T11" fmla="*/ 4 h 15"/>
                <a:gd name="T12" fmla="*/ 2 w 27"/>
                <a:gd name="T13" fmla="*/ 5 h 15"/>
                <a:gd name="T14" fmla="*/ 0 w 27"/>
                <a:gd name="T15" fmla="*/ 6 h 15"/>
                <a:gd name="T16" fmla="*/ 0 w 27"/>
                <a:gd name="T17" fmla="*/ 9 h 15"/>
                <a:gd name="T18" fmla="*/ 3 w 27"/>
                <a:gd name="T19" fmla="*/ 10 h 15"/>
                <a:gd name="T20" fmla="*/ 7 w 27"/>
                <a:gd name="T21" fmla="*/ 11 h 15"/>
                <a:gd name="T22" fmla="*/ 8 w 27"/>
                <a:gd name="T23" fmla="*/ 13 h 15"/>
                <a:gd name="T24" fmla="*/ 11 w 27"/>
                <a:gd name="T25" fmla="*/ 14 h 15"/>
                <a:gd name="T26" fmla="*/ 13 w 27"/>
                <a:gd name="T27" fmla="*/ 14 h 15"/>
                <a:gd name="T28" fmla="*/ 17 w 27"/>
                <a:gd name="T29" fmla="*/ 14 h 15"/>
                <a:gd name="T30" fmla="*/ 19 w 27"/>
                <a:gd name="T31" fmla="*/ 13 h 15"/>
                <a:gd name="T32" fmla="*/ 21 w 27"/>
                <a:gd name="T33" fmla="*/ 12 h 15"/>
                <a:gd name="T34" fmla="*/ 22 w 27"/>
                <a:gd name="T35" fmla="*/ 11 h 15"/>
                <a:gd name="T36" fmla="*/ 24 w 27"/>
                <a:gd name="T37" fmla="*/ 9 h 15"/>
                <a:gd name="T38" fmla="*/ 27 w 27"/>
                <a:gd name="T39" fmla="*/ 7 h 15"/>
                <a:gd name="T40" fmla="*/ 27 w 27"/>
                <a:gd name="T41" fmla="*/ 5 h 15"/>
                <a:gd name="T42" fmla="*/ 26 w 27"/>
                <a:gd name="T43" fmla="*/ 3 h 15"/>
                <a:gd name="T44" fmla="*/ 24 w 27"/>
                <a:gd name="T45" fmla="*/ 1 h 15"/>
                <a:gd name="T46" fmla="*/ 21 w 27"/>
                <a:gd name="T4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" h="15">
                  <a:moveTo>
                    <a:pt x="21" y="1"/>
                  </a:moveTo>
                  <a:cubicBezTo>
                    <a:pt x="20" y="2"/>
                    <a:pt x="18" y="1"/>
                    <a:pt x="17" y="2"/>
                  </a:cubicBezTo>
                  <a:cubicBezTo>
                    <a:pt x="15" y="2"/>
                    <a:pt x="16" y="2"/>
                    <a:pt x="15" y="2"/>
                  </a:cubicBezTo>
                  <a:cubicBezTo>
                    <a:pt x="13" y="1"/>
                    <a:pt x="13" y="0"/>
                    <a:pt x="11" y="1"/>
                  </a:cubicBezTo>
                  <a:cubicBezTo>
                    <a:pt x="10" y="2"/>
                    <a:pt x="9" y="1"/>
                    <a:pt x="8" y="2"/>
                  </a:cubicBezTo>
                  <a:cubicBezTo>
                    <a:pt x="8" y="3"/>
                    <a:pt x="5" y="4"/>
                    <a:pt x="5" y="4"/>
                  </a:cubicBezTo>
                  <a:cubicBezTo>
                    <a:pt x="4" y="4"/>
                    <a:pt x="3" y="4"/>
                    <a:pt x="2" y="5"/>
                  </a:cubicBezTo>
                  <a:cubicBezTo>
                    <a:pt x="0" y="6"/>
                    <a:pt x="0" y="5"/>
                    <a:pt x="0" y="6"/>
                  </a:cubicBezTo>
                  <a:cubicBezTo>
                    <a:pt x="0" y="7"/>
                    <a:pt x="0" y="9"/>
                    <a:pt x="0" y="9"/>
                  </a:cubicBezTo>
                  <a:cubicBezTo>
                    <a:pt x="1" y="9"/>
                    <a:pt x="2" y="10"/>
                    <a:pt x="3" y="10"/>
                  </a:cubicBezTo>
                  <a:cubicBezTo>
                    <a:pt x="3" y="10"/>
                    <a:pt x="7" y="11"/>
                    <a:pt x="7" y="11"/>
                  </a:cubicBezTo>
                  <a:cubicBezTo>
                    <a:pt x="7" y="11"/>
                    <a:pt x="7" y="12"/>
                    <a:pt x="8" y="13"/>
                  </a:cubicBezTo>
                  <a:cubicBezTo>
                    <a:pt x="8" y="14"/>
                    <a:pt x="11" y="14"/>
                    <a:pt x="11" y="14"/>
                  </a:cubicBezTo>
                  <a:cubicBezTo>
                    <a:pt x="12" y="14"/>
                    <a:pt x="12" y="14"/>
                    <a:pt x="13" y="14"/>
                  </a:cubicBezTo>
                  <a:cubicBezTo>
                    <a:pt x="14" y="15"/>
                    <a:pt x="16" y="15"/>
                    <a:pt x="17" y="14"/>
                  </a:cubicBezTo>
                  <a:cubicBezTo>
                    <a:pt x="18" y="14"/>
                    <a:pt x="19" y="13"/>
                    <a:pt x="19" y="13"/>
                  </a:cubicBezTo>
                  <a:cubicBezTo>
                    <a:pt x="19" y="13"/>
                    <a:pt x="20" y="12"/>
                    <a:pt x="21" y="12"/>
                  </a:cubicBezTo>
                  <a:cubicBezTo>
                    <a:pt x="22" y="12"/>
                    <a:pt x="22" y="12"/>
                    <a:pt x="22" y="11"/>
                  </a:cubicBezTo>
                  <a:cubicBezTo>
                    <a:pt x="23" y="10"/>
                    <a:pt x="23" y="10"/>
                    <a:pt x="24" y="9"/>
                  </a:cubicBezTo>
                  <a:cubicBezTo>
                    <a:pt x="26" y="8"/>
                    <a:pt x="26" y="7"/>
                    <a:pt x="27" y="7"/>
                  </a:cubicBezTo>
                  <a:cubicBezTo>
                    <a:pt x="27" y="6"/>
                    <a:pt x="27" y="6"/>
                    <a:pt x="27" y="5"/>
                  </a:cubicBezTo>
                  <a:cubicBezTo>
                    <a:pt x="27" y="4"/>
                    <a:pt x="27" y="4"/>
                    <a:pt x="26" y="3"/>
                  </a:cubicBezTo>
                  <a:cubicBezTo>
                    <a:pt x="25" y="2"/>
                    <a:pt x="24" y="1"/>
                    <a:pt x="24" y="1"/>
                  </a:cubicBezTo>
                  <a:cubicBezTo>
                    <a:pt x="23" y="1"/>
                    <a:pt x="22" y="1"/>
                    <a:pt x="21" y="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32" name="Freeform 191"/>
            <p:cNvSpPr>
              <a:spLocks/>
            </p:cNvSpPr>
            <p:nvPr/>
          </p:nvSpPr>
          <p:spPr bwMode="auto">
            <a:xfrm>
              <a:off x="5517" y="1524"/>
              <a:ext cx="87" cy="35"/>
            </a:xfrm>
            <a:custGeom>
              <a:avLst/>
              <a:gdLst>
                <a:gd name="T0" fmla="*/ 5 w 117"/>
                <a:gd name="T1" fmla="*/ 33 h 47"/>
                <a:gd name="T2" fmla="*/ 17 w 117"/>
                <a:gd name="T3" fmla="*/ 39 h 47"/>
                <a:gd name="T4" fmla="*/ 28 w 117"/>
                <a:gd name="T5" fmla="*/ 43 h 47"/>
                <a:gd name="T6" fmla="*/ 36 w 117"/>
                <a:gd name="T7" fmla="*/ 42 h 47"/>
                <a:gd name="T8" fmla="*/ 41 w 117"/>
                <a:gd name="T9" fmla="*/ 38 h 47"/>
                <a:gd name="T10" fmla="*/ 57 w 117"/>
                <a:gd name="T11" fmla="*/ 38 h 47"/>
                <a:gd name="T12" fmla="*/ 70 w 117"/>
                <a:gd name="T13" fmla="*/ 36 h 47"/>
                <a:gd name="T14" fmla="*/ 80 w 117"/>
                <a:gd name="T15" fmla="*/ 38 h 47"/>
                <a:gd name="T16" fmla="*/ 89 w 117"/>
                <a:gd name="T17" fmla="*/ 36 h 47"/>
                <a:gd name="T18" fmla="*/ 77 w 117"/>
                <a:gd name="T19" fmla="*/ 29 h 47"/>
                <a:gd name="T20" fmla="*/ 72 w 117"/>
                <a:gd name="T21" fmla="*/ 22 h 47"/>
                <a:gd name="T22" fmla="*/ 75 w 117"/>
                <a:gd name="T23" fmla="*/ 16 h 47"/>
                <a:gd name="T24" fmla="*/ 81 w 117"/>
                <a:gd name="T25" fmla="*/ 18 h 47"/>
                <a:gd name="T26" fmla="*/ 76 w 117"/>
                <a:gd name="T27" fmla="*/ 22 h 47"/>
                <a:gd name="T28" fmla="*/ 78 w 117"/>
                <a:gd name="T29" fmla="*/ 29 h 47"/>
                <a:gd name="T30" fmla="*/ 85 w 117"/>
                <a:gd name="T31" fmla="*/ 33 h 47"/>
                <a:gd name="T32" fmla="*/ 98 w 117"/>
                <a:gd name="T33" fmla="*/ 34 h 47"/>
                <a:gd name="T34" fmla="*/ 106 w 117"/>
                <a:gd name="T35" fmla="*/ 29 h 47"/>
                <a:gd name="T36" fmla="*/ 113 w 117"/>
                <a:gd name="T37" fmla="*/ 20 h 47"/>
                <a:gd name="T38" fmla="*/ 107 w 117"/>
                <a:gd name="T39" fmla="*/ 16 h 47"/>
                <a:gd name="T40" fmla="*/ 97 w 117"/>
                <a:gd name="T41" fmla="*/ 13 h 47"/>
                <a:gd name="T42" fmla="*/ 89 w 117"/>
                <a:gd name="T43" fmla="*/ 10 h 47"/>
                <a:gd name="T44" fmla="*/ 82 w 117"/>
                <a:gd name="T45" fmla="*/ 10 h 47"/>
                <a:gd name="T46" fmla="*/ 78 w 117"/>
                <a:gd name="T47" fmla="*/ 9 h 47"/>
                <a:gd name="T48" fmla="*/ 68 w 117"/>
                <a:gd name="T49" fmla="*/ 4 h 47"/>
                <a:gd name="T50" fmla="*/ 57 w 117"/>
                <a:gd name="T51" fmla="*/ 8 h 47"/>
                <a:gd name="T52" fmla="*/ 47 w 117"/>
                <a:gd name="T53" fmla="*/ 16 h 47"/>
                <a:gd name="T54" fmla="*/ 43 w 117"/>
                <a:gd name="T55" fmla="*/ 9 h 47"/>
                <a:gd name="T56" fmla="*/ 33 w 117"/>
                <a:gd name="T57" fmla="*/ 3 h 47"/>
                <a:gd name="T58" fmla="*/ 26 w 117"/>
                <a:gd name="T59" fmla="*/ 3 h 47"/>
                <a:gd name="T60" fmla="*/ 16 w 117"/>
                <a:gd name="T61" fmla="*/ 3 h 47"/>
                <a:gd name="T62" fmla="*/ 8 w 117"/>
                <a:gd name="T63" fmla="*/ 7 h 47"/>
                <a:gd name="T64" fmla="*/ 2 w 117"/>
                <a:gd name="T65" fmla="*/ 14 h 47"/>
                <a:gd name="T66" fmla="*/ 4 w 117"/>
                <a:gd name="T67" fmla="*/ 21 h 47"/>
                <a:gd name="T68" fmla="*/ 0 w 117"/>
                <a:gd name="T69" fmla="*/ 2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7" h="47">
                  <a:moveTo>
                    <a:pt x="4" y="30"/>
                  </a:moveTo>
                  <a:cubicBezTo>
                    <a:pt x="4" y="31"/>
                    <a:pt x="5" y="32"/>
                    <a:pt x="5" y="33"/>
                  </a:cubicBezTo>
                  <a:cubicBezTo>
                    <a:pt x="6" y="34"/>
                    <a:pt x="11" y="36"/>
                    <a:pt x="11" y="36"/>
                  </a:cubicBezTo>
                  <a:cubicBezTo>
                    <a:pt x="14" y="38"/>
                    <a:pt x="16" y="38"/>
                    <a:pt x="17" y="39"/>
                  </a:cubicBezTo>
                  <a:cubicBezTo>
                    <a:pt x="18" y="40"/>
                    <a:pt x="20" y="41"/>
                    <a:pt x="21" y="42"/>
                  </a:cubicBezTo>
                  <a:cubicBezTo>
                    <a:pt x="22" y="43"/>
                    <a:pt x="27" y="41"/>
                    <a:pt x="28" y="43"/>
                  </a:cubicBezTo>
                  <a:cubicBezTo>
                    <a:pt x="29" y="46"/>
                    <a:pt x="33" y="47"/>
                    <a:pt x="34" y="46"/>
                  </a:cubicBezTo>
                  <a:cubicBezTo>
                    <a:pt x="34" y="45"/>
                    <a:pt x="36" y="42"/>
                    <a:pt x="36" y="42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40" y="37"/>
                    <a:pt x="41" y="38"/>
                  </a:cubicBezTo>
                  <a:cubicBezTo>
                    <a:pt x="42" y="38"/>
                    <a:pt x="47" y="39"/>
                    <a:pt x="47" y="39"/>
                  </a:cubicBezTo>
                  <a:cubicBezTo>
                    <a:pt x="51" y="39"/>
                    <a:pt x="57" y="38"/>
                    <a:pt x="57" y="38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9" y="35"/>
                    <a:pt x="70" y="36"/>
                  </a:cubicBezTo>
                  <a:cubicBezTo>
                    <a:pt x="71" y="37"/>
                    <a:pt x="75" y="38"/>
                    <a:pt x="75" y="38"/>
                  </a:cubicBezTo>
                  <a:cubicBezTo>
                    <a:pt x="75" y="38"/>
                    <a:pt x="78" y="37"/>
                    <a:pt x="80" y="38"/>
                  </a:cubicBezTo>
                  <a:cubicBezTo>
                    <a:pt x="82" y="39"/>
                    <a:pt x="88" y="37"/>
                    <a:pt x="88" y="37"/>
                  </a:cubicBezTo>
                  <a:cubicBezTo>
                    <a:pt x="91" y="38"/>
                    <a:pt x="89" y="36"/>
                    <a:pt x="89" y="36"/>
                  </a:cubicBezTo>
                  <a:cubicBezTo>
                    <a:pt x="85" y="35"/>
                    <a:pt x="83" y="36"/>
                    <a:pt x="82" y="35"/>
                  </a:cubicBezTo>
                  <a:cubicBezTo>
                    <a:pt x="80" y="32"/>
                    <a:pt x="77" y="29"/>
                    <a:pt x="77" y="29"/>
                  </a:cubicBezTo>
                  <a:cubicBezTo>
                    <a:pt x="77" y="29"/>
                    <a:pt x="73" y="27"/>
                    <a:pt x="73" y="26"/>
                  </a:cubicBezTo>
                  <a:cubicBezTo>
                    <a:pt x="73" y="25"/>
                    <a:pt x="73" y="23"/>
                    <a:pt x="72" y="22"/>
                  </a:cubicBezTo>
                  <a:cubicBezTo>
                    <a:pt x="72" y="21"/>
                    <a:pt x="72" y="19"/>
                    <a:pt x="72" y="19"/>
                  </a:cubicBezTo>
                  <a:cubicBezTo>
                    <a:pt x="72" y="19"/>
                    <a:pt x="74" y="16"/>
                    <a:pt x="75" y="16"/>
                  </a:cubicBezTo>
                  <a:cubicBezTo>
                    <a:pt x="77" y="16"/>
                    <a:pt x="78" y="15"/>
                    <a:pt x="79" y="15"/>
                  </a:cubicBezTo>
                  <a:cubicBezTo>
                    <a:pt x="80" y="16"/>
                    <a:pt x="80" y="16"/>
                    <a:pt x="81" y="18"/>
                  </a:cubicBezTo>
                  <a:cubicBezTo>
                    <a:pt x="81" y="18"/>
                    <a:pt x="79" y="20"/>
                    <a:pt x="78" y="19"/>
                  </a:cubicBezTo>
                  <a:cubicBezTo>
                    <a:pt x="76" y="18"/>
                    <a:pt x="77" y="21"/>
                    <a:pt x="76" y="22"/>
                  </a:cubicBezTo>
                  <a:cubicBezTo>
                    <a:pt x="76" y="23"/>
                    <a:pt x="77" y="24"/>
                    <a:pt x="77" y="25"/>
                  </a:cubicBezTo>
                  <a:cubicBezTo>
                    <a:pt x="78" y="26"/>
                    <a:pt x="78" y="28"/>
                    <a:pt x="78" y="29"/>
                  </a:cubicBezTo>
                  <a:cubicBezTo>
                    <a:pt x="78" y="30"/>
                    <a:pt x="82" y="32"/>
                    <a:pt x="85" y="34"/>
                  </a:cubicBezTo>
                  <a:cubicBezTo>
                    <a:pt x="88" y="35"/>
                    <a:pt x="85" y="34"/>
                    <a:pt x="85" y="33"/>
                  </a:cubicBezTo>
                  <a:cubicBezTo>
                    <a:pt x="85" y="32"/>
                    <a:pt x="90" y="32"/>
                    <a:pt x="90" y="32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101" y="33"/>
                  </a:cubicBezTo>
                  <a:cubicBezTo>
                    <a:pt x="102" y="33"/>
                    <a:pt x="104" y="32"/>
                    <a:pt x="106" y="29"/>
                  </a:cubicBezTo>
                  <a:cubicBezTo>
                    <a:pt x="107" y="28"/>
                    <a:pt x="107" y="27"/>
                    <a:pt x="108" y="23"/>
                  </a:cubicBezTo>
                  <a:cubicBezTo>
                    <a:pt x="109" y="21"/>
                    <a:pt x="110" y="23"/>
                    <a:pt x="113" y="20"/>
                  </a:cubicBezTo>
                  <a:cubicBezTo>
                    <a:pt x="117" y="17"/>
                    <a:pt x="113" y="20"/>
                    <a:pt x="111" y="19"/>
                  </a:cubicBezTo>
                  <a:cubicBezTo>
                    <a:pt x="108" y="18"/>
                    <a:pt x="108" y="16"/>
                    <a:pt x="107" y="16"/>
                  </a:cubicBezTo>
                  <a:cubicBezTo>
                    <a:pt x="106" y="15"/>
                    <a:pt x="103" y="16"/>
                    <a:pt x="102" y="15"/>
                  </a:cubicBezTo>
                  <a:cubicBezTo>
                    <a:pt x="102" y="14"/>
                    <a:pt x="100" y="14"/>
                    <a:pt x="97" y="13"/>
                  </a:cubicBezTo>
                  <a:cubicBezTo>
                    <a:pt x="94" y="12"/>
                    <a:pt x="95" y="13"/>
                    <a:pt x="94" y="12"/>
                  </a:cubicBezTo>
                  <a:cubicBezTo>
                    <a:pt x="94" y="10"/>
                    <a:pt x="91" y="11"/>
                    <a:pt x="89" y="10"/>
                  </a:cubicBezTo>
                  <a:cubicBezTo>
                    <a:pt x="87" y="9"/>
                    <a:pt x="87" y="10"/>
                    <a:pt x="86" y="10"/>
                  </a:cubicBezTo>
                  <a:cubicBezTo>
                    <a:pt x="85" y="10"/>
                    <a:pt x="83" y="11"/>
                    <a:pt x="82" y="10"/>
                  </a:cubicBezTo>
                  <a:cubicBezTo>
                    <a:pt x="81" y="10"/>
                    <a:pt x="80" y="11"/>
                    <a:pt x="79" y="12"/>
                  </a:cubicBezTo>
                  <a:cubicBezTo>
                    <a:pt x="79" y="11"/>
                    <a:pt x="78" y="10"/>
                    <a:pt x="78" y="9"/>
                  </a:cubicBezTo>
                  <a:cubicBezTo>
                    <a:pt x="77" y="9"/>
                    <a:pt x="70" y="8"/>
                    <a:pt x="70" y="8"/>
                  </a:cubicBezTo>
                  <a:cubicBezTo>
                    <a:pt x="70" y="8"/>
                    <a:pt x="70" y="4"/>
                    <a:pt x="68" y="4"/>
                  </a:cubicBezTo>
                  <a:cubicBezTo>
                    <a:pt x="65" y="4"/>
                    <a:pt x="66" y="1"/>
                    <a:pt x="63" y="3"/>
                  </a:cubicBezTo>
                  <a:cubicBezTo>
                    <a:pt x="59" y="5"/>
                    <a:pt x="59" y="5"/>
                    <a:pt x="57" y="8"/>
                  </a:cubicBezTo>
                  <a:cubicBezTo>
                    <a:pt x="56" y="10"/>
                    <a:pt x="54" y="11"/>
                    <a:pt x="54" y="14"/>
                  </a:cubicBezTo>
                  <a:cubicBezTo>
                    <a:pt x="54" y="16"/>
                    <a:pt x="47" y="17"/>
                    <a:pt x="47" y="16"/>
                  </a:cubicBezTo>
                  <a:cubicBezTo>
                    <a:pt x="47" y="14"/>
                    <a:pt x="47" y="12"/>
                    <a:pt x="47" y="12"/>
                  </a:cubicBezTo>
                  <a:cubicBezTo>
                    <a:pt x="47" y="12"/>
                    <a:pt x="45" y="10"/>
                    <a:pt x="43" y="9"/>
                  </a:cubicBezTo>
                  <a:cubicBezTo>
                    <a:pt x="40" y="8"/>
                    <a:pt x="40" y="7"/>
                    <a:pt x="38" y="6"/>
                  </a:cubicBezTo>
                  <a:cubicBezTo>
                    <a:pt x="36" y="5"/>
                    <a:pt x="35" y="3"/>
                    <a:pt x="33" y="3"/>
                  </a:cubicBezTo>
                  <a:cubicBezTo>
                    <a:pt x="31" y="2"/>
                    <a:pt x="30" y="1"/>
                    <a:pt x="29" y="1"/>
                  </a:cubicBezTo>
                  <a:cubicBezTo>
                    <a:pt x="28" y="1"/>
                    <a:pt x="27" y="2"/>
                    <a:pt x="26" y="3"/>
                  </a:cubicBezTo>
                  <a:cubicBezTo>
                    <a:pt x="25" y="4"/>
                    <a:pt x="25" y="0"/>
                    <a:pt x="22" y="2"/>
                  </a:cubicBezTo>
                  <a:cubicBezTo>
                    <a:pt x="19" y="3"/>
                    <a:pt x="18" y="2"/>
                    <a:pt x="16" y="3"/>
                  </a:cubicBezTo>
                  <a:cubicBezTo>
                    <a:pt x="14" y="4"/>
                    <a:pt x="18" y="3"/>
                    <a:pt x="14" y="4"/>
                  </a:cubicBezTo>
                  <a:cubicBezTo>
                    <a:pt x="10" y="6"/>
                    <a:pt x="8" y="7"/>
                    <a:pt x="8" y="7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5" y="12"/>
                    <a:pt x="3" y="12"/>
                    <a:pt x="2" y="14"/>
                  </a:cubicBezTo>
                  <a:cubicBezTo>
                    <a:pt x="2" y="15"/>
                    <a:pt x="1" y="17"/>
                    <a:pt x="2" y="18"/>
                  </a:cubicBezTo>
                  <a:cubicBezTo>
                    <a:pt x="3" y="20"/>
                    <a:pt x="4" y="18"/>
                    <a:pt x="4" y="21"/>
                  </a:cubicBezTo>
                  <a:cubicBezTo>
                    <a:pt x="5" y="23"/>
                    <a:pt x="4" y="24"/>
                    <a:pt x="3" y="24"/>
                  </a:cubicBezTo>
                  <a:cubicBezTo>
                    <a:pt x="0" y="25"/>
                    <a:pt x="0" y="25"/>
                    <a:pt x="0" y="27"/>
                  </a:cubicBezTo>
                  <a:cubicBezTo>
                    <a:pt x="1" y="29"/>
                    <a:pt x="4" y="28"/>
                    <a:pt x="4" y="3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33" name="Freeform 192"/>
            <p:cNvSpPr>
              <a:spLocks/>
            </p:cNvSpPr>
            <p:nvPr/>
          </p:nvSpPr>
          <p:spPr bwMode="auto">
            <a:xfrm>
              <a:off x="5610" y="1538"/>
              <a:ext cx="49" cy="18"/>
            </a:xfrm>
            <a:custGeom>
              <a:avLst/>
              <a:gdLst>
                <a:gd name="T0" fmla="*/ 2 w 66"/>
                <a:gd name="T1" fmla="*/ 11 h 24"/>
                <a:gd name="T2" fmla="*/ 6 w 66"/>
                <a:gd name="T3" fmla="*/ 13 h 24"/>
                <a:gd name="T4" fmla="*/ 10 w 66"/>
                <a:gd name="T5" fmla="*/ 14 h 24"/>
                <a:gd name="T6" fmla="*/ 16 w 66"/>
                <a:gd name="T7" fmla="*/ 18 h 24"/>
                <a:gd name="T8" fmla="*/ 22 w 66"/>
                <a:gd name="T9" fmla="*/ 21 h 24"/>
                <a:gd name="T10" fmla="*/ 26 w 66"/>
                <a:gd name="T11" fmla="*/ 20 h 24"/>
                <a:gd name="T12" fmla="*/ 30 w 66"/>
                <a:gd name="T13" fmla="*/ 22 h 24"/>
                <a:gd name="T14" fmla="*/ 34 w 66"/>
                <a:gd name="T15" fmla="*/ 22 h 24"/>
                <a:gd name="T16" fmla="*/ 39 w 66"/>
                <a:gd name="T17" fmla="*/ 24 h 24"/>
                <a:gd name="T18" fmla="*/ 44 w 66"/>
                <a:gd name="T19" fmla="*/ 23 h 24"/>
                <a:gd name="T20" fmla="*/ 48 w 66"/>
                <a:gd name="T21" fmla="*/ 23 h 24"/>
                <a:gd name="T22" fmla="*/ 51 w 66"/>
                <a:gd name="T23" fmla="*/ 22 h 24"/>
                <a:gd name="T24" fmla="*/ 55 w 66"/>
                <a:gd name="T25" fmla="*/ 20 h 24"/>
                <a:gd name="T26" fmla="*/ 61 w 66"/>
                <a:gd name="T27" fmla="*/ 19 h 24"/>
                <a:gd name="T28" fmla="*/ 63 w 66"/>
                <a:gd name="T29" fmla="*/ 16 h 24"/>
                <a:gd name="T30" fmla="*/ 66 w 66"/>
                <a:gd name="T31" fmla="*/ 14 h 24"/>
                <a:gd name="T32" fmla="*/ 65 w 66"/>
                <a:gd name="T33" fmla="*/ 11 h 24"/>
                <a:gd name="T34" fmla="*/ 61 w 66"/>
                <a:gd name="T35" fmla="*/ 10 h 24"/>
                <a:gd name="T36" fmla="*/ 54 w 66"/>
                <a:gd name="T37" fmla="*/ 9 h 24"/>
                <a:gd name="T38" fmla="*/ 50 w 66"/>
                <a:gd name="T39" fmla="*/ 7 h 24"/>
                <a:gd name="T40" fmla="*/ 45 w 66"/>
                <a:gd name="T41" fmla="*/ 6 h 24"/>
                <a:gd name="T42" fmla="*/ 40 w 66"/>
                <a:gd name="T43" fmla="*/ 7 h 24"/>
                <a:gd name="T44" fmla="*/ 35 w 66"/>
                <a:gd name="T45" fmla="*/ 8 h 24"/>
                <a:gd name="T46" fmla="*/ 34 w 66"/>
                <a:gd name="T47" fmla="*/ 5 h 24"/>
                <a:gd name="T48" fmla="*/ 29 w 66"/>
                <a:gd name="T49" fmla="*/ 3 h 24"/>
                <a:gd name="T50" fmla="*/ 20 w 66"/>
                <a:gd name="T51" fmla="*/ 3 h 24"/>
                <a:gd name="T52" fmla="*/ 17 w 66"/>
                <a:gd name="T53" fmla="*/ 4 h 24"/>
                <a:gd name="T54" fmla="*/ 15 w 66"/>
                <a:gd name="T55" fmla="*/ 5 h 24"/>
                <a:gd name="T56" fmla="*/ 11 w 66"/>
                <a:gd name="T57" fmla="*/ 5 h 24"/>
                <a:gd name="T58" fmla="*/ 10 w 66"/>
                <a:gd name="T59" fmla="*/ 1 h 24"/>
                <a:gd name="T60" fmla="*/ 7 w 66"/>
                <a:gd name="T61" fmla="*/ 0 h 24"/>
                <a:gd name="T62" fmla="*/ 5 w 66"/>
                <a:gd name="T63" fmla="*/ 1 h 24"/>
                <a:gd name="T64" fmla="*/ 1 w 66"/>
                <a:gd name="T65" fmla="*/ 4 h 24"/>
                <a:gd name="T66" fmla="*/ 0 w 66"/>
                <a:gd name="T67" fmla="*/ 8 h 24"/>
                <a:gd name="T68" fmla="*/ 2 w 66"/>
                <a:gd name="T69" fmla="*/ 11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6" h="24">
                  <a:moveTo>
                    <a:pt x="2" y="11"/>
                  </a:moveTo>
                  <a:cubicBezTo>
                    <a:pt x="4" y="12"/>
                    <a:pt x="5" y="13"/>
                    <a:pt x="6" y="13"/>
                  </a:cubicBezTo>
                  <a:cubicBezTo>
                    <a:pt x="8" y="13"/>
                    <a:pt x="10" y="14"/>
                    <a:pt x="10" y="14"/>
                  </a:cubicBezTo>
                  <a:cubicBezTo>
                    <a:pt x="12" y="16"/>
                    <a:pt x="16" y="18"/>
                    <a:pt x="16" y="18"/>
                  </a:cubicBezTo>
                  <a:cubicBezTo>
                    <a:pt x="19" y="19"/>
                    <a:pt x="22" y="21"/>
                    <a:pt x="22" y="21"/>
                  </a:cubicBezTo>
                  <a:cubicBezTo>
                    <a:pt x="26" y="20"/>
                    <a:pt x="26" y="20"/>
                    <a:pt x="26" y="20"/>
                  </a:cubicBezTo>
                  <a:cubicBezTo>
                    <a:pt x="26" y="20"/>
                    <a:pt x="29" y="22"/>
                    <a:pt x="30" y="22"/>
                  </a:cubicBezTo>
                  <a:cubicBezTo>
                    <a:pt x="31" y="22"/>
                    <a:pt x="33" y="21"/>
                    <a:pt x="34" y="22"/>
                  </a:cubicBezTo>
                  <a:cubicBezTo>
                    <a:pt x="35" y="24"/>
                    <a:pt x="39" y="24"/>
                    <a:pt x="39" y="24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3"/>
                    <a:pt x="50" y="22"/>
                    <a:pt x="51" y="22"/>
                  </a:cubicBezTo>
                  <a:cubicBezTo>
                    <a:pt x="52" y="21"/>
                    <a:pt x="55" y="20"/>
                    <a:pt x="55" y="20"/>
                  </a:cubicBezTo>
                  <a:cubicBezTo>
                    <a:pt x="58" y="20"/>
                    <a:pt x="59" y="19"/>
                    <a:pt x="61" y="19"/>
                  </a:cubicBezTo>
                  <a:cubicBezTo>
                    <a:pt x="61" y="19"/>
                    <a:pt x="62" y="17"/>
                    <a:pt x="63" y="16"/>
                  </a:cubicBezTo>
                  <a:cubicBezTo>
                    <a:pt x="65" y="15"/>
                    <a:pt x="66" y="14"/>
                    <a:pt x="66" y="14"/>
                  </a:cubicBezTo>
                  <a:cubicBezTo>
                    <a:pt x="66" y="14"/>
                    <a:pt x="66" y="12"/>
                    <a:pt x="65" y="11"/>
                  </a:cubicBezTo>
                  <a:cubicBezTo>
                    <a:pt x="64" y="11"/>
                    <a:pt x="61" y="10"/>
                    <a:pt x="61" y="10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9"/>
                    <a:pt x="51" y="7"/>
                    <a:pt x="50" y="7"/>
                  </a:cubicBezTo>
                  <a:cubicBezTo>
                    <a:pt x="49" y="7"/>
                    <a:pt x="47" y="5"/>
                    <a:pt x="45" y="6"/>
                  </a:cubicBezTo>
                  <a:cubicBezTo>
                    <a:pt x="43" y="7"/>
                    <a:pt x="41" y="7"/>
                    <a:pt x="40" y="7"/>
                  </a:cubicBezTo>
                  <a:cubicBezTo>
                    <a:pt x="39" y="8"/>
                    <a:pt x="36" y="8"/>
                    <a:pt x="35" y="8"/>
                  </a:cubicBezTo>
                  <a:cubicBezTo>
                    <a:pt x="33" y="7"/>
                    <a:pt x="34" y="5"/>
                    <a:pt x="34" y="5"/>
                  </a:cubicBezTo>
                  <a:cubicBezTo>
                    <a:pt x="31" y="4"/>
                    <a:pt x="32" y="2"/>
                    <a:pt x="29" y="3"/>
                  </a:cubicBezTo>
                  <a:cubicBezTo>
                    <a:pt x="25" y="4"/>
                    <a:pt x="24" y="2"/>
                    <a:pt x="20" y="3"/>
                  </a:cubicBezTo>
                  <a:cubicBezTo>
                    <a:pt x="17" y="4"/>
                    <a:pt x="19" y="3"/>
                    <a:pt x="17" y="4"/>
                  </a:cubicBezTo>
                  <a:cubicBezTo>
                    <a:pt x="15" y="5"/>
                    <a:pt x="18" y="2"/>
                    <a:pt x="15" y="5"/>
                  </a:cubicBezTo>
                  <a:cubicBezTo>
                    <a:pt x="12" y="8"/>
                    <a:pt x="12" y="7"/>
                    <a:pt x="11" y="5"/>
                  </a:cubicBezTo>
                  <a:cubicBezTo>
                    <a:pt x="10" y="1"/>
                    <a:pt x="12" y="2"/>
                    <a:pt x="10" y="1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2" y="2"/>
                    <a:pt x="1" y="4"/>
                  </a:cubicBezTo>
                  <a:cubicBezTo>
                    <a:pt x="1" y="7"/>
                    <a:pt x="0" y="6"/>
                    <a:pt x="0" y="8"/>
                  </a:cubicBezTo>
                  <a:cubicBezTo>
                    <a:pt x="0" y="11"/>
                    <a:pt x="0" y="9"/>
                    <a:pt x="2" y="1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34" name="Freeform 193"/>
            <p:cNvSpPr>
              <a:spLocks/>
            </p:cNvSpPr>
            <p:nvPr/>
          </p:nvSpPr>
          <p:spPr bwMode="auto">
            <a:xfrm>
              <a:off x="5546" y="1571"/>
              <a:ext cx="39" cy="15"/>
            </a:xfrm>
            <a:custGeom>
              <a:avLst/>
              <a:gdLst>
                <a:gd name="T0" fmla="*/ 1 w 52"/>
                <a:gd name="T1" fmla="*/ 16 h 20"/>
                <a:gd name="T2" fmla="*/ 3 w 52"/>
                <a:gd name="T3" fmla="*/ 16 h 20"/>
                <a:gd name="T4" fmla="*/ 9 w 52"/>
                <a:gd name="T5" fmla="*/ 12 h 20"/>
                <a:gd name="T6" fmla="*/ 12 w 52"/>
                <a:gd name="T7" fmla="*/ 12 h 20"/>
                <a:gd name="T8" fmla="*/ 16 w 52"/>
                <a:gd name="T9" fmla="*/ 14 h 20"/>
                <a:gd name="T10" fmla="*/ 20 w 52"/>
                <a:gd name="T11" fmla="*/ 15 h 20"/>
                <a:gd name="T12" fmla="*/ 23 w 52"/>
                <a:gd name="T13" fmla="*/ 18 h 20"/>
                <a:gd name="T14" fmla="*/ 29 w 52"/>
                <a:gd name="T15" fmla="*/ 17 h 20"/>
                <a:gd name="T16" fmla="*/ 35 w 52"/>
                <a:gd name="T17" fmla="*/ 17 h 20"/>
                <a:gd name="T18" fmla="*/ 46 w 52"/>
                <a:gd name="T19" fmla="*/ 19 h 20"/>
                <a:gd name="T20" fmla="*/ 51 w 52"/>
                <a:gd name="T21" fmla="*/ 15 h 20"/>
                <a:gd name="T22" fmla="*/ 48 w 52"/>
                <a:gd name="T23" fmla="*/ 9 h 20"/>
                <a:gd name="T24" fmla="*/ 48 w 52"/>
                <a:gd name="T25" fmla="*/ 7 h 20"/>
                <a:gd name="T26" fmla="*/ 46 w 52"/>
                <a:gd name="T27" fmla="*/ 5 h 20"/>
                <a:gd name="T28" fmla="*/ 40 w 52"/>
                <a:gd name="T29" fmla="*/ 3 h 20"/>
                <a:gd name="T30" fmla="*/ 33 w 52"/>
                <a:gd name="T31" fmla="*/ 1 h 20"/>
                <a:gd name="T32" fmla="*/ 30 w 52"/>
                <a:gd name="T33" fmla="*/ 0 h 20"/>
                <a:gd name="T34" fmla="*/ 26 w 52"/>
                <a:gd name="T35" fmla="*/ 0 h 20"/>
                <a:gd name="T36" fmla="*/ 23 w 52"/>
                <a:gd name="T37" fmla="*/ 0 h 20"/>
                <a:gd name="T38" fmla="*/ 19 w 52"/>
                <a:gd name="T39" fmla="*/ 0 h 20"/>
                <a:gd name="T40" fmla="*/ 15 w 52"/>
                <a:gd name="T41" fmla="*/ 2 h 20"/>
                <a:gd name="T42" fmla="*/ 12 w 52"/>
                <a:gd name="T43" fmla="*/ 7 h 20"/>
                <a:gd name="T44" fmla="*/ 7 w 52"/>
                <a:gd name="T45" fmla="*/ 11 h 20"/>
                <a:gd name="T46" fmla="*/ 1 w 52"/>
                <a:gd name="T47" fmla="*/ 11 h 20"/>
                <a:gd name="T48" fmla="*/ 1 w 52"/>
                <a:gd name="T49" fmla="*/ 1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2" h="20">
                  <a:moveTo>
                    <a:pt x="1" y="16"/>
                  </a:moveTo>
                  <a:cubicBezTo>
                    <a:pt x="1" y="16"/>
                    <a:pt x="2" y="17"/>
                    <a:pt x="3" y="16"/>
                  </a:cubicBezTo>
                  <a:cubicBezTo>
                    <a:pt x="5" y="16"/>
                    <a:pt x="5" y="15"/>
                    <a:pt x="9" y="12"/>
                  </a:cubicBezTo>
                  <a:cubicBezTo>
                    <a:pt x="12" y="11"/>
                    <a:pt x="9" y="12"/>
                    <a:pt x="12" y="12"/>
                  </a:cubicBezTo>
                  <a:cubicBezTo>
                    <a:pt x="14" y="11"/>
                    <a:pt x="16" y="14"/>
                    <a:pt x="16" y="14"/>
                  </a:cubicBezTo>
                  <a:cubicBezTo>
                    <a:pt x="16" y="14"/>
                    <a:pt x="18" y="15"/>
                    <a:pt x="20" y="15"/>
                  </a:cubicBezTo>
                  <a:cubicBezTo>
                    <a:pt x="21" y="16"/>
                    <a:pt x="21" y="17"/>
                    <a:pt x="23" y="18"/>
                  </a:cubicBezTo>
                  <a:cubicBezTo>
                    <a:pt x="25" y="19"/>
                    <a:pt x="27" y="18"/>
                    <a:pt x="29" y="17"/>
                  </a:cubicBezTo>
                  <a:cubicBezTo>
                    <a:pt x="30" y="16"/>
                    <a:pt x="32" y="17"/>
                    <a:pt x="35" y="17"/>
                  </a:cubicBezTo>
                  <a:cubicBezTo>
                    <a:pt x="38" y="17"/>
                    <a:pt x="43" y="20"/>
                    <a:pt x="46" y="19"/>
                  </a:cubicBezTo>
                  <a:cubicBezTo>
                    <a:pt x="46" y="19"/>
                    <a:pt x="48" y="19"/>
                    <a:pt x="51" y="15"/>
                  </a:cubicBezTo>
                  <a:cubicBezTo>
                    <a:pt x="52" y="14"/>
                    <a:pt x="51" y="11"/>
                    <a:pt x="48" y="9"/>
                  </a:cubicBezTo>
                  <a:cubicBezTo>
                    <a:pt x="46" y="7"/>
                    <a:pt x="48" y="9"/>
                    <a:pt x="48" y="7"/>
                  </a:cubicBezTo>
                  <a:cubicBezTo>
                    <a:pt x="47" y="6"/>
                    <a:pt x="48" y="7"/>
                    <a:pt x="46" y="5"/>
                  </a:cubicBezTo>
                  <a:cubicBezTo>
                    <a:pt x="40" y="3"/>
                    <a:pt x="40" y="3"/>
                    <a:pt x="40" y="3"/>
                  </a:cubicBezTo>
                  <a:cubicBezTo>
                    <a:pt x="40" y="3"/>
                    <a:pt x="34" y="1"/>
                    <a:pt x="33" y="1"/>
                  </a:cubicBezTo>
                  <a:cubicBezTo>
                    <a:pt x="32" y="0"/>
                    <a:pt x="30" y="0"/>
                    <a:pt x="30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0" y="0"/>
                    <a:pt x="19" y="0"/>
                  </a:cubicBezTo>
                  <a:cubicBezTo>
                    <a:pt x="18" y="0"/>
                    <a:pt x="16" y="2"/>
                    <a:pt x="15" y="2"/>
                  </a:cubicBezTo>
                  <a:cubicBezTo>
                    <a:pt x="14" y="2"/>
                    <a:pt x="15" y="4"/>
                    <a:pt x="12" y="7"/>
                  </a:cubicBezTo>
                  <a:cubicBezTo>
                    <a:pt x="12" y="7"/>
                    <a:pt x="11" y="9"/>
                    <a:pt x="7" y="11"/>
                  </a:cubicBezTo>
                  <a:cubicBezTo>
                    <a:pt x="5" y="12"/>
                    <a:pt x="3" y="10"/>
                    <a:pt x="1" y="11"/>
                  </a:cubicBezTo>
                  <a:cubicBezTo>
                    <a:pt x="0" y="13"/>
                    <a:pt x="0" y="15"/>
                    <a:pt x="1" y="1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35" name="Freeform 194"/>
            <p:cNvSpPr>
              <a:spLocks/>
            </p:cNvSpPr>
            <p:nvPr/>
          </p:nvSpPr>
          <p:spPr bwMode="auto">
            <a:xfrm>
              <a:off x="5548" y="1562"/>
              <a:ext cx="12" cy="11"/>
            </a:xfrm>
            <a:custGeom>
              <a:avLst/>
              <a:gdLst>
                <a:gd name="T0" fmla="*/ 6 w 17"/>
                <a:gd name="T1" fmla="*/ 14 h 14"/>
                <a:gd name="T2" fmla="*/ 8 w 17"/>
                <a:gd name="T3" fmla="*/ 13 h 14"/>
                <a:gd name="T4" fmla="*/ 14 w 17"/>
                <a:gd name="T5" fmla="*/ 11 h 14"/>
                <a:gd name="T6" fmla="*/ 16 w 17"/>
                <a:gd name="T7" fmla="*/ 4 h 14"/>
                <a:gd name="T8" fmla="*/ 12 w 17"/>
                <a:gd name="T9" fmla="*/ 0 h 14"/>
                <a:gd name="T10" fmla="*/ 7 w 17"/>
                <a:gd name="T11" fmla="*/ 1 h 14"/>
                <a:gd name="T12" fmla="*/ 2 w 17"/>
                <a:gd name="T13" fmla="*/ 3 h 14"/>
                <a:gd name="T14" fmla="*/ 2 w 17"/>
                <a:gd name="T15" fmla="*/ 6 h 14"/>
                <a:gd name="T16" fmla="*/ 5 w 17"/>
                <a:gd name="T17" fmla="*/ 12 h 14"/>
                <a:gd name="T18" fmla="*/ 6 w 17"/>
                <a:gd name="T19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" h="14">
                  <a:moveTo>
                    <a:pt x="6" y="14"/>
                  </a:moveTo>
                  <a:cubicBezTo>
                    <a:pt x="7" y="14"/>
                    <a:pt x="7" y="13"/>
                    <a:pt x="8" y="13"/>
                  </a:cubicBezTo>
                  <a:cubicBezTo>
                    <a:pt x="9" y="12"/>
                    <a:pt x="12" y="12"/>
                    <a:pt x="14" y="11"/>
                  </a:cubicBezTo>
                  <a:cubicBezTo>
                    <a:pt x="15" y="9"/>
                    <a:pt x="17" y="9"/>
                    <a:pt x="16" y="4"/>
                  </a:cubicBezTo>
                  <a:cubicBezTo>
                    <a:pt x="16" y="3"/>
                    <a:pt x="14" y="1"/>
                    <a:pt x="12" y="0"/>
                  </a:cubicBezTo>
                  <a:cubicBezTo>
                    <a:pt x="10" y="0"/>
                    <a:pt x="9" y="0"/>
                    <a:pt x="7" y="1"/>
                  </a:cubicBezTo>
                  <a:cubicBezTo>
                    <a:pt x="5" y="1"/>
                    <a:pt x="3" y="2"/>
                    <a:pt x="2" y="3"/>
                  </a:cubicBezTo>
                  <a:cubicBezTo>
                    <a:pt x="0" y="3"/>
                    <a:pt x="2" y="5"/>
                    <a:pt x="2" y="6"/>
                  </a:cubicBezTo>
                  <a:cubicBezTo>
                    <a:pt x="2" y="7"/>
                    <a:pt x="4" y="11"/>
                    <a:pt x="5" y="12"/>
                  </a:cubicBezTo>
                  <a:cubicBezTo>
                    <a:pt x="5" y="12"/>
                    <a:pt x="5" y="14"/>
                    <a:pt x="6" y="1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36" name="Freeform 195"/>
            <p:cNvSpPr>
              <a:spLocks/>
            </p:cNvSpPr>
            <p:nvPr/>
          </p:nvSpPr>
          <p:spPr bwMode="auto">
            <a:xfrm>
              <a:off x="5500" y="1533"/>
              <a:ext cx="10" cy="10"/>
            </a:xfrm>
            <a:custGeom>
              <a:avLst/>
              <a:gdLst>
                <a:gd name="T0" fmla="*/ 2 w 14"/>
                <a:gd name="T1" fmla="*/ 12 h 14"/>
                <a:gd name="T2" fmla="*/ 8 w 14"/>
                <a:gd name="T3" fmla="*/ 13 h 14"/>
                <a:gd name="T4" fmla="*/ 12 w 14"/>
                <a:gd name="T5" fmla="*/ 9 h 14"/>
                <a:gd name="T6" fmla="*/ 13 w 14"/>
                <a:gd name="T7" fmla="*/ 8 h 14"/>
                <a:gd name="T8" fmla="*/ 10 w 14"/>
                <a:gd name="T9" fmla="*/ 2 h 14"/>
                <a:gd name="T10" fmla="*/ 4 w 14"/>
                <a:gd name="T11" fmla="*/ 2 h 14"/>
                <a:gd name="T12" fmla="*/ 4 w 14"/>
                <a:gd name="T13" fmla="*/ 9 h 14"/>
                <a:gd name="T14" fmla="*/ 2 w 14"/>
                <a:gd name="T15" fmla="*/ 1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4">
                  <a:moveTo>
                    <a:pt x="2" y="12"/>
                  </a:moveTo>
                  <a:cubicBezTo>
                    <a:pt x="5" y="14"/>
                    <a:pt x="5" y="14"/>
                    <a:pt x="8" y="13"/>
                  </a:cubicBezTo>
                  <a:cubicBezTo>
                    <a:pt x="11" y="12"/>
                    <a:pt x="12" y="11"/>
                    <a:pt x="12" y="9"/>
                  </a:cubicBezTo>
                  <a:cubicBezTo>
                    <a:pt x="13" y="8"/>
                    <a:pt x="14" y="10"/>
                    <a:pt x="13" y="8"/>
                  </a:cubicBezTo>
                  <a:cubicBezTo>
                    <a:pt x="13" y="5"/>
                    <a:pt x="12" y="2"/>
                    <a:pt x="10" y="2"/>
                  </a:cubicBezTo>
                  <a:cubicBezTo>
                    <a:pt x="8" y="2"/>
                    <a:pt x="5" y="0"/>
                    <a:pt x="4" y="2"/>
                  </a:cubicBezTo>
                  <a:cubicBezTo>
                    <a:pt x="3" y="5"/>
                    <a:pt x="4" y="6"/>
                    <a:pt x="4" y="9"/>
                  </a:cubicBezTo>
                  <a:cubicBezTo>
                    <a:pt x="3" y="11"/>
                    <a:pt x="0" y="9"/>
                    <a:pt x="2" y="1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37" name="Freeform 196"/>
            <p:cNvSpPr>
              <a:spLocks/>
            </p:cNvSpPr>
            <p:nvPr/>
          </p:nvSpPr>
          <p:spPr bwMode="auto">
            <a:xfrm>
              <a:off x="5501" y="1565"/>
              <a:ext cx="10" cy="10"/>
            </a:xfrm>
            <a:custGeom>
              <a:avLst/>
              <a:gdLst>
                <a:gd name="T0" fmla="*/ 11 w 14"/>
                <a:gd name="T1" fmla="*/ 3 h 14"/>
                <a:gd name="T2" fmla="*/ 5 w 14"/>
                <a:gd name="T3" fmla="*/ 1 h 14"/>
                <a:gd name="T4" fmla="*/ 1 w 14"/>
                <a:gd name="T5" fmla="*/ 1 h 14"/>
                <a:gd name="T6" fmla="*/ 2 w 14"/>
                <a:gd name="T7" fmla="*/ 4 h 14"/>
                <a:gd name="T8" fmla="*/ 6 w 14"/>
                <a:gd name="T9" fmla="*/ 7 h 14"/>
                <a:gd name="T10" fmla="*/ 10 w 14"/>
                <a:gd name="T11" fmla="*/ 12 h 14"/>
                <a:gd name="T12" fmla="*/ 12 w 14"/>
                <a:gd name="T13" fmla="*/ 11 h 14"/>
                <a:gd name="T14" fmla="*/ 14 w 14"/>
                <a:gd name="T15" fmla="*/ 11 h 14"/>
                <a:gd name="T16" fmla="*/ 14 w 14"/>
                <a:gd name="T17" fmla="*/ 8 h 14"/>
                <a:gd name="T18" fmla="*/ 11 w 14"/>
                <a:gd name="T1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14">
                  <a:moveTo>
                    <a:pt x="11" y="3"/>
                  </a:moveTo>
                  <a:cubicBezTo>
                    <a:pt x="10" y="2"/>
                    <a:pt x="6" y="1"/>
                    <a:pt x="5" y="1"/>
                  </a:cubicBezTo>
                  <a:cubicBezTo>
                    <a:pt x="3" y="1"/>
                    <a:pt x="2" y="0"/>
                    <a:pt x="1" y="1"/>
                  </a:cubicBezTo>
                  <a:cubicBezTo>
                    <a:pt x="0" y="2"/>
                    <a:pt x="0" y="3"/>
                    <a:pt x="2" y="4"/>
                  </a:cubicBezTo>
                  <a:cubicBezTo>
                    <a:pt x="4" y="5"/>
                    <a:pt x="4" y="5"/>
                    <a:pt x="6" y="7"/>
                  </a:cubicBezTo>
                  <a:cubicBezTo>
                    <a:pt x="8" y="9"/>
                    <a:pt x="8" y="12"/>
                    <a:pt x="10" y="12"/>
                  </a:cubicBezTo>
                  <a:cubicBezTo>
                    <a:pt x="12" y="11"/>
                    <a:pt x="10" y="12"/>
                    <a:pt x="12" y="11"/>
                  </a:cubicBezTo>
                  <a:cubicBezTo>
                    <a:pt x="14" y="11"/>
                    <a:pt x="14" y="14"/>
                    <a:pt x="14" y="11"/>
                  </a:cubicBezTo>
                  <a:cubicBezTo>
                    <a:pt x="14" y="8"/>
                    <a:pt x="14" y="10"/>
                    <a:pt x="14" y="8"/>
                  </a:cubicBezTo>
                  <a:cubicBezTo>
                    <a:pt x="14" y="6"/>
                    <a:pt x="13" y="4"/>
                    <a:pt x="11" y="3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38" name="Freeform 197"/>
            <p:cNvSpPr>
              <a:spLocks/>
            </p:cNvSpPr>
            <p:nvPr/>
          </p:nvSpPr>
          <p:spPr bwMode="auto">
            <a:xfrm>
              <a:off x="5937" y="1615"/>
              <a:ext cx="39" cy="16"/>
            </a:xfrm>
            <a:custGeom>
              <a:avLst/>
              <a:gdLst>
                <a:gd name="T0" fmla="*/ 7 w 52"/>
                <a:gd name="T1" fmla="*/ 19 h 21"/>
                <a:gd name="T2" fmla="*/ 11 w 52"/>
                <a:gd name="T3" fmla="*/ 20 h 21"/>
                <a:gd name="T4" fmla="*/ 14 w 52"/>
                <a:gd name="T5" fmla="*/ 17 h 21"/>
                <a:gd name="T6" fmla="*/ 17 w 52"/>
                <a:gd name="T7" fmla="*/ 15 h 21"/>
                <a:gd name="T8" fmla="*/ 21 w 52"/>
                <a:gd name="T9" fmla="*/ 18 h 21"/>
                <a:gd name="T10" fmla="*/ 25 w 52"/>
                <a:gd name="T11" fmla="*/ 18 h 21"/>
                <a:gd name="T12" fmla="*/ 29 w 52"/>
                <a:gd name="T13" fmla="*/ 17 h 21"/>
                <a:gd name="T14" fmla="*/ 34 w 52"/>
                <a:gd name="T15" fmla="*/ 17 h 21"/>
                <a:gd name="T16" fmla="*/ 37 w 52"/>
                <a:gd name="T17" fmla="*/ 16 h 21"/>
                <a:gd name="T18" fmla="*/ 42 w 52"/>
                <a:gd name="T19" fmla="*/ 15 h 21"/>
                <a:gd name="T20" fmla="*/ 49 w 52"/>
                <a:gd name="T21" fmla="*/ 14 h 21"/>
                <a:gd name="T22" fmla="*/ 52 w 52"/>
                <a:gd name="T23" fmla="*/ 10 h 21"/>
                <a:gd name="T24" fmla="*/ 49 w 52"/>
                <a:gd name="T25" fmla="*/ 8 h 21"/>
                <a:gd name="T26" fmla="*/ 42 w 52"/>
                <a:gd name="T27" fmla="*/ 2 h 21"/>
                <a:gd name="T28" fmla="*/ 38 w 52"/>
                <a:gd name="T29" fmla="*/ 0 h 21"/>
                <a:gd name="T30" fmla="*/ 30 w 52"/>
                <a:gd name="T31" fmla="*/ 0 h 21"/>
                <a:gd name="T32" fmla="*/ 23 w 52"/>
                <a:gd name="T33" fmla="*/ 1 h 21"/>
                <a:gd name="T34" fmla="*/ 18 w 52"/>
                <a:gd name="T35" fmla="*/ 3 h 21"/>
                <a:gd name="T36" fmla="*/ 14 w 52"/>
                <a:gd name="T37" fmla="*/ 4 h 21"/>
                <a:gd name="T38" fmla="*/ 10 w 52"/>
                <a:gd name="T39" fmla="*/ 7 h 21"/>
                <a:gd name="T40" fmla="*/ 6 w 52"/>
                <a:gd name="T41" fmla="*/ 10 h 21"/>
                <a:gd name="T42" fmla="*/ 2 w 52"/>
                <a:gd name="T43" fmla="*/ 13 h 21"/>
                <a:gd name="T44" fmla="*/ 1 w 52"/>
                <a:gd name="T45" fmla="*/ 18 h 21"/>
                <a:gd name="T46" fmla="*/ 7 w 52"/>
                <a:gd name="T47" fmla="*/ 1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" h="21">
                  <a:moveTo>
                    <a:pt x="7" y="19"/>
                  </a:moveTo>
                  <a:cubicBezTo>
                    <a:pt x="8" y="19"/>
                    <a:pt x="9" y="20"/>
                    <a:pt x="11" y="20"/>
                  </a:cubicBezTo>
                  <a:cubicBezTo>
                    <a:pt x="13" y="21"/>
                    <a:pt x="12" y="20"/>
                    <a:pt x="14" y="17"/>
                  </a:cubicBezTo>
                  <a:cubicBezTo>
                    <a:pt x="15" y="15"/>
                    <a:pt x="16" y="16"/>
                    <a:pt x="17" y="15"/>
                  </a:cubicBezTo>
                  <a:cubicBezTo>
                    <a:pt x="19" y="13"/>
                    <a:pt x="19" y="15"/>
                    <a:pt x="21" y="18"/>
                  </a:cubicBezTo>
                  <a:cubicBezTo>
                    <a:pt x="23" y="21"/>
                    <a:pt x="24" y="19"/>
                    <a:pt x="25" y="18"/>
                  </a:cubicBezTo>
                  <a:cubicBezTo>
                    <a:pt x="26" y="17"/>
                    <a:pt x="26" y="18"/>
                    <a:pt x="29" y="17"/>
                  </a:cubicBezTo>
                  <a:cubicBezTo>
                    <a:pt x="31" y="16"/>
                    <a:pt x="32" y="18"/>
                    <a:pt x="34" y="17"/>
                  </a:cubicBezTo>
                  <a:cubicBezTo>
                    <a:pt x="36" y="17"/>
                    <a:pt x="35" y="17"/>
                    <a:pt x="37" y="16"/>
                  </a:cubicBezTo>
                  <a:cubicBezTo>
                    <a:pt x="39" y="15"/>
                    <a:pt x="41" y="16"/>
                    <a:pt x="42" y="15"/>
                  </a:cubicBezTo>
                  <a:cubicBezTo>
                    <a:pt x="44" y="15"/>
                    <a:pt x="45" y="15"/>
                    <a:pt x="49" y="14"/>
                  </a:cubicBezTo>
                  <a:cubicBezTo>
                    <a:pt x="52" y="13"/>
                    <a:pt x="52" y="12"/>
                    <a:pt x="52" y="10"/>
                  </a:cubicBezTo>
                  <a:cubicBezTo>
                    <a:pt x="51" y="8"/>
                    <a:pt x="50" y="9"/>
                    <a:pt x="49" y="8"/>
                  </a:cubicBezTo>
                  <a:cubicBezTo>
                    <a:pt x="47" y="6"/>
                    <a:pt x="45" y="4"/>
                    <a:pt x="42" y="2"/>
                  </a:cubicBezTo>
                  <a:cubicBezTo>
                    <a:pt x="40" y="0"/>
                    <a:pt x="41" y="1"/>
                    <a:pt x="38" y="0"/>
                  </a:cubicBezTo>
                  <a:cubicBezTo>
                    <a:pt x="36" y="0"/>
                    <a:pt x="30" y="0"/>
                    <a:pt x="30" y="0"/>
                  </a:cubicBezTo>
                  <a:cubicBezTo>
                    <a:pt x="30" y="0"/>
                    <a:pt x="26" y="1"/>
                    <a:pt x="23" y="1"/>
                  </a:cubicBezTo>
                  <a:cubicBezTo>
                    <a:pt x="20" y="1"/>
                    <a:pt x="20" y="2"/>
                    <a:pt x="18" y="3"/>
                  </a:cubicBezTo>
                  <a:cubicBezTo>
                    <a:pt x="16" y="3"/>
                    <a:pt x="15" y="4"/>
                    <a:pt x="14" y="4"/>
                  </a:cubicBezTo>
                  <a:cubicBezTo>
                    <a:pt x="13" y="5"/>
                    <a:pt x="10" y="7"/>
                    <a:pt x="10" y="7"/>
                  </a:cubicBezTo>
                  <a:cubicBezTo>
                    <a:pt x="10" y="7"/>
                    <a:pt x="7" y="9"/>
                    <a:pt x="6" y="10"/>
                  </a:cubicBezTo>
                  <a:cubicBezTo>
                    <a:pt x="4" y="10"/>
                    <a:pt x="4" y="11"/>
                    <a:pt x="2" y="13"/>
                  </a:cubicBezTo>
                  <a:cubicBezTo>
                    <a:pt x="0" y="15"/>
                    <a:pt x="2" y="16"/>
                    <a:pt x="1" y="18"/>
                  </a:cubicBezTo>
                  <a:cubicBezTo>
                    <a:pt x="0" y="19"/>
                    <a:pt x="1" y="20"/>
                    <a:pt x="7" y="19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39" name="Freeform 198"/>
            <p:cNvSpPr>
              <a:spLocks/>
            </p:cNvSpPr>
            <p:nvPr/>
          </p:nvSpPr>
          <p:spPr bwMode="auto">
            <a:xfrm>
              <a:off x="5012" y="157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40" name="Freeform 199"/>
            <p:cNvSpPr>
              <a:spLocks/>
            </p:cNvSpPr>
            <p:nvPr/>
          </p:nvSpPr>
          <p:spPr bwMode="auto">
            <a:xfrm>
              <a:off x="3966" y="1492"/>
              <a:ext cx="2090" cy="1374"/>
            </a:xfrm>
            <a:custGeom>
              <a:avLst/>
              <a:gdLst>
                <a:gd name="T0" fmla="*/ 2569 w 2807"/>
                <a:gd name="T1" fmla="*/ 206 h 1845"/>
                <a:gd name="T2" fmla="*/ 2395 w 2807"/>
                <a:gd name="T3" fmla="*/ 193 h 1845"/>
                <a:gd name="T4" fmla="*/ 2160 w 2807"/>
                <a:gd name="T5" fmla="*/ 138 h 1845"/>
                <a:gd name="T6" fmla="*/ 1978 w 2807"/>
                <a:gd name="T7" fmla="*/ 155 h 1845"/>
                <a:gd name="T8" fmla="*/ 1772 w 2807"/>
                <a:gd name="T9" fmla="*/ 122 h 1845"/>
                <a:gd name="T10" fmla="*/ 1762 w 2807"/>
                <a:gd name="T11" fmla="*/ 60 h 1845"/>
                <a:gd name="T12" fmla="*/ 1588 w 2807"/>
                <a:gd name="T13" fmla="*/ 34 h 1845"/>
                <a:gd name="T14" fmla="*/ 1405 w 2807"/>
                <a:gd name="T15" fmla="*/ 107 h 1845"/>
                <a:gd name="T16" fmla="*/ 1289 w 2807"/>
                <a:gd name="T17" fmla="*/ 175 h 1845"/>
                <a:gd name="T18" fmla="*/ 1284 w 2807"/>
                <a:gd name="T19" fmla="*/ 258 h 1845"/>
                <a:gd name="T20" fmla="*/ 1227 w 2807"/>
                <a:gd name="T21" fmla="*/ 240 h 1845"/>
                <a:gd name="T22" fmla="*/ 1153 w 2807"/>
                <a:gd name="T23" fmla="*/ 221 h 1845"/>
                <a:gd name="T24" fmla="*/ 983 w 2807"/>
                <a:gd name="T25" fmla="*/ 240 h 1845"/>
                <a:gd name="T26" fmla="*/ 825 w 2807"/>
                <a:gd name="T27" fmla="*/ 295 h 1845"/>
                <a:gd name="T28" fmla="*/ 708 w 2807"/>
                <a:gd name="T29" fmla="*/ 289 h 1845"/>
                <a:gd name="T30" fmla="*/ 633 w 2807"/>
                <a:gd name="T31" fmla="*/ 184 h 1845"/>
                <a:gd name="T32" fmla="*/ 459 w 2807"/>
                <a:gd name="T33" fmla="*/ 230 h 1845"/>
                <a:gd name="T34" fmla="*/ 331 w 2807"/>
                <a:gd name="T35" fmla="*/ 366 h 1845"/>
                <a:gd name="T36" fmla="*/ 428 w 2807"/>
                <a:gd name="T37" fmla="*/ 506 h 1845"/>
                <a:gd name="T38" fmla="*/ 493 w 2807"/>
                <a:gd name="T39" fmla="*/ 357 h 1845"/>
                <a:gd name="T40" fmla="*/ 574 w 2807"/>
                <a:gd name="T41" fmla="*/ 422 h 1845"/>
                <a:gd name="T42" fmla="*/ 519 w 2807"/>
                <a:gd name="T43" fmla="*/ 502 h 1845"/>
                <a:gd name="T44" fmla="*/ 347 w 2807"/>
                <a:gd name="T45" fmla="*/ 514 h 1845"/>
                <a:gd name="T46" fmla="*/ 181 w 2807"/>
                <a:gd name="T47" fmla="*/ 651 h 1845"/>
                <a:gd name="T48" fmla="*/ 117 w 2807"/>
                <a:gd name="T49" fmla="*/ 827 h 1845"/>
                <a:gd name="T50" fmla="*/ 343 w 2807"/>
                <a:gd name="T51" fmla="*/ 717 h 1845"/>
                <a:gd name="T52" fmla="*/ 407 w 2807"/>
                <a:gd name="T53" fmla="*/ 716 h 1845"/>
                <a:gd name="T54" fmla="*/ 522 w 2807"/>
                <a:gd name="T55" fmla="*/ 803 h 1845"/>
                <a:gd name="T56" fmla="*/ 598 w 2807"/>
                <a:gd name="T57" fmla="*/ 772 h 1845"/>
                <a:gd name="T58" fmla="*/ 690 w 2807"/>
                <a:gd name="T59" fmla="*/ 710 h 1845"/>
                <a:gd name="T60" fmla="*/ 792 w 2807"/>
                <a:gd name="T61" fmla="*/ 740 h 1845"/>
                <a:gd name="T62" fmla="*/ 601 w 2807"/>
                <a:gd name="T63" fmla="*/ 816 h 1845"/>
                <a:gd name="T64" fmla="*/ 672 w 2807"/>
                <a:gd name="T65" fmla="*/ 916 h 1845"/>
                <a:gd name="T66" fmla="*/ 397 w 2807"/>
                <a:gd name="T67" fmla="*/ 889 h 1845"/>
                <a:gd name="T68" fmla="*/ 204 w 2807"/>
                <a:gd name="T69" fmla="*/ 858 h 1845"/>
                <a:gd name="T70" fmla="*/ 5 w 2807"/>
                <a:gd name="T71" fmla="*/ 1051 h 1845"/>
                <a:gd name="T72" fmla="*/ 100 w 2807"/>
                <a:gd name="T73" fmla="*/ 1277 h 1845"/>
                <a:gd name="T74" fmla="*/ 356 w 2807"/>
                <a:gd name="T75" fmla="*/ 1368 h 1845"/>
                <a:gd name="T76" fmla="*/ 463 w 2807"/>
                <a:gd name="T77" fmla="*/ 1762 h 1845"/>
                <a:gd name="T78" fmla="*/ 646 w 2807"/>
                <a:gd name="T79" fmla="*/ 1780 h 1845"/>
                <a:gd name="T80" fmla="*/ 734 w 2807"/>
                <a:gd name="T81" fmla="*/ 1596 h 1845"/>
                <a:gd name="T82" fmla="*/ 804 w 2807"/>
                <a:gd name="T83" fmla="*/ 1361 h 1845"/>
                <a:gd name="T84" fmla="*/ 826 w 2807"/>
                <a:gd name="T85" fmla="*/ 1205 h 1845"/>
                <a:gd name="T86" fmla="*/ 689 w 2807"/>
                <a:gd name="T87" fmla="*/ 974 h 1845"/>
                <a:gd name="T88" fmla="*/ 787 w 2807"/>
                <a:gd name="T89" fmla="*/ 1087 h 1845"/>
                <a:gd name="T90" fmla="*/ 966 w 2807"/>
                <a:gd name="T91" fmla="*/ 1120 h 1845"/>
                <a:gd name="T92" fmla="*/ 931 w 2807"/>
                <a:gd name="T93" fmla="*/ 1004 h 1845"/>
                <a:gd name="T94" fmla="*/ 998 w 2807"/>
                <a:gd name="T95" fmla="*/ 977 h 1845"/>
                <a:gd name="T96" fmla="*/ 1209 w 2807"/>
                <a:gd name="T97" fmla="*/ 1058 h 1845"/>
                <a:gd name="T98" fmla="*/ 1317 w 2807"/>
                <a:gd name="T99" fmla="*/ 1179 h 1845"/>
                <a:gd name="T100" fmla="*/ 1485 w 2807"/>
                <a:gd name="T101" fmla="*/ 1058 h 1845"/>
                <a:gd name="T102" fmla="*/ 1562 w 2807"/>
                <a:gd name="T103" fmla="*/ 1226 h 1845"/>
                <a:gd name="T104" fmla="*/ 1579 w 2807"/>
                <a:gd name="T105" fmla="*/ 1226 h 1845"/>
                <a:gd name="T106" fmla="*/ 1686 w 2807"/>
                <a:gd name="T107" fmla="*/ 1124 h 1845"/>
                <a:gd name="T108" fmla="*/ 1828 w 2807"/>
                <a:gd name="T109" fmla="*/ 1014 h 1845"/>
                <a:gd name="T110" fmla="*/ 1844 w 2807"/>
                <a:gd name="T111" fmla="*/ 826 h 1845"/>
                <a:gd name="T112" fmla="*/ 1956 w 2807"/>
                <a:gd name="T113" fmla="*/ 866 h 1845"/>
                <a:gd name="T114" fmla="*/ 2144 w 2807"/>
                <a:gd name="T115" fmla="*/ 554 h 1845"/>
                <a:gd name="T116" fmla="*/ 2205 w 2807"/>
                <a:gd name="T117" fmla="*/ 439 h 1845"/>
                <a:gd name="T118" fmla="*/ 2398 w 2807"/>
                <a:gd name="T119" fmla="*/ 389 h 1845"/>
                <a:gd name="T120" fmla="*/ 2354 w 2807"/>
                <a:gd name="T121" fmla="*/ 479 h 1845"/>
                <a:gd name="T122" fmla="*/ 2478 w 2807"/>
                <a:gd name="T123" fmla="*/ 416 h 1845"/>
                <a:gd name="T124" fmla="*/ 2720 w 2807"/>
                <a:gd name="T125" fmla="*/ 311 h 1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07" h="1845">
                  <a:moveTo>
                    <a:pt x="2804" y="294"/>
                  </a:moveTo>
                  <a:cubicBezTo>
                    <a:pt x="2803" y="294"/>
                    <a:pt x="2801" y="293"/>
                    <a:pt x="2800" y="293"/>
                  </a:cubicBezTo>
                  <a:cubicBezTo>
                    <a:pt x="2799" y="293"/>
                    <a:pt x="2795" y="291"/>
                    <a:pt x="2793" y="290"/>
                  </a:cubicBezTo>
                  <a:cubicBezTo>
                    <a:pt x="2790" y="288"/>
                    <a:pt x="2790" y="288"/>
                    <a:pt x="2789" y="287"/>
                  </a:cubicBezTo>
                  <a:cubicBezTo>
                    <a:pt x="2788" y="285"/>
                    <a:pt x="2788" y="283"/>
                    <a:pt x="2788" y="282"/>
                  </a:cubicBezTo>
                  <a:cubicBezTo>
                    <a:pt x="2788" y="281"/>
                    <a:pt x="2782" y="280"/>
                    <a:pt x="2781" y="279"/>
                  </a:cubicBezTo>
                  <a:cubicBezTo>
                    <a:pt x="2781" y="278"/>
                    <a:pt x="2780" y="277"/>
                    <a:pt x="2780" y="277"/>
                  </a:cubicBezTo>
                  <a:cubicBezTo>
                    <a:pt x="2780" y="276"/>
                    <a:pt x="2776" y="276"/>
                    <a:pt x="2774" y="275"/>
                  </a:cubicBezTo>
                  <a:cubicBezTo>
                    <a:pt x="2773" y="274"/>
                    <a:pt x="2770" y="276"/>
                    <a:pt x="2767" y="275"/>
                  </a:cubicBezTo>
                  <a:cubicBezTo>
                    <a:pt x="2766" y="275"/>
                    <a:pt x="2763" y="277"/>
                    <a:pt x="2762" y="277"/>
                  </a:cubicBezTo>
                  <a:cubicBezTo>
                    <a:pt x="2761" y="278"/>
                    <a:pt x="2758" y="278"/>
                    <a:pt x="2759" y="275"/>
                  </a:cubicBezTo>
                  <a:cubicBezTo>
                    <a:pt x="2759" y="272"/>
                    <a:pt x="2755" y="273"/>
                    <a:pt x="2753" y="272"/>
                  </a:cubicBezTo>
                  <a:cubicBezTo>
                    <a:pt x="2751" y="272"/>
                    <a:pt x="2743" y="273"/>
                    <a:pt x="2742" y="273"/>
                  </a:cubicBezTo>
                  <a:cubicBezTo>
                    <a:pt x="2741" y="273"/>
                    <a:pt x="2743" y="274"/>
                    <a:pt x="2743" y="274"/>
                  </a:cubicBezTo>
                  <a:cubicBezTo>
                    <a:pt x="2745" y="277"/>
                    <a:pt x="2745" y="277"/>
                    <a:pt x="2745" y="277"/>
                  </a:cubicBezTo>
                  <a:cubicBezTo>
                    <a:pt x="2745" y="277"/>
                    <a:pt x="2746" y="281"/>
                    <a:pt x="2745" y="283"/>
                  </a:cubicBezTo>
                  <a:cubicBezTo>
                    <a:pt x="2744" y="284"/>
                    <a:pt x="2746" y="286"/>
                    <a:pt x="2746" y="287"/>
                  </a:cubicBezTo>
                  <a:cubicBezTo>
                    <a:pt x="2746" y="288"/>
                    <a:pt x="2747" y="290"/>
                    <a:pt x="2747" y="290"/>
                  </a:cubicBezTo>
                  <a:cubicBezTo>
                    <a:pt x="2746" y="290"/>
                    <a:pt x="2745" y="288"/>
                    <a:pt x="2744" y="288"/>
                  </a:cubicBezTo>
                  <a:cubicBezTo>
                    <a:pt x="2742" y="287"/>
                    <a:pt x="2742" y="287"/>
                    <a:pt x="2742" y="288"/>
                  </a:cubicBezTo>
                  <a:cubicBezTo>
                    <a:pt x="2741" y="289"/>
                    <a:pt x="2738" y="288"/>
                    <a:pt x="2738" y="288"/>
                  </a:cubicBezTo>
                  <a:cubicBezTo>
                    <a:pt x="2736" y="280"/>
                    <a:pt x="2736" y="280"/>
                    <a:pt x="2736" y="280"/>
                  </a:cubicBezTo>
                  <a:cubicBezTo>
                    <a:pt x="2736" y="278"/>
                    <a:pt x="2735" y="279"/>
                    <a:pt x="2735" y="277"/>
                  </a:cubicBezTo>
                  <a:cubicBezTo>
                    <a:pt x="2735" y="275"/>
                    <a:pt x="2736" y="275"/>
                    <a:pt x="2735" y="273"/>
                  </a:cubicBezTo>
                  <a:cubicBezTo>
                    <a:pt x="2735" y="271"/>
                    <a:pt x="2736" y="270"/>
                    <a:pt x="2735" y="268"/>
                  </a:cubicBezTo>
                  <a:cubicBezTo>
                    <a:pt x="2735" y="266"/>
                    <a:pt x="2734" y="268"/>
                    <a:pt x="2733" y="268"/>
                  </a:cubicBezTo>
                  <a:cubicBezTo>
                    <a:pt x="2732" y="268"/>
                    <a:pt x="2730" y="267"/>
                    <a:pt x="2730" y="266"/>
                  </a:cubicBezTo>
                  <a:cubicBezTo>
                    <a:pt x="2730" y="265"/>
                    <a:pt x="2730" y="263"/>
                    <a:pt x="2729" y="262"/>
                  </a:cubicBezTo>
                  <a:cubicBezTo>
                    <a:pt x="2728" y="262"/>
                    <a:pt x="2726" y="259"/>
                    <a:pt x="2724" y="257"/>
                  </a:cubicBezTo>
                  <a:cubicBezTo>
                    <a:pt x="2723" y="256"/>
                    <a:pt x="2722" y="256"/>
                    <a:pt x="2721" y="255"/>
                  </a:cubicBezTo>
                  <a:cubicBezTo>
                    <a:pt x="2720" y="254"/>
                    <a:pt x="2718" y="253"/>
                    <a:pt x="2718" y="252"/>
                  </a:cubicBezTo>
                  <a:cubicBezTo>
                    <a:pt x="2717" y="252"/>
                    <a:pt x="2714" y="252"/>
                    <a:pt x="2714" y="251"/>
                  </a:cubicBezTo>
                  <a:cubicBezTo>
                    <a:pt x="2713" y="251"/>
                    <a:pt x="2709" y="250"/>
                    <a:pt x="2707" y="248"/>
                  </a:cubicBezTo>
                  <a:cubicBezTo>
                    <a:pt x="2705" y="246"/>
                    <a:pt x="2704" y="247"/>
                    <a:pt x="2703" y="246"/>
                  </a:cubicBezTo>
                  <a:cubicBezTo>
                    <a:pt x="2702" y="246"/>
                    <a:pt x="2700" y="247"/>
                    <a:pt x="2700" y="246"/>
                  </a:cubicBezTo>
                  <a:cubicBezTo>
                    <a:pt x="2699" y="246"/>
                    <a:pt x="2697" y="246"/>
                    <a:pt x="2696" y="245"/>
                  </a:cubicBezTo>
                  <a:cubicBezTo>
                    <a:pt x="2695" y="244"/>
                    <a:pt x="2693" y="244"/>
                    <a:pt x="2692" y="243"/>
                  </a:cubicBezTo>
                  <a:cubicBezTo>
                    <a:pt x="2691" y="242"/>
                    <a:pt x="2683" y="237"/>
                    <a:pt x="2682" y="235"/>
                  </a:cubicBezTo>
                  <a:cubicBezTo>
                    <a:pt x="2681" y="234"/>
                    <a:pt x="2681" y="235"/>
                    <a:pt x="2680" y="234"/>
                  </a:cubicBezTo>
                  <a:cubicBezTo>
                    <a:pt x="2678" y="233"/>
                    <a:pt x="2679" y="233"/>
                    <a:pt x="2677" y="233"/>
                  </a:cubicBezTo>
                  <a:cubicBezTo>
                    <a:pt x="2676" y="232"/>
                    <a:pt x="2675" y="231"/>
                    <a:pt x="2674" y="231"/>
                  </a:cubicBezTo>
                  <a:cubicBezTo>
                    <a:pt x="2673" y="230"/>
                    <a:pt x="2671" y="232"/>
                    <a:pt x="2669" y="231"/>
                  </a:cubicBezTo>
                  <a:cubicBezTo>
                    <a:pt x="2667" y="231"/>
                    <a:pt x="2666" y="231"/>
                    <a:pt x="2665" y="231"/>
                  </a:cubicBezTo>
                  <a:cubicBezTo>
                    <a:pt x="2665" y="231"/>
                    <a:pt x="2650" y="218"/>
                    <a:pt x="2649" y="218"/>
                  </a:cubicBezTo>
                  <a:cubicBezTo>
                    <a:pt x="2648" y="218"/>
                    <a:pt x="2645" y="218"/>
                    <a:pt x="2644" y="218"/>
                  </a:cubicBezTo>
                  <a:cubicBezTo>
                    <a:pt x="2643" y="218"/>
                    <a:pt x="2640" y="217"/>
                    <a:pt x="2640" y="217"/>
                  </a:cubicBezTo>
                  <a:cubicBezTo>
                    <a:pt x="2640" y="216"/>
                    <a:pt x="2637" y="216"/>
                    <a:pt x="2634" y="215"/>
                  </a:cubicBezTo>
                  <a:cubicBezTo>
                    <a:pt x="2634" y="214"/>
                    <a:pt x="2633" y="215"/>
                    <a:pt x="2632" y="214"/>
                  </a:cubicBezTo>
                  <a:cubicBezTo>
                    <a:pt x="2631" y="213"/>
                    <a:pt x="2627" y="214"/>
                    <a:pt x="2627" y="214"/>
                  </a:cubicBezTo>
                  <a:cubicBezTo>
                    <a:pt x="2626" y="213"/>
                    <a:pt x="2623" y="214"/>
                    <a:pt x="2622" y="212"/>
                  </a:cubicBezTo>
                  <a:cubicBezTo>
                    <a:pt x="2622" y="211"/>
                    <a:pt x="2620" y="211"/>
                    <a:pt x="2619" y="210"/>
                  </a:cubicBezTo>
                  <a:cubicBezTo>
                    <a:pt x="2619" y="208"/>
                    <a:pt x="2615" y="208"/>
                    <a:pt x="2613" y="208"/>
                  </a:cubicBezTo>
                  <a:cubicBezTo>
                    <a:pt x="2611" y="208"/>
                    <a:pt x="2609" y="208"/>
                    <a:pt x="2607" y="208"/>
                  </a:cubicBezTo>
                  <a:cubicBezTo>
                    <a:pt x="2605" y="207"/>
                    <a:pt x="2599" y="208"/>
                    <a:pt x="2598" y="207"/>
                  </a:cubicBezTo>
                  <a:cubicBezTo>
                    <a:pt x="2598" y="206"/>
                    <a:pt x="2593" y="207"/>
                    <a:pt x="2592" y="207"/>
                  </a:cubicBezTo>
                  <a:cubicBezTo>
                    <a:pt x="2591" y="207"/>
                    <a:pt x="2587" y="207"/>
                    <a:pt x="2587" y="207"/>
                  </a:cubicBezTo>
                  <a:cubicBezTo>
                    <a:pt x="2587" y="207"/>
                    <a:pt x="2583" y="208"/>
                    <a:pt x="2583" y="208"/>
                  </a:cubicBezTo>
                  <a:cubicBezTo>
                    <a:pt x="2582" y="208"/>
                    <a:pt x="2580" y="209"/>
                    <a:pt x="2579" y="210"/>
                  </a:cubicBezTo>
                  <a:cubicBezTo>
                    <a:pt x="2578" y="211"/>
                    <a:pt x="2576" y="211"/>
                    <a:pt x="2576" y="211"/>
                  </a:cubicBezTo>
                  <a:cubicBezTo>
                    <a:pt x="2576" y="211"/>
                    <a:pt x="2576" y="209"/>
                    <a:pt x="2575" y="208"/>
                  </a:cubicBezTo>
                  <a:cubicBezTo>
                    <a:pt x="2574" y="208"/>
                    <a:pt x="2572" y="208"/>
                    <a:pt x="2572" y="207"/>
                  </a:cubicBezTo>
                  <a:cubicBezTo>
                    <a:pt x="2571" y="207"/>
                    <a:pt x="2570" y="207"/>
                    <a:pt x="2569" y="206"/>
                  </a:cubicBezTo>
                  <a:cubicBezTo>
                    <a:pt x="2569" y="205"/>
                    <a:pt x="2565" y="206"/>
                    <a:pt x="2565" y="206"/>
                  </a:cubicBezTo>
                  <a:cubicBezTo>
                    <a:pt x="2564" y="206"/>
                    <a:pt x="2560" y="205"/>
                    <a:pt x="2559" y="204"/>
                  </a:cubicBezTo>
                  <a:cubicBezTo>
                    <a:pt x="2558" y="203"/>
                    <a:pt x="2551" y="205"/>
                    <a:pt x="2551" y="205"/>
                  </a:cubicBezTo>
                  <a:cubicBezTo>
                    <a:pt x="2551" y="205"/>
                    <a:pt x="2539" y="203"/>
                    <a:pt x="2538" y="202"/>
                  </a:cubicBezTo>
                  <a:cubicBezTo>
                    <a:pt x="2536" y="201"/>
                    <a:pt x="2536" y="206"/>
                    <a:pt x="2537" y="206"/>
                  </a:cubicBezTo>
                  <a:cubicBezTo>
                    <a:pt x="2537" y="207"/>
                    <a:pt x="2536" y="210"/>
                    <a:pt x="2535" y="211"/>
                  </a:cubicBezTo>
                  <a:cubicBezTo>
                    <a:pt x="2534" y="211"/>
                    <a:pt x="2534" y="212"/>
                    <a:pt x="2534" y="213"/>
                  </a:cubicBezTo>
                  <a:cubicBezTo>
                    <a:pt x="2533" y="214"/>
                    <a:pt x="2536" y="215"/>
                    <a:pt x="2538" y="215"/>
                  </a:cubicBezTo>
                  <a:cubicBezTo>
                    <a:pt x="2539" y="216"/>
                    <a:pt x="2539" y="218"/>
                    <a:pt x="2540" y="219"/>
                  </a:cubicBezTo>
                  <a:cubicBezTo>
                    <a:pt x="2541" y="220"/>
                    <a:pt x="2543" y="223"/>
                    <a:pt x="2543" y="223"/>
                  </a:cubicBezTo>
                  <a:cubicBezTo>
                    <a:pt x="2544" y="226"/>
                    <a:pt x="2544" y="226"/>
                    <a:pt x="2544" y="226"/>
                  </a:cubicBezTo>
                  <a:cubicBezTo>
                    <a:pt x="2544" y="226"/>
                    <a:pt x="2542" y="229"/>
                    <a:pt x="2541" y="230"/>
                  </a:cubicBezTo>
                  <a:cubicBezTo>
                    <a:pt x="2539" y="231"/>
                    <a:pt x="2539" y="232"/>
                    <a:pt x="2538" y="231"/>
                  </a:cubicBezTo>
                  <a:cubicBezTo>
                    <a:pt x="2537" y="231"/>
                    <a:pt x="2535" y="232"/>
                    <a:pt x="2535" y="232"/>
                  </a:cubicBezTo>
                  <a:cubicBezTo>
                    <a:pt x="2535" y="232"/>
                    <a:pt x="2532" y="233"/>
                    <a:pt x="2530" y="233"/>
                  </a:cubicBezTo>
                  <a:cubicBezTo>
                    <a:pt x="2529" y="232"/>
                    <a:pt x="2526" y="234"/>
                    <a:pt x="2525" y="233"/>
                  </a:cubicBezTo>
                  <a:cubicBezTo>
                    <a:pt x="2524" y="233"/>
                    <a:pt x="2524" y="232"/>
                    <a:pt x="2524" y="230"/>
                  </a:cubicBezTo>
                  <a:cubicBezTo>
                    <a:pt x="2524" y="229"/>
                    <a:pt x="2522" y="229"/>
                    <a:pt x="2520" y="227"/>
                  </a:cubicBezTo>
                  <a:cubicBezTo>
                    <a:pt x="2519" y="226"/>
                    <a:pt x="2518" y="225"/>
                    <a:pt x="2517" y="224"/>
                  </a:cubicBezTo>
                  <a:cubicBezTo>
                    <a:pt x="2516" y="222"/>
                    <a:pt x="2513" y="224"/>
                    <a:pt x="2512" y="224"/>
                  </a:cubicBezTo>
                  <a:cubicBezTo>
                    <a:pt x="2511" y="224"/>
                    <a:pt x="2509" y="225"/>
                    <a:pt x="2508" y="224"/>
                  </a:cubicBezTo>
                  <a:cubicBezTo>
                    <a:pt x="2507" y="222"/>
                    <a:pt x="2507" y="221"/>
                    <a:pt x="2507" y="219"/>
                  </a:cubicBezTo>
                  <a:cubicBezTo>
                    <a:pt x="2507" y="218"/>
                    <a:pt x="2506" y="215"/>
                    <a:pt x="2505" y="214"/>
                  </a:cubicBezTo>
                  <a:cubicBezTo>
                    <a:pt x="2504" y="213"/>
                    <a:pt x="2503" y="208"/>
                    <a:pt x="2502" y="208"/>
                  </a:cubicBezTo>
                  <a:cubicBezTo>
                    <a:pt x="2501" y="208"/>
                    <a:pt x="2500" y="210"/>
                    <a:pt x="2500" y="210"/>
                  </a:cubicBezTo>
                  <a:cubicBezTo>
                    <a:pt x="2500" y="210"/>
                    <a:pt x="2497" y="211"/>
                    <a:pt x="2497" y="212"/>
                  </a:cubicBezTo>
                  <a:cubicBezTo>
                    <a:pt x="2496" y="213"/>
                    <a:pt x="2493" y="215"/>
                    <a:pt x="2493" y="215"/>
                  </a:cubicBezTo>
                  <a:cubicBezTo>
                    <a:pt x="2490" y="214"/>
                    <a:pt x="2490" y="214"/>
                    <a:pt x="2490" y="214"/>
                  </a:cubicBezTo>
                  <a:cubicBezTo>
                    <a:pt x="2490" y="214"/>
                    <a:pt x="2485" y="216"/>
                    <a:pt x="2484" y="215"/>
                  </a:cubicBezTo>
                  <a:cubicBezTo>
                    <a:pt x="2483" y="215"/>
                    <a:pt x="2478" y="216"/>
                    <a:pt x="2476" y="214"/>
                  </a:cubicBezTo>
                  <a:cubicBezTo>
                    <a:pt x="2472" y="215"/>
                    <a:pt x="2472" y="215"/>
                    <a:pt x="2472" y="215"/>
                  </a:cubicBezTo>
                  <a:cubicBezTo>
                    <a:pt x="2467" y="214"/>
                    <a:pt x="2467" y="214"/>
                    <a:pt x="2467" y="214"/>
                  </a:cubicBezTo>
                  <a:cubicBezTo>
                    <a:pt x="2461" y="214"/>
                    <a:pt x="2461" y="214"/>
                    <a:pt x="2461" y="214"/>
                  </a:cubicBezTo>
                  <a:cubicBezTo>
                    <a:pt x="2455" y="213"/>
                    <a:pt x="2455" y="213"/>
                    <a:pt x="2455" y="213"/>
                  </a:cubicBezTo>
                  <a:cubicBezTo>
                    <a:pt x="2455" y="213"/>
                    <a:pt x="2452" y="214"/>
                    <a:pt x="2451" y="211"/>
                  </a:cubicBezTo>
                  <a:cubicBezTo>
                    <a:pt x="2450" y="209"/>
                    <a:pt x="2448" y="211"/>
                    <a:pt x="2448" y="211"/>
                  </a:cubicBezTo>
                  <a:cubicBezTo>
                    <a:pt x="2445" y="213"/>
                    <a:pt x="2445" y="213"/>
                    <a:pt x="2445" y="213"/>
                  </a:cubicBezTo>
                  <a:cubicBezTo>
                    <a:pt x="2441" y="212"/>
                    <a:pt x="2441" y="212"/>
                    <a:pt x="2441" y="212"/>
                  </a:cubicBezTo>
                  <a:cubicBezTo>
                    <a:pt x="2437" y="211"/>
                    <a:pt x="2437" y="211"/>
                    <a:pt x="2437" y="211"/>
                  </a:cubicBezTo>
                  <a:cubicBezTo>
                    <a:pt x="2432" y="212"/>
                    <a:pt x="2432" y="212"/>
                    <a:pt x="2432" y="212"/>
                  </a:cubicBezTo>
                  <a:cubicBezTo>
                    <a:pt x="2428" y="212"/>
                    <a:pt x="2428" y="212"/>
                    <a:pt x="2428" y="212"/>
                  </a:cubicBezTo>
                  <a:cubicBezTo>
                    <a:pt x="2427" y="212"/>
                    <a:pt x="2427" y="212"/>
                    <a:pt x="2427" y="212"/>
                  </a:cubicBezTo>
                  <a:cubicBezTo>
                    <a:pt x="2427" y="212"/>
                    <a:pt x="2421" y="212"/>
                    <a:pt x="2421" y="212"/>
                  </a:cubicBezTo>
                  <a:cubicBezTo>
                    <a:pt x="2420" y="211"/>
                    <a:pt x="2418" y="214"/>
                    <a:pt x="2417" y="214"/>
                  </a:cubicBezTo>
                  <a:cubicBezTo>
                    <a:pt x="2417" y="215"/>
                    <a:pt x="2416" y="216"/>
                    <a:pt x="2415" y="216"/>
                  </a:cubicBezTo>
                  <a:cubicBezTo>
                    <a:pt x="2415" y="217"/>
                    <a:pt x="2414" y="220"/>
                    <a:pt x="2414" y="221"/>
                  </a:cubicBezTo>
                  <a:cubicBezTo>
                    <a:pt x="2414" y="222"/>
                    <a:pt x="2416" y="225"/>
                    <a:pt x="2416" y="225"/>
                  </a:cubicBezTo>
                  <a:cubicBezTo>
                    <a:pt x="2416" y="225"/>
                    <a:pt x="2416" y="231"/>
                    <a:pt x="2416" y="232"/>
                  </a:cubicBezTo>
                  <a:cubicBezTo>
                    <a:pt x="2416" y="232"/>
                    <a:pt x="2415" y="231"/>
                    <a:pt x="2414" y="230"/>
                  </a:cubicBezTo>
                  <a:cubicBezTo>
                    <a:pt x="2414" y="229"/>
                    <a:pt x="2412" y="226"/>
                    <a:pt x="2412" y="225"/>
                  </a:cubicBezTo>
                  <a:cubicBezTo>
                    <a:pt x="2411" y="224"/>
                    <a:pt x="2412" y="224"/>
                    <a:pt x="2412" y="222"/>
                  </a:cubicBezTo>
                  <a:cubicBezTo>
                    <a:pt x="2412" y="220"/>
                    <a:pt x="2412" y="220"/>
                    <a:pt x="2412" y="219"/>
                  </a:cubicBezTo>
                  <a:cubicBezTo>
                    <a:pt x="2412" y="218"/>
                    <a:pt x="2410" y="217"/>
                    <a:pt x="2409" y="216"/>
                  </a:cubicBezTo>
                  <a:cubicBezTo>
                    <a:pt x="2409" y="215"/>
                    <a:pt x="2408" y="214"/>
                    <a:pt x="2408" y="213"/>
                  </a:cubicBezTo>
                  <a:cubicBezTo>
                    <a:pt x="2407" y="212"/>
                    <a:pt x="2404" y="212"/>
                    <a:pt x="2404" y="212"/>
                  </a:cubicBezTo>
                  <a:cubicBezTo>
                    <a:pt x="2404" y="212"/>
                    <a:pt x="2401" y="212"/>
                    <a:pt x="2401" y="211"/>
                  </a:cubicBezTo>
                  <a:cubicBezTo>
                    <a:pt x="2400" y="211"/>
                    <a:pt x="2398" y="212"/>
                    <a:pt x="2396" y="211"/>
                  </a:cubicBezTo>
                  <a:cubicBezTo>
                    <a:pt x="2395" y="211"/>
                    <a:pt x="2393" y="211"/>
                    <a:pt x="2392" y="209"/>
                  </a:cubicBezTo>
                  <a:cubicBezTo>
                    <a:pt x="2391" y="208"/>
                    <a:pt x="2392" y="208"/>
                    <a:pt x="2392" y="206"/>
                  </a:cubicBezTo>
                  <a:cubicBezTo>
                    <a:pt x="2392" y="204"/>
                    <a:pt x="2393" y="205"/>
                    <a:pt x="2395" y="204"/>
                  </a:cubicBezTo>
                  <a:cubicBezTo>
                    <a:pt x="2397" y="202"/>
                    <a:pt x="2396" y="202"/>
                    <a:pt x="2396" y="198"/>
                  </a:cubicBezTo>
                  <a:cubicBezTo>
                    <a:pt x="2397" y="195"/>
                    <a:pt x="2396" y="196"/>
                    <a:pt x="2395" y="193"/>
                  </a:cubicBezTo>
                  <a:cubicBezTo>
                    <a:pt x="2395" y="191"/>
                    <a:pt x="2393" y="193"/>
                    <a:pt x="2393" y="193"/>
                  </a:cubicBezTo>
                  <a:cubicBezTo>
                    <a:pt x="2393" y="193"/>
                    <a:pt x="2391" y="191"/>
                    <a:pt x="2390" y="190"/>
                  </a:cubicBezTo>
                  <a:cubicBezTo>
                    <a:pt x="2389" y="188"/>
                    <a:pt x="2387" y="186"/>
                    <a:pt x="2386" y="185"/>
                  </a:cubicBezTo>
                  <a:cubicBezTo>
                    <a:pt x="2385" y="184"/>
                    <a:pt x="2384" y="185"/>
                    <a:pt x="2384" y="184"/>
                  </a:cubicBezTo>
                  <a:cubicBezTo>
                    <a:pt x="2383" y="183"/>
                    <a:pt x="2380" y="183"/>
                    <a:pt x="2380" y="183"/>
                  </a:cubicBezTo>
                  <a:cubicBezTo>
                    <a:pt x="2380" y="183"/>
                    <a:pt x="2377" y="183"/>
                    <a:pt x="2377" y="181"/>
                  </a:cubicBezTo>
                  <a:cubicBezTo>
                    <a:pt x="2376" y="179"/>
                    <a:pt x="2374" y="180"/>
                    <a:pt x="2374" y="180"/>
                  </a:cubicBezTo>
                  <a:cubicBezTo>
                    <a:pt x="2374" y="180"/>
                    <a:pt x="2372" y="180"/>
                    <a:pt x="2371" y="180"/>
                  </a:cubicBezTo>
                  <a:cubicBezTo>
                    <a:pt x="2371" y="179"/>
                    <a:pt x="2370" y="179"/>
                    <a:pt x="2369" y="178"/>
                  </a:cubicBezTo>
                  <a:cubicBezTo>
                    <a:pt x="2369" y="177"/>
                    <a:pt x="2367" y="178"/>
                    <a:pt x="2367" y="178"/>
                  </a:cubicBezTo>
                  <a:cubicBezTo>
                    <a:pt x="2362" y="178"/>
                    <a:pt x="2362" y="178"/>
                    <a:pt x="2362" y="178"/>
                  </a:cubicBezTo>
                  <a:cubicBezTo>
                    <a:pt x="2360" y="178"/>
                    <a:pt x="2360" y="178"/>
                    <a:pt x="2360" y="178"/>
                  </a:cubicBezTo>
                  <a:cubicBezTo>
                    <a:pt x="2355" y="178"/>
                    <a:pt x="2355" y="178"/>
                    <a:pt x="2355" y="178"/>
                  </a:cubicBezTo>
                  <a:cubicBezTo>
                    <a:pt x="2355" y="178"/>
                    <a:pt x="2351" y="178"/>
                    <a:pt x="2349" y="178"/>
                  </a:cubicBezTo>
                  <a:cubicBezTo>
                    <a:pt x="2348" y="177"/>
                    <a:pt x="2347" y="178"/>
                    <a:pt x="2347" y="178"/>
                  </a:cubicBezTo>
                  <a:cubicBezTo>
                    <a:pt x="2347" y="178"/>
                    <a:pt x="2345" y="178"/>
                    <a:pt x="2344" y="178"/>
                  </a:cubicBezTo>
                  <a:cubicBezTo>
                    <a:pt x="2343" y="177"/>
                    <a:pt x="2341" y="177"/>
                    <a:pt x="2341" y="177"/>
                  </a:cubicBezTo>
                  <a:cubicBezTo>
                    <a:pt x="2335" y="178"/>
                    <a:pt x="2335" y="178"/>
                    <a:pt x="2335" y="178"/>
                  </a:cubicBezTo>
                  <a:cubicBezTo>
                    <a:pt x="2332" y="179"/>
                    <a:pt x="2332" y="179"/>
                    <a:pt x="2332" y="179"/>
                  </a:cubicBezTo>
                  <a:cubicBezTo>
                    <a:pt x="2328" y="179"/>
                    <a:pt x="2328" y="179"/>
                    <a:pt x="2328" y="179"/>
                  </a:cubicBezTo>
                  <a:cubicBezTo>
                    <a:pt x="2328" y="179"/>
                    <a:pt x="2322" y="182"/>
                    <a:pt x="2321" y="182"/>
                  </a:cubicBezTo>
                  <a:cubicBezTo>
                    <a:pt x="2321" y="182"/>
                    <a:pt x="2314" y="181"/>
                    <a:pt x="2314" y="181"/>
                  </a:cubicBezTo>
                  <a:cubicBezTo>
                    <a:pt x="2314" y="181"/>
                    <a:pt x="2312" y="183"/>
                    <a:pt x="2312" y="182"/>
                  </a:cubicBezTo>
                  <a:cubicBezTo>
                    <a:pt x="2312" y="181"/>
                    <a:pt x="2305" y="185"/>
                    <a:pt x="2303" y="185"/>
                  </a:cubicBezTo>
                  <a:cubicBezTo>
                    <a:pt x="2302" y="186"/>
                    <a:pt x="2298" y="186"/>
                    <a:pt x="2296" y="185"/>
                  </a:cubicBezTo>
                  <a:cubicBezTo>
                    <a:pt x="2295" y="185"/>
                    <a:pt x="2289" y="183"/>
                    <a:pt x="2290" y="182"/>
                  </a:cubicBezTo>
                  <a:cubicBezTo>
                    <a:pt x="2290" y="181"/>
                    <a:pt x="2289" y="180"/>
                    <a:pt x="2289" y="179"/>
                  </a:cubicBezTo>
                  <a:cubicBezTo>
                    <a:pt x="2290" y="178"/>
                    <a:pt x="2287" y="176"/>
                    <a:pt x="2286" y="175"/>
                  </a:cubicBezTo>
                  <a:cubicBezTo>
                    <a:pt x="2286" y="173"/>
                    <a:pt x="2285" y="173"/>
                    <a:pt x="2284" y="173"/>
                  </a:cubicBezTo>
                  <a:cubicBezTo>
                    <a:pt x="2283" y="172"/>
                    <a:pt x="2280" y="173"/>
                    <a:pt x="2278" y="172"/>
                  </a:cubicBezTo>
                  <a:cubicBezTo>
                    <a:pt x="2276" y="170"/>
                    <a:pt x="2276" y="172"/>
                    <a:pt x="2275" y="171"/>
                  </a:cubicBezTo>
                  <a:cubicBezTo>
                    <a:pt x="2274" y="170"/>
                    <a:pt x="2273" y="170"/>
                    <a:pt x="2271" y="168"/>
                  </a:cubicBezTo>
                  <a:cubicBezTo>
                    <a:pt x="2270" y="167"/>
                    <a:pt x="2270" y="168"/>
                    <a:pt x="2268" y="169"/>
                  </a:cubicBezTo>
                  <a:cubicBezTo>
                    <a:pt x="2267" y="170"/>
                    <a:pt x="2264" y="171"/>
                    <a:pt x="2263" y="170"/>
                  </a:cubicBezTo>
                  <a:cubicBezTo>
                    <a:pt x="2262" y="169"/>
                    <a:pt x="2262" y="169"/>
                    <a:pt x="2261" y="167"/>
                  </a:cubicBezTo>
                  <a:cubicBezTo>
                    <a:pt x="2261" y="166"/>
                    <a:pt x="2258" y="165"/>
                    <a:pt x="2256" y="165"/>
                  </a:cubicBezTo>
                  <a:cubicBezTo>
                    <a:pt x="2253" y="165"/>
                    <a:pt x="2250" y="166"/>
                    <a:pt x="2249" y="166"/>
                  </a:cubicBezTo>
                  <a:cubicBezTo>
                    <a:pt x="2249" y="166"/>
                    <a:pt x="2247" y="165"/>
                    <a:pt x="2248" y="162"/>
                  </a:cubicBezTo>
                  <a:cubicBezTo>
                    <a:pt x="2249" y="160"/>
                    <a:pt x="2255" y="165"/>
                    <a:pt x="2257" y="165"/>
                  </a:cubicBezTo>
                  <a:cubicBezTo>
                    <a:pt x="2260" y="164"/>
                    <a:pt x="2256" y="163"/>
                    <a:pt x="2255" y="161"/>
                  </a:cubicBezTo>
                  <a:cubicBezTo>
                    <a:pt x="2254" y="159"/>
                    <a:pt x="2255" y="159"/>
                    <a:pt x="2255" y="159"/>
                  </a:cubicBezTo>
                  <a:cubicBezTo>
                    <a:pt x="2256" y="158"/>
                    <a:pt x="2258" y="157"/>
                    <a:pt x="2258" y="156"/>
                  </a:cubicBezTo>
                  <a:cubicBezTo>
                    <a:pt x="2259" y="154"/>
                    <a:pt x="2258" y="154"/>
                    <a:pt x="2258" y="154"/>
                  </a:cubicBezTo>
                  <a:cubicBezTo>
                    <a:pt x="2257" y="153"/>
                    <a:pt x="2252" y="150"/>
                    <a:pt x="2251" y="150"/>
                  </a:cubicBezTo>
                  <a:cubicBezTo>
                    <a:pt x="2251" y="150"/>
                    <a:pt x="2239" y="147"/>
                    <a:pt x="2237" y="146"/>
                  </a:cubicBezTo>
                  <a:cubicBezTo>
                    <a:pt x="2235" y="145"/>
                    <a:pt x="2233" y="146"/>
                    <a:pt x="2231" y="146"/>
                  </a:cubicBezTo>
                  <a:cubicBezTo>
                    <a:pt x="2230" y="145"/>
                    <a:pt x="2228" y="146"/>
                    <a:pt x="2227" y="146"/>
                  </a:cubicBezTo>
                  <a:cubicBezTo>
                    <a:pt x="2226" y="146"/>
                    <a:pt x="2223" y="147"/>
                    <a:pt x="2222" y="147"/>
                  </a:cubicBezTo>
                  <a:cubicBezTo>
                    <a:pt x="2221" y="147"/>
                    <a:pt x="2220" y="148"/>
                    <a:pt x="2220" y="148"/>
                  </a:cubicBezTo>
                  <a:cubicBezTo>
                    <a:pt x="2218" y="148"/>
                    <a:pt x="2218" y="148"/>
                    <a:pt x="2218" y="148"/>
                  </a:cubicBezTo>
                  <a:cubicBezTo>
                    <a:pt x="2218" y="148"/>
                    <a:pt x="2215" y="147"/>
                    <a:pt x="2215" y="145"/>
                  </a:cubicBezTo>
                  <a:cubicBezTo>
                    <a:pt x="2215" y="145"/>
                    <a:pt x="2215" y="145"/>
                    <a:pt x="2215" y="145"/>
                  </a:cubicBezTo>
                  <a:cubicBezTo>
                    <a:pt x="2214" y="144"/>
                    <a:pt x="2212" y="144"/>
                    <a:pt x="2212" y="144"/>
                  </a:cubicBezTo>
                  <a:cubicBezTo>
                    <a:pt x="2212" y="144"/>
                    <a:pt x="2208" y="143"/>
                    <a:pt x="2208" y="142"/>
                  </a:cubicBezTo>
                  <a:cubicBezTo>
                    <a:pt x="2207" y="141"/>
                    <a:pt x="2203" y="142"/>
                    <a:pt x="2202" y="141"/>
                  </a:cubicBezTo>
                  <a:cubicBezTo>
                    <a:pt x="2200" y="140"/>
                    <a:pt x="2198" y="141"/>
                    <a:pt x="2196" y="141"/>
                  </a:cubicBezTo>
                  <a:cubicBezTo>
                    <a:pt x="2194" y="140"/>
                    <a:pt x="2193" y="141"/>
                    <a:pt x="2192" y="140"/>
                  </a:cubicBezTo>
                  <a:cubicBezTo>
                    <a:pt x="2191" y="140"/>
                    <a:pt x="2189" y="142"/>
                    <a:pt x="2188" y="140"/>
                  </a:cubicBezTo>
                  <a:cubicBezTo>
                    <a:pt x="2187" y="138"/>
                    <a:pt x="2184" y="140"/>
                    <a:pt x="2182" y="139"/>
                  </a:cubicBezTo>
                  <a:cubicBezTo>
                    <a:pt x="2181" y="138"/>
                    <a:pt x="2178" y="139"/>
                    <a:pt x="2178" y="139"/>
                  </a:cubicBezTo>
                  <a:cubicBezTo>
                    <a:pt x="2165" y="138"/>
                    <a:pt x="2165" y="138"/>
                    <a:pt x="2165" y="138"/>
                  </a:cubicBezTo>
                  <a:cubicBezTo>
                    <a:pt x="2165" y="138"/>
                    <a:pt x="2161" y="138"/>
                    <a:pt x="2160" y="138"/>
                  </a:cubicBezTo>
                  <a:cubicBezTo>
                    <a:pt x="2159" y="138"/>
                    <a:pt x="2155" y="137"/>
                    <a:pt x="2155" y="137"/>
                  </a:cubicBezTo>
                  <a:cubicBezTo>
                    <a:pt x="2155" y="137"/>
                    <a:pt x="2151" y="138"/>
                    <a:pt x="2150" y="138"/>
                  </a:cubicBezTo>
                  <a:cubicBezTo>
                    <a:pt x="2149" y="138"/>
                    <a:pt x="2147" y="139"/>
                    <a:pt x="2145" y="137"/>
                  </a:cubicBezTo>
                  <a:cubicBezTo>
                    <a:pt x="2143" y="136"/>
                    <a:pt x="2144" y="135"/>
                    <a:pt x="2141" y="134"/>
                  </a:cubicBezTo>
                  <a:cubicBezTo>
                    <a:pt x="2138" y="133"/>
                    <a:pt x="2138" y="134"/>
                    <a:pt x="2136" y="134"/>
                  </a:cubicBezTo>
                  <a:cubicBezTo>
                    <a:pt x="2134" y="134"/>
                    <a:pt x="2134" y="134"/>
                    <a:pt x="2136" y="136"/>
                  </a:cubicBezTo>
                  <a:cubicBezTo>
                    <a:pt x="2136" y="137"/>
                    <a:pt x="2137" y="139"/>
                    <a:pt x="2138" y="140"/>
                  </a:cubicBezTo>
                  <a:cubicBezTo>
                    <a:pt x="2138" y="141"/>
                    <a:pt x="2138" y="143"/>
                    <a:pt x="2137" y="144"/>
                  </a:cubicBezTo>
                  <a:cubicBezTo>
                    <a:pt x="2137" y="144"/>
                    <a:pt x="2133" y="145"/>
                    <a:pt x="2131" y="144"/>
                  </a:cubicBezTo>
                  <a:cubicBezTo>
                    <a:pt x="2129" y="143"/>
                    <a:pt x="2129" y="144"/>
                    <a:pt x="2124" y="144"/>
                  </a:cubicBezTo>
                  <a:cubicBezTo>
                    <a:pt x="2119" y="143"/>
                    <a:pt x="2119" y="144"/>
                    <a:pt x="2118" y="145"/>
                  </a:cubicBezTo>
                  <a:cubicBezTo>
                    <a:pt x="2116" y="145"/>
                    <a:pt x="2116" y="145"/>
                    <a:pt x="2115" y="146"/>
                  </a:cubicBezTo>
                  <a:cubicBezTo>
                    <a:pt x="2115" y="147"/>
                    <a:pt x="2114" y="149"/>
                    <a:pt x="2114" y="150"/>
                  </a:cubicBezTo>
                  <a:cubicBezTo>
                    <a:pt x="2114" y="151"/>
                    <a:pt x="2115" y="153"/>
                    <a:pt x="2115" y="153"/>
                  </a:cubicBezTo>
                  <a:cubicBezTo>
                    <a:pt x="2115" y="153"/>
                    <a:pt x="2117" y="151"/>
                    <a:pt x="2118" y="150"/>
                  </a:cubicBezTo>
                  <a:cubicBezTo>
                    <a:pt x="2119" y="149"/>
                    <a:pt x="2121" y="150"/>
                    <a:pt x="2123" y="150"/>
                  </a:cubicBezTo>
                  <a:cubicBezTo>
                    <a:pt x="2125" y="150"/>
                    <a:pt x="2124" y="152"/>
                    <a:pt x="2123" y="153"/>
                  </a:cubicBezTo>
                  <a:cubicBezTo>
                    <a:pt x="2121" y="154"/>
                    <a:pt x="2122" y="155"/>
                    <a:pt x="2122" y="155"/>
                  </a:cubicBezTo>
                  <a:cubicBezTo>
                    <a:pt x="2122" y="155"/>
                    <a:pt x="2119" y="159"/>
                    <a:pt x="2119" y="159"/>
                  </a:cubicBezTo>
                  <a:cubicBezTo>
                    <a:pt x="2119" y="160"/>
                    <a:pt x="2120" y="162"/>
                    <a:pt x="2120" y="163"/>
                  </a:cubicBezTo>
                  <a:cubicBezTo>
                    <a:pt x="2120" y="164"/>
                    <a:pt x="2122" y="167"/>
                    <a:pt x="2123" y="168"/>
                  </a:cubicBezTo>
                  <a:cubicBezTo>
                    <a:pt x="2123" y="169"/>
                    <a:pt x="2122" y="168"/>
                    <a:pt x="2120" y="168"/>
                  </a:cubicBezTo>
                  <a:cubicBezTo>
                    <a:pt x="2118" y="169"/>
                    <a:pt x="2116" y="169"/>
                    <a:pt x="2115" y="168"/>
                  </a:cubicBezTo>
                  <a:cubicBezTo>
                    <a:pt x="2114" y="167"/>
                    <a:pt x="2115" y="167"/>
                    <a:pt x="2113" y="165"/>
                  </a:cubicBezTo>
                  <a:cubicBezTo>
                    <a:pt x="2112" y="164"/>
                    <a:pt x="2110" y="164"/>
                    <a:pt x="2110" y="164"/>
                  </a:cubicBezTo>
                  <a:cubicBezTo>
                    <a:pt x="2110" y="164"/>
                    <a:pt x="2102" y="166"/>
                    <a:pt x="2100" y="167"/>
                  </a:cubicBezTo>
                  <a:cubicBezTo>
                    <a:pt x="2099" y="167"/>
                    <a:pt x="2097" y="167"/>
                    <a:pt x="2096" y="166"/>
                  </a:cubicBezTo>
                  <a:cubicBezTo>
                    <a:pt x="2095" y="166"/>
                    <a:pt x="2097" y="168"/>
                    <a:pt x="2098" y="169"/>
                  </a:cubicBezTo>
                  <a:cubicBezTo>
                    <a:pt x="2100" y="169"/>
                    <a:pt x="2099" y="172"/>
                    <a:pt x="2098" y="174"/>
                  </a:cubicBezTo>
                  <a:cubicBezTo>
                    <a:pt x="2098" y="176"/>
                    <a:pt x="2096" y="177"/>
                    <a:pt x="2095" y="176"/>
                  </a:cubicBezTo>
                  <a:cubicBezTo>
                    <a:pt x="2094" y="175"/>
                    <a:pt x="2092" y="175"/>
                    <a:pt x="2091" y="175"/>
                  </a:cubicBezTo>
                  <a:cubicBezTo>
                    <a:pt x="2090" y="175"/>
                    <a:pt x="2087" y="175"/>
                    <a:pt x="2087" y="173"/>
                  </a:cubicBezTo>
                  <a:cubicBezTo>
                    <a:pt x="2086" y="172"/>
                    <a:pt x="2083" y="172"/>
                    <a:pt x="2082" y="169"/>
                  </a:cubicBezTo>
                  <a:cubicBezTo>
                    <a:pt x="2080" y="166"/>
                    <a:pt x="2077" y="165"/>
                    <a:pt x="2077" y="165"/>
                  </a:cubicBezTo>
                  <a:cubicBezTo>
                    <a:pt x="2077" y="165"/>
                    <a:pt x="2073" y="165"/>
                    <a:pt x="2072" y="164"/>
                  </a:cubicBezTo>
                  <a:cubicBezTo>
                    <a:pt x="2071" y="163"/>
                    <a:pt x="2067" y="165"/>
                    <a:pt x="2067" y="165"/>
                  </a:cubicBezTo>
                  <a:cubicBezTo>
                    <a:pt x="2066" y="165"/>
                    <a:pt x="2061" y="166"/>
                    <a:pt x="2060" y="166"/>
                  </a:cubicBezTo>
                  <a:cubicBezTo>
                    <a:pt x="2058" y="166"/>
                    <a:pt x="2057" y="168"/>
                    <a:pt x="2056" y="169"/>
                  </a:cubicBezTo>
                  <a:cubicBezTo>
                    <a:pt x="2054" y="170"/>
                    <a:pt x="2052" y="171"/>
                    <a:pt x="2050" y="171"/>
                  </a:cubicBezTo>
                  <a:cubicBezTo>
                    <a:pt x="2049" y="170"/>
                    <a:pt x="2039" y="171"/>
                    <a:pt x="2039" y="169"/>
                  </a:cubicBezTo>
                  <a:cubicBezTo>
                    <a:pt x="2039" y="168"/>
                    <a:pt x="2035" y="169"/>
                    <a:pt x="2034" y="168"/>
                  </a:cubicBezTo>
                  <a:cubicBezTo>
                    <a:pt x="2033" y="167"/>
                    <a:pt x="2031" y="165"/>
                    <a:pt x="2030" y="164"/>
                  </a:cubicBezTo>
                  <a:cubicBezTo>
                    <a:pt x="2030" y="162"/>
                    <a:pt x="2028" y="161"/>
                    <a:pt x="2027" y="160"/>
                  </a:cubicBezTo>
                  <a:cubicBezTo>
                    <a:pt x="2026" y="158"/>
                    <a:pt x="2025" y="158"/>
                    <a:pt x="2024" y="158"/>
                  </a:cubicBezTo>
                  <a:cubicBezTo>
                    <a:pt x="2022" y="159"/>
                    <a:pt x="2023" y="162"/>
                    <a:pt x="2023" y="162"/>
                  </a:cubicBezTo>
                  <a:cubicBezTo>
                    <a:pt x="2023" y="162"/>
                    <a:pt x="2021" y="167"/>
                    <a:pt x="2018" y="170"/>
                  </a:cubicBezTo>
                  <a:cubicBezTo>
                    <a:pt x="2018" y="170"/>
                    <a:pt x="2016" y="173"/>
                    <a:pt x="2015" y="175"/>
                  </a:cubicBezTo>
                  <a:cubicBezTo>
                    <a:pt x="2015" y="175"/>
                    <a:pt x="2015" y="175"/>
                    <a:pt x="2015" y="176"/>
                  </a:cubicBezTo>
                  <a:cubicBezTo>
                    <a:pt x="2015" y="178"/>
                    <a:pt x="2013" y="178"/>
                    <a:pt x="2012" y="179"/>
                  </a:cubicBezTo>
                  <a:cubicBezTo>
                    <a:pt x="2011" y="181"/>
                    <a:pt x="2010" y="182"/>
                    <a:pt x="2010" y="183"/>
                  </a:cubicBezTo>
                  <a:cubicBezTo>
                    <a:pt x="2009" y="184"/>
                    <a:pt x="2007" y="186"/>
                    <a:pt x="2005" y="185"/>
                  </a:cubicBezTo>
                  <a:cubicBezTo>
                    <a:pt x="2004" y="184"/>
                    <a:pt x="2004" y="185"/>
                    <a:pt x="2003" y="184"/>
                  </a:cubicBezTo>
                  <a:cubicBezTo>
                    <a:pt x="2002" y="184"/>
                    <a:pt x="2000" y="184"/>
                    <a:pt x="1999" y="183"/>
                  </a:cubicBezTo>
                  <a:cubicBezTo>
                    <a:pt x="1997" y="183"/>
                    <a:pt x="1995" y="182"/>
                    <a:pt x="1994" y="181"/>
                  </a:cubicBezTo>
                  <a:cubicBezTo>
                    <a:pt x="1992" y="180"/>
                    <a:pt x="1990" y="178"/>
                    <a:pt x="1989" y="178"/>
                  </a:cubicBezTo>
                  <a:cubicBezTo>
                    <a:pt x="1988" y="177"/>
                    <a:pt x="1987" y="174"/>
                    <a:pt x="1986" y="173"/>
                  </a:cubicBezTo>
                  <a:cubicBezTo>
                    <a:pt x="1986" y="172"/>
                    <a:pt x="1977" y="167"/>
                    <a:pt x="1976" y="164"/>
                  </a:cubicBezTo>
                  <a:cubicBezTo>
                    <a:pt x="1975" y="161"/>
                    <a:pt x="1974" y="163"/>
                    <a:pt x="1973" y="162"/>
                  </a:cubicBezTo>
                  <a:cubicBezTo>
                    <a:pt x="1971" y="161"/>
                    <a:pt x="1970" y="159"/>
                    <a:pt x="1969" y="157"/>
                  </a:cubicBezTo>
                  <a:cubicBezTo>
                    <a:pt x="1968" y="155"/>
                    <a:pt x="1968" y="154"/>
                    <a:pt x="1969" y="152"/>
                  </a:cubicBezTo>
                  <a:cubicBezTo>
                    <a:pt x="1969" y="152"/>
                    <a:pt x="1972" y="154"/>
                    <a:pt x="1974" y="155"/>
                  </a:cubicBezTo>
                  <a:cubicBezTo>
                    <a:pt x="1975" y="155"/>
                    <a:pt x="1977" y="155"/>
                    <a:pt x="1978" y="155"/>
                  </a:cubicBezTo>
                  <a:cubicBezTo>
                    <a:pt x="1979" y="154"/>
                    <a:pt x="1980" y="153"/>
                    <a:pt x="1981" y="151"/>
                  </a:cubicBezTo>
                  <a:cubicBezTo>
                    <a:pt x="1983" y="149"/>
                    <a:pt x="1981" y="148"/>
                    <a:pt x="1981" y="146"/>
                  </a:cubicBezTo>
                  <a:cubicBezTo>
                    <a:pt x="1981" y="144"/>
                    <a:pt x="1979" y="145"/>
                    <a:pt x="1977" y="145"/>
                  </a:cubicBezTo>
                  <a:cubicBezTo>
                    <a:pt x="1976" y="144"/>
                    <a:pt x="1974" y="144"/>
                    <a:pt x="1973" y="143"/>
                  </a:cubicBezTo>
                  <a:cubicBezTo>
                    <a:pt x="1971" y="142"/>
                    <a:pt x="1974" y="142"/>
                    <a:pt x="1975" y="140"/>
                  </a:cubicBezTo>
                  <a:cubicBezTo>
                    <a:pt x="1976" y="139"/>
                    <a:pt x="1976" y="140"/>
                    <a:pt x="1977" y="138"/>
                  </a:cubicBezTo>
                  <a:cubicBezTo>
                    <a:pt x="1978" y="136"/>
                    <a:pt x="1976" y="136"/>
                    <a:pt x="1974" y="134"/>
                  </a:cubicBezTo>
                  <a:cubicBezTo>
                    <a:pt x="1972" y="132"/>
                    <a:pt x="1971" y="132"/>
                    <a:pt x="1970" y="131"/>
                  </a:cubicBezTo>
                  <a:cubicBezTo>
                    <a:pt x="1970" y="130"/>
                    <a:pt x="1974" y="131"/>
                    <a:pt x="1975" y="130"/>
                  </a:cubicBezTo>
                  <a:cubicBezTo>
                    <a:pt x="1975" y="129"/>
                    <a:pt x="1975" y="128"/>
                    <a:pt x="1974" y="125"/>
                  </a:cubicBezTo>
                  <a:cubicBezTo>
                    <a:pt x="1974" y="123"/>
                    <a:pt x="1971" y="125"/>
                    <a:pt x="1969" y="123"/>
                  </a:cubicBezTo>
                  <a:cubicBezTo>
                    <a:pt x="1967" y="121"/>
                    <a:pt x="1965" y="121"/>
                    <a:pt x="1965" y="121"/>
                  </a:cubicBezTo>
                  <a:cubicBezTo>
                    <a:pt x="1965" y="121"/>
                    <a:pt x="1965" y="118"/>
                    <a:pt x="1965" y="116"/>
                  </a:cubicBezTo>
                  <a:cubicBezTo>
                    <a:pt x="1965" y="114"/>
                    <a:pt x="1960" y="116"/>
                    <a:pt x="1957" y="115"/>
                  </a:cubicBezTo>
                  <a:cubicBezTo>
                    <a:pt x="1954" y="114"/>
                    <a:pt x="1952" y="115"/>
                    <a:pt x="1950" y="115"/>
                  </a:cubicBezTo>
                  <a:cubicBezTo>
                    <a:pt x="1948" y="116"/>
                    <a:pt x="1948" y="117"/>
                    <a:pt x="1947" y="117"/>
                  </a:cubicBezTo>
                  <a:cubicBezTo>
                    <a:pt x="1946" y="118"/>
                    <a:pt x="1944" y="119"/>
                    <a:pt x="1943" y="119"/>
                  </a:cubicBezTo>
                  <a:cubicBezTo>
                    <a:pt x="1941" y="119"/>
                    <a:pt x="1942" y="118"/>
                    <a:pt x="1942" y="116"/>
                  </a:cubicBezTo>
                  <a:cubicBezTo>
                    <a:pt x="1942" y="115"/>
                    <a:pt x="1939" y="115"/>
                    <a:pt x="1938" y="115"/>
                  </a:cubicBezTo>
                  <a:cubicBezTo>
                    <a:pt x="1937" y="115"/>
                    <a:pt x="1933" y="117"/>
                    <a:pt x="1931" y="117"/>
                  </a:cubicBezTo>
                  <a:cubicBezTo>
                    <a:pt x="1930" y="118"/>
                    <a:pt x="1925" y="116"/>
                    <a:pt x="1925" y="114"/>
                  </a:cubicBezTo>
                  <a:cubicBezTo>
                    <a:pt x="1925" y="113"/>
                    <a:pt x="1922" y="113"/>
                    <a:pt x="1922" y="112"/>
                  </a:cubicBezTo>
                  <a:cubicBezTo>
                    <a:pt x="1922" y="111"/>
                    <a:pt x="1919" y="112"/>
                    <a:pt x="1918" y="110"/>
                  </a:cubicBezTo>
                  <a:cubicBezTo>
                    <a:pt x="1918" y="109"/>
                    <a:pt x="1917" y="107"/>
                    <a:pt x="1915" y="106"/>
                  </a:cubicBezTo>
                  <a:cubicBezTo>
                    <a:pt x="1912" y="105"/>
                    <a:pt x="1915" y="106"/>
                    <a:pt x="1913" y="111"/>
                  </a:cubicBezTo>
                  <a:cubicBezTo>
                    <a:pt x="1912" y="115"/>
                    <a:pt x="1910" y="113"/>
                    <a:pt x="1908" y="113"/>
                  </a:cubicBezTo>
                  <a:cubicBezTo>
                    <a:pt x="1907" y="113"/>
                    <a:pt x="1906" y="112"/>
                    <a:pt x="1904" y="113"/>
                  </a:cubicBezTo>
                  <a:cubicBezTo>
                    <a:pt x="1902" y="113"/>
                    <a:pt x="1902" y="114"/>
                    <a:pt x="1901" y="115"/>
                  </a:cubicBezTo>
                  <a:cubicBezTo>
                    <a:pt x="1899" y="115"/>
                    <a:pt x="1899" y="118"/>
                    <a:pt x="1901" y="121"/>
                  </a:cubicBezTo>
                  <a:cubicBezTo>
                    <a:pt x="1901" y="121"/>
                    <a:pt x="1902" y="123"/>
                    <a:pt x="1901" y="124"/>
                  </a:cubicBezTo>
                  <a:cubicBezTo>
                    <a:pt x="1901" y="126"/>
                    <a:pt x="1901" y="126"/>
                    <a:pt x="1901" y="127"/>
                  </a:cubicBezTo>
                  <a:cubicBezTo>
                    <a:pt x="1901" y="128"/>
                    <a:pt x="1902" y="129"/>
                    <a:pt x="1902" y="129"/>
                  </a:cubicBezTo>
                  <a:cubicBezTo>
                    <a:pt x="1902" y="129"/>
                    <a:pt x="1901" y="133"/>
                    <a:pt x="1901" y="134"/>
                  </a:cubicBezTo>
                  <a:cubicBezTo>
                    <a:pt x="1900" y="135"/>
                    <a:pt x="1897" y="134"/>
                    <a:pt x="1896" y="133"/>
                  </a:cubicBezTo>
                  <a:cubicBezTo>
                    <a:pt x="1895" y="132"/>
                    <a:pt x="1892" y="132"/>
                    <a:pt x="1892" y="131"/>
                  </a:cubicBezTo>
                  <a:cubicBezTo>
                    <a:pt x="1891" y="129"/>
                    <a:pt x="1887" y="131"/>
                    <a:pt x="1886" y="130"/>
                  </a:cubicBezTo>
                  <a:cubicBezTo>
                    <a:pt x="1884" y="130"/>
                    <a:pt x="1879" y="130"/>
                    <a:pt x="1876" y="130"/>
                  </a:cubicBezTo>
                  <a:cubicBezTo>
                    <a:pt x="1874" y="129"/>
                    <a:pt x="1876" y="130"/>
                    <a:pt x="1875" y="129"/>
                  </a:cubicBezTo>
                  <a:cubicBezTo>
                    <a:pt x="1874" y="129"/>
                    <a:pt x="1871" y="130"/>
                    <a:pt x="1869" y="131"/>
                  </a:cubicBezTo>
                  <a:cubicBezTo>
                    <a:pt x="1868" y="131"/>
                    <a:pt x="1866" y="131"/>
                    <a:pt x="1865" y="130"/>
                  </a:cubicBezTo>
                  <a:cubicBezTo>
                    <a:pt x="1864" y="128"/>
                    <a:pt x="1861" y="129"/>
                    <a:pt x="1861" y="129"/>
                  </a:cubicBezTo>
                  <a:cubicBezTo>
                    <a:pt x="1861" y="129"/>
                    <a:pt x="1859" y="126"/>
                    <a:pt x="1857" y="125"/>
                  </a:cubicBezTo>
                  <a:cubicBezTo>
                    <a:pt x="1856" y="124"/>
                    <a:pt x="1855" y="126"/>
                    <a:pt x="1854" y="126"/>
                  </a:cubicBezTo>
                  <a:cubicBezTo>
                    <a:pt x="1853" y="127"/>
                    <a:pt x="1852" y="128"/>
                    <a:pt x="1851" y="129"/>
                  </a:cubicBezTo>
                  <a:cubicBezTo>
                    <a:pt x="1850" y="129"/>
                    <a:pt x="1846" y="129"/>
                    <a:pt x="1845" y="128"/>
                  </a:cubicBezTo>
                  <a:cubicBezTo>
                    <a:pt x="1844" y="127"/>
                    <a:pt x="1843" y="127"/>
                    <a:pt x="1842" y="126"/>
                  </a:cubicBezTo>
                  <a:cubicBezTo>
                    <a:pt x="1841" y="124"/>
                    <a:pt x="1838" y="125"/>
                    <a:pt x="1836" y="123"/>
                  </a:cubicBezTo>
                  <a:cubicBezTo>
                    <a:pt x="1835" y="121"/>
                    <a:pt x="1835" y="121"/>
                    <a:pt x="1835" y="119"/>
                  </a:cubicBezTo>
                  <a:cubicBezTo>
                    <a:pt x="1835" y="118"/>
                    <a:pt x="1837" y="119"/>
                    <a:pt x="1838" y="118"/>
                  </a:cubicBezTo>
                  <a:cubicBezTo>
                    <a:pt x="1838" y="117"/>
                    <a:pt x="1838" y="117"/>
                    <a:pt x="1836" y="116"/>
                  </a:cubicBezTo>
                  <a:cubicBezTo>
                    <a:pt x="1835" y="115"/>
                    <a:pt x="1834" y="116"/>
                    <a:pt x="1830" y="117"/>
                  </a:cubicBezTo>
                  <a:cubicBezTo>
                    <a:pt x="1827" y="117"/>
                    <a:pt x="1820" y="114"/>
                    <a:pt x="1818" y="114"/>
                  </a:cubicBezTo>
                  <a:cubicBezTo>
                    <a:pt x="1816" y="113"/>
                    <a:pt x="1814" y="114"/>
                    <a:pt x="1813" y="113"/>
                  </a:cubicBezTo>
                  <a:cubicBezTo>
                    <a:pt x="1812" y="113"/>
                    <a:pt x="1810" y="112"/>
                    <a:pt x="1809" y="111"/>
                  </a:cubicBezTo>
                  <a:cubicBezTo>
                    <a:pt x="1808" y="111"/>
                    <a:pt x="1805" y="112"/>
                    <a:pt x="1804" y="111"/>
                  </a:cubicBezTo>
                  <a:cubicBezTo>
                    <a:pt x="1803" y="111"/>
                    <a:pt x="1800" y="112"/>
                    <a:pt x="1799" y="111"/>
                  </a:cubicBezTo>
                  <a:cubicBezTo>
                    <a:pt x="1798" y="111"/>
                    <a:pt x="1795" y="111"/>
                    <a:pt x="1794" y="111"/>
                  </a:cubicBezTo>
                  <a:cubicBezTo>
                    <a:pt x="1794" y="110"/>
                    <a:pt x="1791" y="112"/>
                    <a:pt x="1790" y="112"/>
                  </a:cubicBezTo>
                  <a:cubicBezTo>
                    <a:pt x="1788" y="113"/>
                    <a:pt x="1785" y="114"/>
                    <a:pt x="1783" y="114"/>
                  </a:cubicBezTo>
                  <a:cubicBezTo>
                    <a:pt x="1782" y="114"/>
                    <a:pt x="1778" y="114"/>
                    <a:pt x="1776" y="114"/>
                  </a:cubicBezTo>
                  <a:cubicBezTo>
                    <a:pt x="1775" y="113"/>
                    <a:pt x="1769" y="116"/>
                    <a:pt x="1769" y="118"/>
                  </a:cubicBezTo>
                  <a:cubicBezTo>
                    <a:pt x="1769" y="119"/>
                    <a:pt x="1772" y="122"/>
                    <a:pt x="1772" y="122"/>
                  </a:cubicBezTo>
                  <a:cubicBezTo>
                    <a:pt x="1772" y="122"/>
                    <a:pt x="1767" y="122"/>
                    <a:pt x="1766" y="121"/>
                  </a:cubicBezTo>
                  <a:cubicBezTo>
                    <a:pt x="1765" y="119"/>
                    <a:pt x="1763" y="119"/>
                    <a:pt x="1763" y="118"/>
                  </a:cubicBezTo>
                  <a:cubicBezTo>
                    <a:pt x="1763" y="116"/>
                    <a:pt x="1765" y="116"/>
                    <a:pt x="1765" y="114"/>
                  </a:cubicBezTo>
                  <a:cubicBezTo>
                    <a:pt x="1765" y="113"/>
                    <a:pt x="1765" y="113"/>
                    <a:pt x="1763" y="111"/>
                  </a:cubicBezTo>
                  <a:cubicBezTo>
                    <a:pt x="1762" y="109"/>
                    <a:pt x="1761" y="107"/>
                    <a:pt x="1761" y="107"/>
                  </a:cubicBezTo>
                  <a:cubicBezTo>
                    <a:pt x="1761" y="107"/>
                    <a:pt x="1756" y="111"/>
                    <a:pt x="1755" y="112"/>
                  </a:cubicBezTo>
                  <a:cubicBezTo>
                    <a:pt x="1754" y="112"/>
                    <a:pt x="1751" y="113"/>
                    <a:pt x="1751" y="112"/>
                  </a:cubicBezTo>
                  <a:cubicBezTo>
                    <a:pt x="1750" y="112"/>
                    <a:pt x="1747" y="112"/>
                    <a:pt x="1745" y="111"/>
                  </a:cubicBezTo>
                  <a:cubicBezTo>
                    <a:pt x="1743" y="109"/>
                    <a:pt x="1742" y="110"/>
                    <a:pt x="1741" y="108"/>
                  </a:cubicBezTo>
                  <a:cubicBezTo>
                    <a:pt x="1740" y="107"/>
                    <a:pt x="1741" y="107"/>
                    <a:pt x="1738" y="106"/>
                  </a:cubicBezTo>
                  <a:cubicBezTo>
                    <a:pt x="1738" y="106"/>
                    <a:pt x="1737" y="106"/>
                    <a:pt x="1736" y="106"/>
                  </a:cubicBezTo>
                  <a:cubicBezTo>
                    <a:pt x="1735" y="107"/>
                    <a:pt x="1734" y="107"/>
                    <a:pt x="1733" y="107"/>
                  </a:cubicBezTo>
                  <a:cubicBezTo>
                    <a:pt x="1732" y="106"/>
                    <a:pt x="1730" y="106"/>
                    <a:pt x="1728" y="105"/>
                  </a:cubicBezTo>
                  <a:cubicBezTo>
                    <a:pt x="1726" y="103"/>
                    <a:pt x="1724" y="105"/>
                    <a:pt x="1723" y="105"/>
                  </a:cubicBezTo>
                  <a:cubicBezTo>
                    <a:pt x="1722" y="105"/>
                    <a:pt x="1720" y="106"/>
                    <a:pt x="1719" y="106"/>
                  </a:cubicBezTo>
                  <a:cubicBezTo>
                    <a:pt x="1718" y="106"/>
                    <a:pt x="1716" y="110"/>
                    <a:pt x="1714" y="111"/>
                  </a:cubicBezTo>
                  <a:cubicBezTo>
                    <a:pt x="1713" y="111"/>
                    <a:pt x="1716" y="112"/>
                    <a:pt x="1717" y="112"/>
                  </a:cubicBezTo>
                  <a:cubicBezTo>
                    <a:pt x="1717" y="112"/>
                    <a:pt x="1723" y="113"/>
                    <a:pt x="1724" y="113"/>
                  </a:cubicBezTo>
                  <a:cubicBezTo>
                    <a:pt x="1725" y="112"/>
                    <a:pt x="1723" y="115"/>
                    <a:pt x="1722" y="115"/>
                  </a:cubicBezTo>
                  <a:cubicBezTo>
                    <a:pt x="1722" y="116"/>
                    <a:pt x="1712" y="117"/>
                    <a:pt x="1712" y="117"/>
                  </a:cubicBezTo>
                  <a:cubicBezTo>
                    <a:pt x="1712" y="117"/>
                    <a:pt x="1708" y="119"/>
                    <a:pt x="1707" y="119"/>
                  </a:cubicBezTo>
                  <a:cubicBezTo>
                    <a:pt x="1707" y="119"/>
                    <a:pt x="1703" y="121"/>
                    <a:pt x="1699" y="122"/>
                  </a:cubicBezTo>
                  <a:cubicBezTo>
                    <a:pt x="1695" y="123"/>
                    <a:pt x="1695" y="123"/>
                    <a:pt x="1695" y="123"/>
                  </a:cubicBezTo>
                  <a:cubicBezTo>
                    <a:pt x="1695" y="123"/>
                    <a:pt x="1691" y="124"/>
                    <a:pt x="1691" y="124"/>
                  </a:cubicBezTo>
                  <a:cubicBezTo>
                    <a:pt x="1690" y="125"/>
                    <a:pt x="1686" y="124"/>
                    <a:pt x="1684" y="124"/>
                  </a:cubicBezTo>
                  <a:cubicBezTo>
                    <a:pt x="1682" y="124"/>
                    <a:pt x="1682" y="125"/>
                    <a:pt x="1682" y="125"/>
                  </a:cubicBezTo>
                  <a:cubicBezTo>
                    <a:pt x="1682" y="125"/>
                    <a:pt x="1677" y="126"/>
                    <a:pt x="1676" y="126"/>
                  </a:cubicBezTo>
                  <a:cubicBezTo>
                    <a:pt x="1675" y="126"/>
                    <a:pt x="1673" y="126"/>
                    <a:pt x="1669" y="128"/>
                  </a:cubicBezTo>
                  <a:cubicBezTo>
                    <a:pt x="1668" y="128"/>
                    <a:pt x="1667" y="129"/>
                    <a:pt x="1666" y="131"/>
                  </a:cubicBezTo>
                  <a:cubicBezTo>
                    <a:pt x="1664" y="133"/>
                    <a:pt x="1661" y="134"/>
                    <a:pt x="1660" y="134"/>
                  </a:cubicBezTo>
                  <a:cubicBezTo>
                    <a:pt x="1658" y="135"/>
                    <a:pt x="1658" y="135"/>
                    <a:pt x="1656" y="136"/>
                  </a:cubicBezTo>
                  <a:cubicBezTo>
                    <a:pt x="1655" y="136"/>
                    <a:pt x="1655" y="135"/>
                    <a:pt x="1656" y="134"/>
                  </a:cubicBezTo>
                  <a:cubicBezTo>
                    <a:pt x="1657" y="132"/>
                    <a:pt x="1659" y="132"/>
                    <a:pt x="1660" y="131"/>
                  </a:cubicBezTo>
                  <a:cubicBezTo>
                    <a:pt x="1661" y="129"/>
                    <a:pt x="1662" y="128"/>
                    <a:pt x="1663" y="126"/>
                  </a:cubicBezTo>
                  <a:cubicBezTo>
                    <a:pt x="1664" y="125"/>
                    <a:pt x="1665" y="124"/>
                    <a:pt x="1666" y="123"/>
                  </a:cubicBezTo>
                  <a:cubicBezTo>
                    <a:pt x="1666" y="122"/>
                    <a:pt x="1671" y="121"/>
                    <a:pt x="1672" y="121"/>
                  </a:cubicBezTo>
                  <a:cubicBezTo>
                    <a:pt x="1673" y="121"/>
                    <a:pt x="1675" y="121"/>
                    <a:pt x="1676" y="120"/>
                  </a:cubicBezTo>
                  <a:cubicBezTo>
                    <a:pt x="1676" y="119"/>
                    <a:pt x="1678" y="119"/>
                    <a:pt x="1679" y="117"/>
                  </a:cubicBezTo>
                  <a:cubicBezTo>
                    <a:pt x="1679" y="116"/>
                    <a:pt x="1680" y="116"/>
                    <a:pt x="1681" y="115"/>
                  </a:cubicBezTo>
                  <a:cubicBezTo>
                    <a:pt x="1683" y="114"/>
                    <a:pt x="1684" y="114"/>
                    <a:pt x="1687" y="114"/>
                  </a:cubicBezTo>
                  <a:cubicBezTo>
                    <a:pt x="1689" y="113"/>
                    <a:pt x="1690" y="114"/>
                    <a:pt x="1692" y="113"/>
                  </a:cubicBezTo>
                  <a:cubicBezTo>
                    <a:pt x="1693" y="111"/>
                    <a:pt x="1694" y="112"/>
                    <a:pt x="1695" y="111"/>
                  </a:cubicBezTo>
                  <a:cubicBezTo>
                    <a:pt x="1696" y="110"/>
                    <a:pt x="1698" y="109"/>
                    <a:pt x="1700" y="107"/>
                  </a:cubicBezTo>
                  <a:cubicBezTo>
                    <a:pt x="1702" y="105"/>
                    <a:pt x="1701" y="105"/>
                    <a:pt x="1703" y="104"/>
                  </a:cubicBezTo>
                  <a:cubicBezTo>
                    <a:pt x="1704" y="103"/>
                    <a:pt x="1705" y="104"/>
                    <a:pt x="1707" y="104"/>
                  </a:cubicBezTo>
                  <a:cubicBezTo>
                    <a:pt x="1709" y="103"/>
                    <a:pt x="1709" y="104"/>
                    <a:pt x="1711" y="102"/>
                  </a:cubicBezTo>
                  <a:cubicBezTo>
                    <a:pt x="1713" y="100"/>
                    <a:pt x="1713" y="101"/>
                    <a:pt x="1715" y="100"/>
                  </a:cubicBezTo>
                  <a:cubicBezTo>
                    <a:pt x="1717" y="99"/>
                    <a:pt x="1717" y="100"/>
                    <a:pt x="1716" y="98"/>
                  </a:cubicBezTo>
                  <a:cubicBezTo>
                    <a:pt x="1715" y="96"/>
                    <a:pt x="1716" y="97"/>
                    <a:pt x="1717" y="95"/>
                  </a:cubicBezTo>
                  <a:cubicBezTo>
                    <a:pt x="1719" y="93"/>
                    <a:pt x="1721" y="94"/>
                    <a:pt x="1722" y="93"/>
                  </a:cubicBezTo>
                  <a:cubicBezTo>
                    <a:pt x="1723" y="93"/>
                    <a:pt x="1725" y="93"/>
                    <a:pt x="1728" y="90"/>
                  </a:cubicBezTo>
                  <a:cubicBezTo>
                    <a:pt x="1729" y="89"/>
                    <a:pt x="1731" y="89"/>
                    <a:pt x="1732" y="88"/>
                  </a:cubicBezTo>
                  <a:cubicBezTo>
                    <a:pt x="1734" y="87"/>
                    <a:pt x="1736" y="87"/>
                    <a:pt x="1737" y="87"/>
                  </a:cubicBezTo>
                  <a:cubicBezTo>
                    <a:pt x="1738" y="86"/>
                    <a:pt x="1742" y="85"/>
                    <a:pt x="1743" y="84"/>
                  </a:cubicBezTo>
                  <a:cubicBezTo>
                    <a:pt x="1744" y="83"/>
                    <a:pt x="1746" y="82"/>
                    <a:pt x="1748" y="82"/>
                  </a:cubicBezTo>
                  <a:cubicBezTo>
                    <a:pt x="1751" y="81"/>
                    <a:pt x="1748" y="82"/>
                    <a:pt x="1751" y="80"/>
                  </a:cubicBezTo>
                  <a:cubicBezTo>
                    <a:pt x="1754" y="78"/>
                    <a:pt x="1755" y="79"/>
                    <a:pt x="1756" y="78"/>
                  </a:cubicBezTo>
                  <a:cubicBezTo>
                    <a:pt x="1756" y="78"/>
                    <a:pt x="1759" y="77"/>
                    <a:pt x="1761" y="76"/>
                  </a:cubicBezTo>
                  <a:cubicBezTo>
                    <a:pt x="1763" y="75"/>
                    <a:pt x="1766" y="70"/>
                    <a:pt x="1766" y="70"/>
                  </a:cubicBezTo>
                  <a:cubicBezTo>
                    <a:pt x="1766" y="70"/>
                    <a:pt x="1769" y="67"/>
                    <a:pt x="1769" y="65"/>
                  </a:cubicBezTo>
                  <a:cubicBezTo>
                    <a:pt x="1768" y="64"/>
                    <a:pt x="1768" y="64"/>
                    <a:pt x="1767" y="62"/>
                  </a:cubicBezTo>
                  <a:cubicBezTo>
                    <a:pt x="1765" y="61"/>
                    <a:pt x="1763" y="61"/>
                    <a:pt x="1762" y="60"/>
                  </a:cubicBezTo>
                  <a:cubicBezTo>
                    <a:pt x="1760" y="59"/>
                    <a:pt x="1757" y="58"/>
                    <a:pt x="1756" y="57"/>
                  </a:cubicBezTo>
                  <a:cubicBezTo>
                    <a:pt x="1755" y="55"/>
                    <a:pt x="1758" y="55"/>
                    <a:pt x="1759" y="56"/>
                  </a:cubicBezTo>
                  <a:cubicBezTo>
                    <a:pt x="1760" y="56"/>
                    <a:pt x="1763" y="58"/>
                    <a:pt x="1763" y="58"/>
                  </a:cubicBezTo>
                  <a:cubicBezTo>
                    <a:pt x="1763" y="58"/>
                    <a:pt x="1767" y="59"/>
                    <a:pt x="1768" y="59"/>
                  </a:cubicBezTo>
                  <a:cubicBezTo>
                    <a:pt x="1770" y="58"/>
                    <a:pt x="1770" y="58"/>
                    <a:pt x="1769" y="53"/>
                  </a:cubicBezTo>
                  <a:cubicBezTo>
                    <a:pt x="1769" y="52"/>
                    <a:pt x="1767" y="53"/>
                    <a:pt x="1766" y="51"/>
                  </a:cubicBezTo>
                  <a:cubicBezTo>
                    <a:pt x="1766" y="49"/>
                    <a:pt x="1766" y="49"/>
                    <a:pt x="1766" y="48"/>
                  </a:cubicBezTo>
                  <a:cubicBezTo>
                    <a:pt x="1766" y="46"/>
                    <a:pt x="1765" y="46"/>
                    <a:pt x="1764" y="44"/>
                  </a:cubicBezTo>
                  <a:cubicBezTo>
                    <a:pt x="1763" y="43"/>
                    <a:pt x="1762" y="45"/>
                    <a:pt x="1762" y="45"/>
                  </a:cubicBezTo>
                  <a:cubicBezTo>
                    <a:pt x="1762" y="45"/>
                    <a:pt x="1760" y="48"/>
                    <a:pt x="1758" y="48"/>
                  </a:cubicBezTo>
                  <a:cubicBezTo>
                    <a:pt x="1756" y="48"/>
                    <a:pt x="1758" y="48"/>
                    <a:pt x="1757" y="46"/>
                  </a:cubicBezTo>
                  <a:cubicBezTo>
                    <a:pt x="1756" y="44"/>
                    <a:pt x="1755" y="43"/>
                    <a:pt x="1754" y="42"/>
                  </a:cubicBezTo>
                  <a:cubicBezTo>
                    <a:pt x="1753" y="40"/>
                    <a:pt x="1755" y="39"/>
                    <a:pt x="1755" y="37"/>
                  </a:cubicBezTo>
                  <a:cubicBezTo>
                    <a:pt x="1755" y="35"/>
                    <a:pt x="1753" y="36"/>
                    <a:pt x="1750" y="34"/>
                  </a:cubicBezTo>
                  <a:cubicBezTo>
                    <a:pt x="1750" y="34"/>
                    <a:pt x="1745" y="34"/>
                    <a:pt x="1745" y="33"/>
                  </a:cubicBezTo>
                  <a:cubicBezTo>
                    <a:pt x="1744" y="32"/>
                    <a:pt x="1743" y="32"/>
                    <a:pt x="1742" y="30"/>
                  </a:cubicBezTo>
                  <a:cubicBezTo>
                    <a:pt x="1741" y="29"/>
                    <a:pt x="1738" y="30"/>
                    <a:pt x="1738" y="29"/>
                  </a:cubicBezTo>
                  <a:cubicBezTo>
                    <a:pt x="1737" y="29"/>
                    <a:pt x="1734" y="29"/>
                    <a:pt x="1733" y="28"/>
                  </a:cubicBezTo>
                  <a:cubicBezTo>
                    <a:pt x="1731" y="27"/>
                    <a:pt x="1729" y="28"/>
                    <a:pt x="1727" y="28"/>
                  </a:cubicBezTo>
                  <a:cubicBezTo>
                    <a:pt x="1726" y="27"/>
                    <a:pt x="1723" y="29"/>
                    <a:pt x="1722" y="29"/>
                  </a:cubicBezTo>
                  <a:cubicBezTo>
                    <a:pt x="1721" y="30"/>
                    <a:pt x="1717" y="30"/>
                    <a:pt x="1717" y="30"/>
                  </a:cubicBezTo>
                  <a:cubicBezTo>
                    <a:pt x="1717" y="30"/>
                    <a:pt x="1705" y="29"/>
                    <a:pt x="1702" y="28"/>
                  </a:cubicBezTo>
                  <a:cubicBezTo>
                    <a:pt x="1699" y="28"/>
                    <a:pt x="1697" y="30"/>
                    <a:pt x="1691" y="29"/>
                  </a:cubicBezTo>
                  <a:cubicBezTo>
                    <a:pt x="1684" y="29"/>
                    <a:pt x="1691" y="31"/>
                    <a:pt x="1689" y="32"/>
                  </a:cubicBezTo>
                  <a:cubicBezTo>
                    <a:pt x="1688" y="34"/>
                    <a:pt x="1688" y="34"/>
                    <a:pt x="1683" y="34"/>
                  </a:cubicBezTo>
                  <a:cubicBezTo>
                    <a:pt x="1678" y="34"/>
                    <a:pt x="1681" y="34"/>
                    <a:pt x="1679" y="34"/>
                  </a:cubicBezTo>
                  <a:cubicBezTo>
                    <a:pt x="1678" y="34"/>
                    <a:pt x="1676" y="36"/>
                    <a:pt x="1675" y="36"/>
                  </a:cubicBezTo>
                  <a:cubicBezTo>
                    <a:pt x="1673" y="35"/>
                    <a:pt x="1673" y="35"/>
                    <a:pt x="1673" y="33"/>
                  </a:cubicBezTo>
                  <a:cubicBezTo>
                    <a:pt x="1674" y="31"/>
                    <a:pt x="1677" y="31"/>
                    <a:pt x="1678" y="30"/>
                  </a:cubicBezTo>
                  <a:cubicBezTo>
                    <a:pt x="1679" y="29"/>
                    <a:pt x="1682" y="28"/>
                    <a:pt x="1683" y="25"/>
                  </a:cubicBezTo>
                  <a:cubicBezTo>
                    <a:pt x="1684" y="23"/>
                    <a:pt x="1682" y="23"/>
                    <a:pt x="1682" y="21"/>
                  </a:cubicBezTo>
                  <a:cubicBezTo>
                    <a:pt x="1682" y="20"/>
                    <a:pt x="1681" y="21"/>
                    <a:pt x="1679" y="21"/>
                  </a:cubicBezTo>
                  <a:cubicBezTo>
                    <a:pt x="1677" y="20"/>
                    <a:pt x="1676" y="21"/>
                    <a:pt x="1674" y="21"/>
                  </a:cubicBezTo>
                  <a:cubicBezTo>
                    <a:pt x="1673" y="21"/>
                    <a:pt x="1666" y="21"/>
                    <a:pt x="1665" y="21"/>
                  </a:cubicBezTo>
                  <a:cubicBezTo>
                    <a:pt x="1663" y="21"/>
                    <a:pt x="1663" y="21"/>
                    <a:pt x="1663" y="19"/>
                  </a:cubicBezTo>
                  <a:cubicBezTo>
                    <a:pt x="1662" y="17"/>
                    <a:pt x="1660" y="20"/>
                    <a:pt x="1658" y="19"/>
                  </a:cubicBezTo>
                  <a:cubicBezTo>
                    <a:pt x="1657" y="18"/>
                    <a:pt x="1656" y="19"/>
                    <a:pt x="1654" y="19"/>
                  </a:cubicBezTo>
                  <a:cubicBezTo>
                    <a:pt x="1652" y="19"/>
                    <a:pt x="1650" y="21"/>
                    <a:pt x="1648" y="20"/>
                  </a:cubicBezTo>
                  <a:cubicBezTo>
                    <a:pt x="1646" y="19"/>
                    <a:pt x="1648" y="20"/>
                    <a:pt x="1651" y="17"/>
                  </a:cubicBezTo>
                  <a:cubicBezTo>
                    <a:pt x="1653" y="14"/>
                    <a:pt x="1654" y="16"/>
                    <a:pt x="1656" y="15"/>
                  </a:cubicBezTo>
                  <a:cubicBezTo>
                    <a:pt x="1658" y="15"/>
                    <a:pt x="1658" y="14"/>
                    <a:pt x="1662" y="12"/>
                  </a:cubicBezTo>
                  <a:cubicBezTo>
                    <a:pt x="1666" y="9"/>
                    <a:pt x="1662" y="11"/>
                    <a:pt x="1662" y="9"/>
                  </a:cubicBezTo>
                  <a:cubicBezTo>
                    <a:pt x="1662" y="7"/>
                    <a:pt x="1661" y="7"/>
                    <a:pt x="1660" y="6"/>
                  </a:cubicBezTo>
                  <a:cubicBezTo>
                    <a:pt x="1658" y="5"/>
                    <a:pt x="1657" y="6"/>
                    <a:pt x="1657" y="6"/>
                  </a:cubicBezTo>
                  <a:cubicBezTo>
                    <a:pt x="1657" y="6"/>
                    <a:pt x="1653" y="6"/>
                    <a:pt x="1652" y="4"/>
                  </a:cubicBezTo>
                  <a:cubicBezTo>
                    <a:pt x="1651" y="2"/>
                    <a:pt x="1650" y="3"/>
                    <a:pt x="1648" y="2"/>
                  </a:cubicBezTo>
                  <a:cubicBezTo>
                    <a:pt x="1646" y="2"/>
                    <a:pt x="1645" y="2"/>
                    <a:pt x="1643" y="2"/>
                  </a:cubicBezTo>
                  <a:cubicBezTo>
                    <a:pt x="1641" y="1"/>
                    <a:pt x="1639" y="1"/>
                    <a:pt x="1638" y="0"/>
                  </a:cubicBezTo>
                  <a:cubicBezTo>
                    <a:pt x="1636" y="0"/>
                    <a:pt x="1634" y="2"/>
                    <a:pt x="1632" y="2"/>
                  </a:cubicBezTo>
                  <a:cubicBezTo>
                    <a:pt x="1631" y="2"/>
                    <a:pt x="1630" y="3"/>
                    <a:pt x="1628" y="2"/>
                  </a:cubicBezTo>
                  <a:cubicBezTo>
                    <a:pt x="1627" y="1"/>
                    <a:pt x="1625" y="3"/>
                    <a:pt x="1624" y="3"/>
                  </a:cubicBezTo>
                  <a:cubicBezTo>
                    <a:pt x="1623" y="3"/>
                    <a:pt x="1621" y="5"/>
                    <a:pt x="1620" y="6"/>
                  </a:cubicBezTo>
                  <a:cubicBezTo>
                    <a:pt x="1619" y="7"/>
                    <a:pt x="1616" y="9"/>
                    <a:pt x="1616" y="9"/>
                  </a:cubicBezTo>
                  <a:cubicBezTo>
                    <a:pt x="1616" y="9"/>
                    <a:pt x="1608" y="13"/>
                    <a:pt x="1607" y="13"/>
                  </a:cubicBezTo>
                  <a:cubicBezTo>
                    <a:pt x="1605" y="13"/>
                    <a:pt x="1604" y="16"/>
                    <a:pt x="1600" y="22"/>
                  </a:cubicBezTo>
                  <a:cubicBezTo>
                    <a:pt x="1595" y="29"/>
                    <a:pt x="1599" y="24"/>
                    <a:pt x="1597" y="26"/>
                  </a:cubicBezTo>
                  <a:cubicBezTo>
                    <a:pt x="1595" y="28"/>
                    <a:pt x="1598" y="28"/>
                    <a:pt x="1599" y="29"/>
                  </a:cubicBezTo>
                  <a:cubicBezTo>
                    <a:pt x="1599" y="29"/>
                    <a:pt x="1599" y="31"/>
                    <a:pt x="1599" y="32"/>
                  </a:cubicBezTo>
                  <a:cubicBezTo>
                    <a:pt x="1598" y="32"/>
                    <a:pt x="1599" y="33"/>
                    <a:pt x="1600" y="34"/>
                  </a:cubicBezTo>
                  <a:cubicBezTo>
                    <a:pt x="1599" y="34"/>
                    <a:pt x="1598" y="35"/>
                    <a:pt x="1597" y="34"/>
                  </a:cubicBezTo>
                  <a:cubicBezTo>
                    <a:pt x="1596" y="34"/>
                    <a:pt x="1595" y="35"/>
                    <a:pt x="1592" y="35"/>
                  </a:cubicBezTo>
                  <a:cubicBezTo>
                    <a:pt x="1589" y="35"/>
                    <a:pt x="1589" y="35"/>
                    <a:pt x="1588" y="34"/>
                  </a:cubicBezTo>
                  <a:cubicBezTo>
                    <a:pt x="1587" y="34"/>
                    <a:pt x="1584" y="34"/>
                    <a:pt x="1583" y="34"/>
                  </a:cubicBezTo>
                  <a:cubicBezTo>
                    <a:pt x="1581" y="33"/>
                    <a:pt x="1579" y="35"/>
                    <a:pt x="1578" y="35"/>
                  </a:cubicBezTo>
                  <a:cubicBezTo>
                    <a:pt x="1576" y="35"/>
                    <a:pt x="1573" y="36"/>
                    <a:pt x="1571" y="37"/>
                  </a:cubicBezTo>
                  <a:cubicBezTo>
                    <a:pt x="1570" y="38"/>
                    <a:pt x="1572" y="38"/>
                    <a:pt x="1572" y="39"/>
                  </a:cubicBezTo>
                  <a:cubicBezTo>
                    <a:pt x="1572" y="40"/>
                    <a:pt x="1574" y="41"/>
                    <a:pt x="1574" y="41"/>
                  </a:cubicBezTo>
                  <a:cubicBezTo>
                    <a:pt x="1574" y="41"/>
                    <a:pt x="1578" y="43"/>
                    <a:pt x="1579" y="44"/>
                  </a:cubicBezTo>
                  <a:cubicBezTo>
                    <a:pt x="1580" y="44"/>
                    <a:pt x="1582" y="47"/>
                    <a:pt x="1582" y="48"/>
                  </a:cubicBezTo>
                  <a:cubicBezTo>
                    <a:pt x="1582" y="50"/>
                    <a:pt x="1581" y="49"/>
                    <a:pt x="1579" y="48"/>
                  </a:cubicBezTo>
                  <a:cubicBezTo>
                    <a:pt x="1577" y="47"/>
                    <a:pt x="1579" y="48"/>
                    <a:pt x="1576" y="48"/>
                  </a:cubicBezTo>
                  <a:cubicBezTo>
                    <a:pt x="1574" y="48"/>
                    <a:pt x="1575" y="48"/>
                    <a:pt x="1571" y="45"/>
                  </a:cubicBezTo>
                  <a:cubicBezTo>
                    <a:pt x="1570" y="43"/>
                    <a:pt x="1570" y="45"/>
                    <a:pt x="1568" y="44"/>
                  </a:cubicBezTo>
                  <a:cubicBezTo>
                    <a:pt x="1567" y="44"/>
                    <a:pt x="1565" y="44"/>
                    <a:pt x="1564" y="43"/>
                  </a:cubicBezTo>
                  <a:cubicBezTo>
                    <a:pt x="1563" y="43"/>
                    <a:pt x="1560" y="45"/>
                    <a:pt x="1559" y="45"/>
                  </a:cubicBezTo>
                  <a:cubicBezTo>
                    <a:pt x="1558" y="46"/>
                    <a:pt x="1556" y="47"/>
                    <a:pt x="1555" y="47"/>
                  </a:cubicBezTo>
                  <a:cubicBezTo>
                    <a:pt x="1555" y="47"/>
                    <a:pt x="1552" y="49"/>
                    <a:pt x="1551" y="50"/>
                  </a:cubicBezTo>
                  <a:cubicBezTo>
                    <a:pt x="1550" y="50"/>
                    <a:pt x="1546" y="52"/>
                    <a:pt x="1544" y="53"/>
                  </a:cubicBezTo>
                  <a:cubicBezTo>
                    <a:pt x="1542" y="54"/>
                    <a:pt x="1542" y="55"/>
                    <a:pt x="1541" y="53"/>
                  </a:cubicBezTo>
                  <a:cubicBezTo>
                    <a:pt x="1540" y="52"/>
                    <a:pt x="1537" y="52"/>
                    <a:pt x="1536" y="52"/>
                  </a:cubicBezTo>
                  <a:cubicBezTo>
                    <a:pt x="1534" y="52"/>
                    <a:pt x="1526" y="57"/>
                    <a:pt x="1526" y="57"/>
                  </a:cubicBezTo>
                  <a:cubicBezTo>
                    <a:pt x="1526" y="57"/>
                    <a:pt x="1528" y="53"/>
                    <a:pt x="1529" y="53"/>
                  </a:cubicBezTo>
                  <a:cubicBezTo>
                    <a:pt x="1530" y="53"/>
                    <a:pt x="1530" y="47"/>
                    <a:pt x="1530" y="47"/>
                  </a:cubicBezTo>
                  <a:cubicBezTo>
                    <a:pt x="1529" y="47"/>
                    <a:pt x="1521" y="46"/>
                    <a:pt x="1520" y="45"/>
                  </a:cubicBezTo>
                  <a:cubicBezTo>
                    <a:pt x="1520" y="44"/>
                    <a:pt x="1515" y="45"/>
                    <a:pt x="1514" y="45"/>
                  </a:cubicBezTo>
                  <a:cubicBezTo>
                    <a:pt x="1513" y="45"/>
                    <a:pt x="1510" y="48"/>
                    <a:pt x="1509" y="49"/>
                  </a:cubicBezTo>
                  <a:cubicBezTo>
                    <a:pt x="1508" y="50"/>
                    <a:pt x="1505" y="51"/>
                    <a:pt x="1504" y="50"/>
                  </a:cubicBezTo>
                  <a:cubicBezTo>
                    <a:pt x="1503" y="49"/>
                    <a:pt x="1492" y="46"/>
                    <a:pt x="1491" y="46"/>
                  </a:cubicBezTo>
                  <a:cubicBezTo>
                    <a:pt x="1490" y="46"/>
                    <a:pt x="1490" y="48"/>
                    <a:pt x="1490" y="48"/>
                  </a:cubicBezTo>
                  <a:cubicBezTo>
                    <a:pt x="1490" y="48"/>
                    <a:pt x="1491" y="53"/>
                    <a:pt x="1488" y="53"/>
                  </a:cubicBezTo>
                  <a:cubicBezTo>
                    <a:pt x="1488" y="53"/>
                    <a:pt x="1486" y="54"/>
                    <a:pt x="1485" y="55"/>
                  </a:cubicBezTo>
                  <a:cubicBezTo>
                    <a:pt x="1484" y="55"/>
                    <a:pt x="1482" y="57"/>
                    <a:pt x="1482" y="57"/>
                  </a:cubicBezTo>
                  <a:cubicBezTo>
                    <a:pt x="1478" y="57"/>
                    <a:pt x="1478" y="57"/>
                    <a:pt x="1478" y="57"/>
                  </a:cubicBezTo>
                  <a:cubicBezTo>
                    <a:pt x="1478" y="57"/>
                    <a:pt x="1474" y="59"/>
                    <a:pt x="1473" y="59"/>
                  </a:cubicBezTo>
                  <a:cubicBezTo>
                    <a:pt x="1472" y="59"/>
                    <a:pt x="1470" y="59"/>
                    <a:pt x="1470" y="59"/>
                  </a:cubicBezTo>
                  <a:cubicBezTo>
                    <a:pt x="1470" y="59"/>
                    <a:pt x="1466" y="59"/>
                    <a:pt x="1464" y="58"/>
                  </a:cubicBezTo>
                  <a:cubicBezTo>
                    <a:pt x="1459" y="59"/>
                    <a:pt x="1459" y="59"/>
                    <a:pt x="1459" y="59"/>
                  </a:cubicBezTo>
                  <a:cubicBezTo>
                    <a:pt x="1453" y="59"/>
                    <a:pt x="1453" y="59"/>
                    <a:pt x="1453" y="59"/>
                  </a:cubicBezTo>
                  <a:cubicBezTo>
                    <a:pt x="1451" y="62"/>
                    <a:pt x="1451" y="62"/>
                    <a:pt x="1451" y="62"/>
                  </a:cubicBezTo>
                  <a:cubicBezTo>
                    <a:pt x="1447" y="63"/>
                    <a:pt x="1447" y="63"/>
                    <a:pt x="1447" y="63"/>
                  </a:cubicBezTo>
                  <a:cubicBezTo>
                    <a:pt x="1441" y="64"/>
                    <a:pt x="1441" y="64"/>
                    <a:pt x="1441" y="64"/>
                  </a:cubicBezTo>
                  <a:cubicBezTo>
                    <a:pt x="1432" y="68"/>
                    <a:pt x="1432" y="68"/>
                    <a:pt x="1432" y="68"/>
                  </a:cubicBezTo>
                  <a:cubicBezTo>
                    <a:pt x="1432" y="68"/>
                    <a:pt x="1430" y="70"/>
                    <a:pt x="1430" y="69"/>
                  </a:cubicBezTo>
                  <a:cubicBezTo>
                    <a:pt x="1429" y="69"/>
                    <a:pt x="1429" y="70"/>
                    <a:pt x="1427" y="71"/>
                  </a:cubicBezTo>
                  <a:cubicBezTo>
                    <a:pt x="1425" y="73"/>
                    <a:pt x="1426" y="72"/>
                    <a:pt x="1424" y="73"/>
                  </a:cubicBezTo>
                  <a:cubicBezTo>
                    <a:pt x="1422" y="74"/>
                    <a:pt x="1423" y="75"/>
                    <a:pt x="1422" y="74"/>
                  </a:cubicBezTo>
                  <a:cubicBezTo>
                    <a:pt x="1421" y="73"/>
                    <a:pt x="1419" y="76"/>
                    <a:pt x="1419" y="76"/>
                  </a:cubicBezTo>
                  <a:cubicBezTo>
                    <a:pt x="1419" y="76"/>
                    <a:pt x="1417" y="78"/>
                    <a:pt x="1416" y="79"/>
                  </a:cubicBezTo>
                  <a:cubicBezTo>
                    <a:pt x="1416" y="79"/>
                    <a:pt x="1413" y="80"/>
                    <a:pt x="1412" y="80"/>
                  </a:cubicBezTo>
                  <a:cubicBezTo>
                    <a:pt x="1411" y="79"/>
                    <a:pt x="1410" y="81"/>
                    <a:pt x="1410" y="81"/>
                  </a:cubicBezTo>
                  <a:cubicBezTo>
                    <a:pt x="1410" y="81"/>
                    <a:pt x="1408" y="85"/>
                    <a:pt x="1407" y="85"/>
                  </a:cubicBezTo>
                  <a:cubicBezTo>
                    <a:pt x="1406" y="85"/>
                    <a:pt x="1406" y="86"/>
                    <a:pt x="1405" y="87"/>
                  </a:cubicBezTo>
                  <a:cubicBezTo>
                    <a:pt x="1404" y="88"/>
                    <a:pt x="1406" y="90"/>
                    <a:pt x="1406" y="90"/>
                  </a:cubicBezTo>
                  <a:cubicBezTo>
                    <a:pt x="1409" y="92"/>
                    <a:pt x="1409" y="92"/>
                    <a:pt x="1409" y="92"/>
                  </a:cubicBezTo>
                  <a:cubicBezTo>
                    <a:pt x="1409" y="92"/>
                    <a:pt x="1409" y="96"/>
                    <a:pt x="1408" y="94"/>
                  </a:cubicBezTo>
                  <a:cubicBezTo>
                    <a:pt x="1407" y="93"/>
                    <a:pt x="1404" y="93"/>
                    <a:pt x="1403" y="93"/>
                  </a:cubicBezTo>
                  <a:cubicBezTo>
                    <a:pt x="1402" y="93"/>
                    <a:pt x="1401" y="95"/>
                    <a:pt x="1401" y="95"/>
                  </a:cubicBezTo>
                  <a:cubicBezTo>
                    <a:pt x="1401" y="97"/>
                    <a:pt x="1401" y="97"/>
                    <a:pt x="1401" y="97"/>
                  </a:cubicBezTo>
                  <a:cubicBezTo>
                    <a:pt x="1405" y="98"/>
                    <a:pt x="1405" y="98"/>
                    <a:pt x="1405" y="98"/>
                  </a:cubicBezTo>
                  <a:cubicBezTo>
                    <a:pt x="1405" y="100"/>
                    <a:pt x="1405" y="100"/>
                    <a:pt x="1405" y="100"/>
                  </a:cubicBezTo>
                  <a:cubicBezTo>
                    <a:pt x="1409" y="102"/>
                    <a:pt x="1409" y="102"/>
                    <a:pt x="1409" y="102"/>
                  </a:cubicBezTo>
                  <a:cubicBezTo>
                    <a:pt x="1411" y="104"/>
                    <a:pt x="1411" y="104"/>
                    <a:pt x="1411" y="104"/>
                  </a:cubicBezTo>
                  <a:cubicBezTo>
                    <a:pt x="1411" y="104"/>
                    <a:pt x="1411" y="106"/>
                    <a:pt x="1409" y="108"/>
                  </a:cubicBezTo>
                  <a:cubicBezTo>
                    <a:pt x="1409" y="109"/>
                    <a:pt x="1408" y="108"/>
                    <a:pt x="1405" y="107"/>
                  </a:cubicBezTo>
                  <a:cubicBezTo>
                    <a:pt x="1405" y="108"/>
                    <a:pt x="1403" y="108"/>
                    <a:pt x="1395" y="108"/>
                  </a:cubicBezTo>
                  <a:cubicBezTo>
                    <a:pt x="1394" y="108"/>
                    <a:pt x="1393" y="111"/>
                    <a:pt x="1389" y="111"/>
                  </a:cubicBezTo>
                  <a:cubicBezTo>
                    <a:pt x="1385" y="112"/>
                    <a:pt x="1385" y="110"/>
                    <a:pt x="1384" y="109"/>
                  </a:cubicBezTo>
                  <a:cubicBezTo>
                    <a:pt x="1383" y="108"/>
                    <a:pt x="1380" y="111"/>
                    <a:pt x="1379" y="111"/>
                  </a:cubicBezTo>
                  <a:cubicBezTo>
                    <a:pt x="1378" y="111"/>
                    <a:pt x="1377" y="111"/>
                    <a:pt x="1372" y="111"/>
                  </a:cubicBezTo>
                  <a:cubicBezTo>
                    <a:pt x="1367" y="112"/>
                    <a:pt x="1369" y="111"/>
                    <a:pt x="1365" y="110"/>
                  </a:cubicBezTo>
                  <a:cubicBezTo>
                    <a:pt x="1361" y="109"/>
                    <a:pt x="1361" y="111"/>
                    <a:pt x="1359" y="111"/>
                  </a:cubicBezTo>
                  <a:cubicBezTo>
                    <a:pt x="1357" y="112"/>
                    <a:pt x="1353" y="113"/>
                    <a:pt x="1352" y="113"/>
                  </a:cubicBezTo>
                  <a:cubicBezTo>
                    <a:pt x="1350" y="113"/>
                    <a:pt x="1340" y="114"/>
                    <a:pt x="1336" y="114"/>
                  </a:cubicBezTo>
                  <a:cubicBezTo>
                    <a:pt x="1331" y="114"/>
                    <a:pt x="1332" y="112"/>
                    <a:pt x="1329" y="113"/>
                  </a:cubicBezTo>
                  <a:cubicBezTo>
                    <a:pt x="1326" y="113"/>
                    <a:pt x="1326" y="114"/>
                    <a:pt x="1324" y="115"/>
                  </a:cubicBezTo>
                  <a:cubicBezTo>
                    <a:pt x="1321" y="116"/>
                    <a:pt x="1322" y="118"/>
                    <a:pt x="1321" y="120"/>
                  </a:cubicBezTo>
                  <a:cubicBezTo>
                    <a:pt x="1320" y="121"/>
                    <a:pt x="1321" y="123"/>
                    <a:pt x="1320" y="125"/>
                  </a:cubicBezTo>
                  <a:cubicBezTo>
                    <a:pt x="1320" y="128"/>
                    <a:pt x="1323" y="128"/>
                    <a:pt x="1326" y="129"/>
                  </a:cubicBezTo>
                  <a:cubicBezTo>
                    <a:pt x="1328" y="130"/>
                    <a:pt x="1326" y="131"/>
                    <a:pt x="1325" y="133"/>
                  </a:cubicBezTo>
                  <a:cubicBezTo>
                    <a:pt x="1325" y="135"/>
                    <a:pt x="1325" y="135"/>
                    <a:pt x="1325" y="137"/>
                  </a:cubicBezTo>
                  <a:cubicBezTo>
                    <a:pt x="1325" y="139"/>
                    <a:pt x="1327" y="142"/>
                    <a:pt x="1329" y="145"/>
                  </a:cubicBezTo>
                  <a:cubicBezTo>
                    <a:pt x="1329" y="145"/>
                    <a:pt x="1330" y="147"/>
                    <a:pt x="1331" y="147"/>
                  </a:cubicBezTo>
                  <a:cubicBezTo>
                    <a:pt x="1332" y="147"/>
                    <a:pt x="1334" y="148"/>
                    <a:pt x="1342" y="149"/>
                  </a:cubicBezTo>
                  <a:cubicBezTo>
                    <a:pt x="1350" y="150"/>
                    <a:pt x="1344" y="150"/>
                    <a:pt x="1345" y="152"/>
                  </a:cubicBezTo>
                  <a:cubicBezTo>
                    <a:pt x="1346" y="153"/>
                    <a:pt x="1348" y="154"/>
                    <a:pt x="1349" y="155"/>
                  </a:cubicBezTo>
                  <a:cubicBezTo>
                    <a:pt x="1350" y="155"/>
                    <a:pt x="1349" y="157"/>
                    <a:pt x="1349" y="159"/>
                  </a:cubicBezTo>
                  <a:cubicBezTo>
                    <a:pt x="1348" y="161"/>
                    <a:pt x="1346" y="161"/>
                    <a:pt x="1345" y="161"/>
                  </a:cubicBezTo>
                  <a:cubicBezTo>
                    <a:pt x="1343" y="161"/>
                    <a:pt x="1342" y="162"/>
                    <a:pt x="1338" y="162"/>
                  </a:cubicBezTo>
                  <a:cubicBezTo>
                    <a:pt x="1338" y="162"/>
                    <a:pt x="1334" y="162"/>
                    <a:pt x="1333" y="162"/>
                  </a:cubicBezTo>
                  <a:cubicBezTo>
                    <a:pt x="1332" y="161"/>
                    <a:pt x="1330" y="162"/>
                    <a:pt x="1330" y="160"/>
                  </a:cubicBezTo>
                  <a:cubicBezTo>
                    <a:pt x="1330" y="159"/>
                    <a:pt x="1327" y="158"/>
                    <a:pt x="1326" y="157"/>
                  </a:cubicBezTo>
                  <a:cubicBezTo>
                    <a:pt x="1326" y="156"/>
                    <a:pt x="1323" y="156"/>
                    <a:pt x="1323" y="155"/>
                  </a:cubicBezTo>
                  <a:cubicBezTo>
                    <a:pt x="1322" y="154"/>
                    <a:pt x="1320" y="153"/>
                    <a:pt x="1319" y="152"/>
                  </a:cubicBezTo>
                  <a:cubicBezTo>
                    <a:pt x="1319" y="151"/>
                    <a:pt x="1316" y="151"/>
                    <a:pt x="1315" y="149"/>
                  </a:cubicBezTo>
                  <a:cubicBezTo>
                    <a:pt x="1313" y="148"/>
                    <a:pt x="1314" y="149"/>
                    <a:pt x="1310" y="149"/>
                  </a:cubicBezTo>
                  <a:cubicBezTo>
                    <a:pt x="1307" y="149"/>
                    <a:pt x="1308" y="149"/>
                    <a:pt x="1308" y="148"/>
                  </a:cubicBezTo>
                  <a:cubicBezTo>
                    <a:pt x="1308" y="147"/>
                    <a:pt x="1305" y="147"/>
                    <a:pt x="1303" y="146"/>
                  </a:cubicBezTo>
                  <a:cubicBezTo>
                    <a:pt x="1302" y="146"/>
                    <a:pt x="1299" y="146"/>
                    <a:pt x="1297" y="146"/>
                  </a:cubicBezTo>
                  <a:cubicBezTo>
                    <a:pt x="1296" y="146"/>
                    <a:pt x="1295" y="146"/>
                    <a:pt x="1295" y="146"/>
                  </a:cubicBezTo>
                  <a:cubicBezTo>
                    <a:pt x="1295" y="146"/>
                    <a:pt x="1293" y="146"/>
                    <a:pt x="1293" y="146"/>
                  </a:cubicBezTo>
                  <a:cubicBezTo>
                    <a:pt x="1292" y="145"/>
                    <a:pt x="1291" y="145"/>
                    <a:pt x="1290" y="143"/>
                  </a:cubicBezTo>
                  <a:cubicBezTo>
                    <a:pt x="1290" y="141"/>
                    <a:pt x="1290" y="142"/>
                    <a:pt x="1288" y="140"/>
                  </a:cubicBezTo>
                  <a:cubicBezTo>
                    <a:pt x="1285" y="138"/>
                    <a:pt x="1285" y="140"/>
                    <a:pt x="1283" y="139"/>
                  </a:cubicBezTo>
                  <a:cubicBezTo>
                    <a:pt x="1280" y="139"/>
                    <a:pt x="1279" y="141"/>
                    <a:pt x="1277" y="142"/>
                  </a:cubicBezTo>
                  <a:cubicBezTo>
                    <a:pt x="1276" y="143"/>
                    <a:pt x="1274" y="145"/>
                    <a:pt x="1273" y="146"/>
                  </a:cubicBezTo>
                  <a:cubicBezTo>
                    <a:pt x="1272" y="147"/>
                    <a:pt x="1273" y="149"/>
                    <a:pt x="1274" y="149"/>
                  </a:cubicBezTo>
                  <a:cubicBezTo>
                    <a:pt x="1274" y="150"/>
                    <a:pt x="1276" y="149"/>
                    <a:pt x="1277" y="149"/>
                  </a:cubicBezTo>
                  <a:cubicBezTo>
                    <a:pt x="1279" y="148"/>
                    <a:pt x="1278" y="150"/>
                    <a:pt x="1279" y="153"/>
                  </a:cubicBezTo>
                  <a:cubicBezTo>
                    <a:pt x="1279" y="153"/>
                    <a:pt x="1280" y="153"/>
                    <a:pt x="1281" y="153"/>
                  </a:cubicBezTo>
                  <a:cubicBezTo>
                    <a:pt x="1282" y="152"/>
                    <a:pt x="1283" y="153"/>
                    <a:pt x="1287" y="154"/>
                  </a:cubicBezTo>
                  <a:cubicBezTo>
                    <a:pt x="1291" y="154"/>
                    <a:pt x="1288" y="155"/>
                    <a:pt x="1288" y="155"/>
                  </a:cubicBezTo>
                  <a:cubicBezTo>
                    <a:pt x="1289" y="156"/>
                    <a:pt x="1289" y="157"/>
                    <a:pt x="1288" y="159"/>
                  </a:cubicBezTo>
                  <a:cubicBezTo>
                    <a:pt x="1287" y="161"/>
                    <a:pt x="1286" y="161"/>
                    <a:pt x="1285" y="160"/>
                  </a:cubicBezTo>
                  <a:cubicBezTo>
                    <a:pt x="1284" y="160"/>
                    <a:pt x="1281" y="160"/>
                    <a:pt x="1279" y="158"/>
                  </a:cubicBezTo>
                  <a:cubicBezTo>
                    <a:pt x="1277" y="157"/>
                    <a:pt x="1278" y="157"/>
                    <a:pt x="1275" y="156"/>
                  </a:cubicBezTo>
                  <a:cubicBezTo>
                    <a:pt x="1273" y="154"/>
                    <a:pt x="1273" y="155"/>
                    <a:pt x="1270" y="154"/>
                  </a:cubicBezTo>
                  <a:cubicBezTo>
                    <a:pt x="1267" y="154"/>
                    <a:pt x="1268" y="155"/>
                    <a:pt x="1265" y="155"/>
                  </a:cubicBezTo>
                  <a:cubicBezTo>
                    <a:pt x="1263" y="155"/>
                    <a:pt x="1264" y="156"/>
                    <a:pt x="1262" y="157"/>
                  </a:cubicBezTo>
                  <a:cubicBezTo>
                    <a:pt x="1260" y="157"/>
                    <a:pt x="1261" y="159"/>
                    <a:pt x="1262" y="160"/>
                  </a:cubicBezTo>
                  <a:cubicBezTo>
                    <a:pt x="1263" y="162"/>
                    <a:pt x="1264" y="161"/>
                    <a:pt x="1265" y="162"/>
                  </a:cubicBezTo>
                  <a:cubicBezTo>
                    <a:pt x="1266" y="163"/>
                    <a:pt x="1265" y="164"/>
                    <a:pt x="1266" y="166"/>
                  </a:cubicBezTo>
                  <a:cubicBezTo>
                    <a:pt x="1267" y="167"/>
                    <a:pt x="1267" y="168"/>
                    <a:pt x="1268" y="168"/>
                  </a:cubicBezTo>
                  <a:cubicBezTo>
                    <a:pt x="1270" y="168"/>
                    <a:pt x="1272" y="170"/>
                    <a:pt x="1274" y="170"/>
                  </a:cubicBezTo>
                  <a:cubicBezTo>
                    <a:pt x="1276" y="171"/>
                    <a:pt x="1276" y="172"/>
                    <a:pt x="1281" y="175"/>
                  </a:cubicBezTo>
                  <a:cubicBezTo>
                    <a:pt x="1285" y="177"/>
                    <a:pt x="1282" y="175"/>
                    <a:pt x="1285" y="174"/>
                  </a:cubicBezTo>
                  <a:cubicBezTo>
                    <a:pt x="1287" y="174"/>
                    <a:pt x="1288" y="175"/>
                    <a:pt x="1289" y="175"/>
                  </a:cubicBezTo>
                  <a:cubicBezTo>
                    <a:pt x="1291" y="175"/>
                    <a:pt x="1291" y="178"/>
                    <a:pt x="1292" y="178"/>
                  </a:cubicBezTo>
                  <a:cubicBezTo>
                    <a:pt x="1294" y="178"/>
                    <a:pt x="1295" y="181"/>
                    <a:pt x="1295" y="181"/>
                  </a:cubicBezTo>
                  <a:cubicBezTo>
                    <a:pt x="1293" y="182"/>
                    <a:pt x="1293" y="182"/>
                    <a:pt x="1293" y="182"/>
                  </a:cubicBezTo>
                  <a:cubicBezTo>
                    <a:pt x="1293" y="182"/>
                    <a:pt x="1288" y="182"/>
                    <a:pt x="1288" y="181"/>
                  </a:cubicBezTo>
                  <a:cubicBezTo>
                    <a:pt x="1287" y="181"/>
                    <a:pt x="1285" y="180"/>
                    <a:pt x="1285" y="179"/>
                  </a:cubicBezTo>
                  <a:cubicBezTo>
                    <a:pt x="1285" y="178"/>
                    <a:pt x="1283" y="178"/>
                    <a:pt x="1283" y="177"/>
                  </a:cubicBezTo>
                  <a:cubicBezTo>
                    <a:pt x="1282" y="176"/>
                    <a:pt x="1280" y="177"/>
                    <a:pt x="1280" y="175"/>
                  </a:cubicBezTo>
                  <a:cubicBezTo>
                    <a:pt x="1279" y="174"/>
                    <a:pt x="1269" y="177"/>
                    <a:pt x="1268" y="176"/>
                  </a:cubicBezTo>
                  <a:cubicBezTo>
                    <a:pt x="1266" y="175"/>
                    <a:pt x="1265" y="175"/>
                    <a:pt x="1265" y="175"/>
                  </a:cubicBezTo>
                  <a:cubicBezTo>
                    <a:pt x="1262" y="174"/>
                    <a:pt x="1262" y="174"/>
                    <a:pt x="1262" y="174"/>
                  </a:cubicBezTo>
                  <a:cubicBezTo>
                    <a:pt x="1262" y="174"/>
                    <a:pt x="1258" y="174"/>
                    <a:pt x="1257" y="174"/>
                  </a:cubicBezTo>
                  <a:cubicBezTo>
                    <a:pt x="1257" y="174"/>
                    <a:pt x="1254" y="173"/>
                    <a:pt x="1252" y="173"/>
                  </a:cubicBezTo>
                  <a:cubicBezTo>
                    <a:pt x="1250" y="172"/>
                    <a:pt x="1251" y="172"/>
                    <a:pt x="1252" y="170"/>
                  </a:cubicBezTo>
                  <a:cubicBezTo>
                    <a:pt x="1253" y="169"/>
                    <a:pt x="1252" y="169"/>
                    <a:pt x="1253" y="165"/>
                  </a:cubicBezTo>
                  <a:cubicBezTo>
                    <a:pt x="1254" y="160"/>
                    <a:pt x="1252" y="163"/>
                    <a:pt x="1251" y="160"/>
                  </a:cubicBezTo>
                  <a:cubicBezTo>
                    <a:pt x="1249" y="158"/>
                    <a:pt x="1250" y="159"/>
                    <a:pt x="1251" y="157"/>
                  </a:cubicBezTo>
                  <a:cubicBezTo>
                    <a:pt x="1252" y="155"/>
                    <a:pt x="1253" y="154"/>
                    <a:pt x="1254" y="152"/>
                  </a:cubicBezTo>
                  <a:cubicBezTo>
                    <a:pt x="1255" y="151"/>
                    <a:pt x="1255" y="148"/>
                    <a:pt x="1255" y="146"/>
                  </a:cubicBezTo>
                  <a:cubicBezTo>
                    <a:pt x="1256" y="144"/>
                    <a:pt x="1255" y="139"/>
                    <a:pt x="1253" y="136"/>
                  </a:cubicBezTo>
                  <a:cubicBezTo>
                    <a:pt x="1252" y="134"/>
                    <a:pt x="1248" y="133"/>
                    <a:pt x="1245" y="134"/>
                  </a:cubicBezTo>
                  <a:cubicBezTo>
                    <a:pt x="1242" y="135"/>
                    <a:pt x="1244" y="136"/>
                    <a:pt x="1246" y="141"/>
                  </a:cubicBezTo>
                  <a:cubicBezTo>
                    <a:pt x="1249" y="146"/>
                    <a:pt x="1248" y="146"/>
                    <a:pt x="1248" y="146"/>
                  </a:cubicBezTo>
                  <a:cubicBezTo>
                    <a:pt x="1247" y="149"/>
                    <a:pt x="1247" y="149"/>
                    <a:pt x="1247" y="149"/>
                  </a:cubicBezTo>
                  <a:cubicBezTo>
                    <a:pt x="1245" y="152"/>
                    <a:pt x="1245" y="152"/>
                    <a:pt x="1245" y="152"/>
                  </a:cubicBezTo>
                  <a:cubicBezTo>
                    <a:pt x="1245" y="152"/>
                    <a:pt x="1240" y="154"/>
                    <a:pt x="1240" y="155"/>
                  </a:cubicBezTo>
                  <a:cubicBezTo>
                    <a:pt x="1239" y="155"/>
                    <a:pt x="1235" y="157"/>
                    <a:pt x="1234" y="156"/>
                  </a:cubicBezTo>
                  <a:cubicBezTo>
                    <a:pt x="1232" y="156"/>
                    <a:pt x="1230" y="157"/>
                    <a:pt x="1230" y="157"/>
                  </a:cubicBezTo>
                  <a:cubicBezTo>
                    <a:pt x="1230" y="157"/>
                    <a:pt x="1227" y="161"/>
                    <a:pt x="1227" y="162"/>
                  </a:cubicBezTo>
                  <a:cubicBezTo>
                    <a:pt x="1227" y="162"/>
                    <a:pt x="1225" y="165"/>
                    <a:pt x="1224" y="165"/>
                  </a:cubicBezTo>
                  <a:cubicBezTo>
                    <a:pt x="1223" y="166"/>
                    <a:pt x="1221" y="168"/>
                    <a:pt x="1221" y="169"/>
                  </a:cubicBezTo>
                  <a:cubicBezTo>
                    <a:pt x="1220" y="170"/>
                    <a:pt x="1219" y="171"/>
                    <a:pt x="1219" y="172"/>
                  </a:cubicBezTo>
                  <a:cubicBezTo>
                    <a:pt x="1219" y="173"/>
                    <a:pt x="1221" y="173"/>
                    <a:pt x="1222" y="173"/>
                  </a:cubicBezTo>
                  <a:cubicBezTo>
                    <a:pt x="1223" y="173"/>
                    <a:pt x="1226" y="175"/>
                    <a:pt x="1226" y="175"/>
                  </a:cubicBezTo>
                  <a:cubicBezTo>
                    <a:pt x="1225" y="177"/>
                    <a:pt x="1225" y="177"/>
                    <a:pt x="1225" y="177"/>
                  </a:cubicBezTo>
                  <a:cubicBezTo>
                    <a:pt x="1225" y="177"/>
                    <a:pt x="1230" y="183"/>
                    <a:pt x="1232" y="184"/>
                  </a:cubicBezTo>
                  <a:cubicBezTo>
                    <a:pt x="1233" y="186"/>
                    <a:pt x="1236" y="187"/>
                    <a:pt x="1237" y="187"/>
                  </a:cubicBezTo>
                  <a:cubicBezTo>
                    <a:pt x="1239" y="187"/>
                    <a:pt x="1237" y="191"/>
                    <a:pt x="1237" y="193"/>
                  </a:cubicBezTo>
                  <a:cubicBezTo>
                    <a:pt x="1238" y="194"/>
                    <a:pt x="1235" y="195"/>
                    <a:pt x="1234" y="196"/>
                  </a:cubicBezTo>
                  <a:cubicBezTo>
                    <a:pt x="1233" y="197"/>
                    <a:pt x="1232" y="199"/>
                    <a:pt x="1229" y="202"/>
                  </a:cubicBezTo>
                  <a:cubicBezTo>
                    <a:pt x="1226" y="205"/>
                    <a:pt x="1228" y="205"/>
                    <a:pt x="1227" y="210"/>
                  </a:cubicBezTo>
                  <a:cubicBezTo>
                    <a:pt x="1227" y="215"/>
                    <a:pt x="1229" y="213"/>
                    <a:pt x="1229" y="214"/>
                  </a:cubicBezTo>
                  <a:cubicBezTo>
                    <a:pt x="1230" y="214"/>
                    <a:pt x="1230" y="216"/>
                    <a:pt x="1230" y="218"/>
                  </a:cubicBezTo>
                  <a:cubicBezTo>
                    <a:pt x="1229" y="221"/>
                    <a:pt x="1231" y="223"/>
                    <a:pt x="1231" y="225"/>
                  </a:cubicBezTo>
                  <a:cubicBezTo>
                    <a:pt x="1232" y="226"/>
                    <a:pt x="1234" y="226"/>
                    <a:pt x="1235" y="225"/>
                  </a:cubicBezTo>
                  <a:cubicBezTo>
                    <a:pt x="1236" y="224"/>
                    <a:pt x="1237" y="225"/>
                    <a:pt x="1238" y="225"/>
                  </a:cubicBezTo>
                  <a:cubicBezTo>
                    <a:pt x="1239" y="226"/>
                    <a:pt x="1242" y="228"/>
                    <a:pt x="1245" y="228"/>
                  </a:cubicBezTo>
                  <a:cubicBezTo>
                    <a:pt x="1248" y="228"/>
                    <a:pt x="1246" y="227"/>
                    <a:pt x="1247" y="226"/>
                  </a:cubicBezTo>
                  <a:cubicBezTo>
                    <a:pt x="1248" y="226"/>
                    <a:pt x="1248" y="227"/>
                    <a:pt x="1249" y="226"/>
                  </a:cubicBezTo>
                  <a:cubicBezTo>
                    <a:pt x="1251" y="225"/>
                    <a:pt x="1251" y="225"/>
                    <a:pt x="1252" y="224"/>
                  </a:cubicBezTo>
                  <a:cubicBezTo>
                    <a:pt x="1253" y="223"/>
                    <a:pt x="1257" y="224"/>
                    <a:pt x="1258" y="224"/>
                  </a:cubicBezTo>
                  <a:cubicBezTo>
                    <a:pt x="1259" y="223"/>
                    <a:pt x="1260" y="224"/>
                    <a:pt x="1262" y="224"/>
                  </a:cubicBezTo>
                  <a:cubicBezTo>
                    <a:pt x="1265" y="224"/>
                    <a:pt x="1265" y="225"/>
                    <a:pt x="1266" y="225"/>
                  </a:cubicBezTo>
                  <a:cubicBezTo>
                    <a:pt x="1267" y="224"/>
                    <a:pt x="1270" y="226"/>
                    <a:pt x="1271" y="227"/>
                  </a:cubicBezTo>
                  <a:cubicBezTo>
                    <a:pt x="1273" y="228"/>
                    <a:pt x="1275" y="228"/>
                    <a:pt x="1277" y="229"/>
                  </a:cubicBezTo>
                  <a:cubicBezTo>
                    <a:pt x="1278" y="230"/>
                    <a:pt x="1279" y="232"/>
                    <a:pt x="1280" y="233"/>
                  </a:cubicBezTo>
                  <a:cubicBezTo>
                    <a:pt x="1281" y="235"/>
                    <a:pt x="1283" y="235"/>
                    <a:pt x="1283" y="237"/>
                  </a:cubicBezTo>
                  <a:cubicBezTo>
                    <a:pt x="1284" y="240"/>
                    <a:pt x="1286" y="242"/>
                    <a:pt x="1288" y="243"/>
                  </a:cubicBezTo>
                  <a:cubicBezTo>
                    <a:pt x="1289" y="243"/>
                    <a:pt x="1288" y="246"/>
                    <a:pt x="1287" y="246"/>
                  </a:cubicBezTo>
                  <a:cubicBezTo>
                    <a:pt x="1286" y="247"/>
                    <a:pt x="1284" y="248"/>
                    <a:pt x="1282" y="248"/>
                  </a:cubicBezTo>
                  <a:cubicBezTo>
                    <a:pt x="1280" y="248"/>
                    <a:pt x="1281" y="250"/>
                    <a:pt x="1280" y="252"/>
                  </a:cubicBezTo>
                  <a:cubicBezTo>
                    <a:pt x="1279" y="254"/>
                    <a:pt x="1280" y="254"/>
                    <a:pt x="1281" y="256"/>
                  </a:cubicBezTo>
                  <a:cubicBezTo>
                    <a:pt x="1281" y="259"/>
                    <a:pt x="1283" y="257"/>
                    <a:pt x="1284" y="258"/>
                  </a:cubicBezTo>
                  <a:cubicBezTo>
                    <a:pt x="1285" y="259"/>
                    <a:pt x="1287" y="260"/>
                    <a:pt x="1288" y="260"/>
                  </a:cubicBezTo>
                  <a:cubicBezTo>
                    <a:pt x="1289" y="260"/>
                    <a:pt x="1291" y="260"/>
                    <a:pt x="1291" y="260"/>
                  </a:cubicBezTo>
                  <a:cubicBezTo>
                    <a:pt x="1291" y="260"/>
                    <a:pt x="1295" y="260"/>
                    <a:pt x="1298" y="261"/>
                  </a:cubicBezTo>
                  <a:cubicBezTo>
                    <a:pt x="1298" y="261"/>
                    <a:pt x="1298" y="262"/>
                    <a:pt x="1296" y="263"/>
                  </a:cubicBezTo>
                  <a:cubicBezTo>
                    <a:pt x="1295" y="264"/>
                    <a:pt x="1292" y="263"/>
                    <a:pt x="1290" y="263"/>
                  </a:cubicBezTo>
                  <a:cubicBezTo>
                    <a:pt x="1289" y="263"/>
                    <a:pt x="1289" y="263"/>
                    <a:pt x="1288" y="263"/>
                  </a:cubicBezTo>
                  <a:cubicBezTo>
                    <a:pt x="1287" y="263"/>
                    <a:pt x="1285" y="262"/>
                    <a:pt x="1282" y="260"/>
                  </a:cubicBezTo>
                  <a:cubicBezTo>
                    <a:pt x="1279" y="259"/>
                    <a:pt x="1281" y="261"/>
                    <a:pt x="1278" y="258"/>
                  </a:cubicBezTo>
                  <a:cubicBezTo>
                    <a:pt x="1274" y="256"/>
                    <a:pt x="1278" y="258"/>
                    <a:pt x="1277" y="256"/>
                  </a:cubicBezTo>
                  <a:cubicBezTo>
                    <a:pt x="1276" y="254"/>
                    <a:pt x="1276" y="255"/>
                    <a:pt x="1276" y="251"/>
                  </a:cubicBezTo>
                  <a:cubicBezTo>
                    <a:pt x="1276" y="248"/>
                    <a:pt x="1276" y="249"/>
                    <a:pt x="1276" y="247"/>
                  </a:cubicBezTo>
                  <a:cubicBezTo>
                    <a:pt x="1277" y="246"/>
                    <a:pt x="1277" y="244"/>
                    <a:pt x="1277" y="242"/>
                  </a:cubicBezTo>
                  <a:cubicBezTo>
                    <a:pt x="1277" y="240"/>
                    <a:pt x="1275" y="239"/>
                    <a:pt x="1274" y="238"/>
                  </a:cubicBezTo>
                  <a:cubicBezTo>
                    <a:pt x="1273" y="236"/>
                    <a:pt x="1270" y="237"/>
                    <a:pt x="1269" y="234"/>
                  </a:cubicBezTo>
                  <a:cubicBezTo>
                    <a:pt x="1267" y="232"/>
                    <a:pt x="1268" y="233"/>
                    <a:pt x="1266" y="231"/>
                  </a:cubicBezTo>
                  <a:cubicBezTo>
                    <a:pt x="1265" y="229"/>
                    <a:pt x="1263" y="233"/>
                    <a:pt x="1261" y="231"/>
                  </a:cubicBezTo>
                  <a:cubicBezTo>
                    <a:pt x="1260" y="229"/>
                    <a:pt x="1259" y="231"/>
                    <a:pt x="1258" y="230"/>
                  </a:cubicBezTo>
                  <a:cubicBezTo>
                    <a:pt x="1258" y="229"/>
                    <a:pt x="1254" y="231"/>
                    <a:pt x="1252" y="230"/>
                  </a:cubicBezTo>
                  <a:cubicBezTo>
                    <a:pt x="1250" y="230"/>
                    <a:pt x="1249" y="232"/>
                    <a:pt x="1246" y="232"/>
                  </a:cubicBezTo>
                  <a:cubicBezTo>
                    <a:pt x="1243" y="232"/>
                    <a:pt x="1243" y="234"/>
                    <a:pt x="1241" y="234"/>
                  </a:cubicBezTo>
                  <a:cubicBezTo>
                    <a:pt x="1240" y="235"/>
                    <a:pt x="1237" y="240"/>
                    <a:pt x="1238" y="242"/>
                  </a:cubicBezTo>
                  <a:cubicBezTo>
                    <a:pt x="1238" y="243"/>
                    <a:pt x="1239" y="244"/>
                    <a:pt x="1239" y="245"/>
                  </a:cubicBezTo>
                  <a:cubicBezTo>
                    <a:pt x="1240" y="245"/>
                    <a:pt x="1240" y="248"/>
                    <a:pt x="1242" y="251"/>
                  </a:cubicBezTo>
                  <a:cubicBezTo>
                    <a:pt x="1243" y="253"/>
                    <a:pt x="1243" y="254"/>
                    <a:pt x="1243" y="255"/>
                  </a:cubicBezTo>
                  <a:cubicBezTo>
                    <a:pt x="1242" y="257"/>
                    <a:pt x="1242" y="257"/>
                    <a:pt x="1242" y="258"/>
                  </a:cubicBezTo>
                  <a:cubicBezTo>
                    <a:pt x="1241" y="259"/>
                    <a:pt x="1240" y="260"/>
                    <a:pt x="1239" y="261"/>
                  </a:cubicBezTo>
                  <a:cubicBezTo>
                    <a:pt x="1238" y="262"/>
                    <a:pt x="1238" y="263"/>
                    <a:pt x="1235" y="265"/>
                  </a:cubicBezTo>
                  <a:cubicBezTo>
                    <a:pt x="1233" y="267"/>
                    <a:pt x="1233" y="269"/>
                    <a:pt x="1232" y="271"/>
                  </a:cubicBezTo>
                  <a:cubicBezTo>
                    <a:pt x="1231" y="272"/>
                    <a:pt x="1230" y="274"/>
                    <a:pt x="1229" y="276"/>
                  </a:cubicBezTo>
                  <a:cubicBezTo>
                    <a:pt x="1227" y="278"/>
                    <a:pt x="1222" y="280"/>
                    <a:pt x="1221" y="281"/>
                  </a:cubicBezTo>
                  <a:cubicBezTo>
                    <a:pt x="1221" y="282"/>
                    <a:pt x="1217" y="283"/>
                    <a:pt x="1214" y="284"/>
                  </a:cubicBezTo>
                  <a:cubicBezTo>
                    <a:pt x="1212" y="285"/>
                    <a:pt x="1213" y="286"/>
                    <a:pt x="1213" y="287"/>
                  </a:cubicBezTo>
                  <a:cubicBezTo>
                    <a:pt x="1213" y="288"/>
                    <a:pt x="1211" y="289"/>
                    <a:pt x="1209" y="291"/>
                  </a:cubicBezTo>
                  <a:cubicBezTo>
                    <a:pt x="1208" y="293"/>
                    <a:pt x="1208" y="291"/>
                    <a:pt x="1206" y="292"/>
                  </a:cubicBezTo>
                  <a:cubicBezTo>
                    <a:pt x="1203" y="293"/>
                    <a:pt x="1203" y="293"/>
                    <a:pt x="1203" y="293"/>
                  </a:cubicBezTo>
                  <a:cubicBezTo>
                    <a:pt x="1203" y="292"/>
                    <a:pt x="1201" y="290"/>
                    <a:pt x="1200" y="289"/>
                  </a:cubicBezTo>
                  <a:cubicBezTo>
                    <a:pt x="1200" y="288"/>
                    <a:pt x="1196" y="290"/>
                    <a:pt x="1195" y="289"/>
                  </a:cubicBezTo>
                  <a:cubicBezTo>
                    <a:pt x="1195" y="288"/>
                    <a:pt x="1192" y="288"/>
                    <a:pt x="1191" y="288"/>
                  </a:cubicBezTo>
                  <a:cubicBezTo>
                    <a:pt x="1190" y="288"/>
                    <a:pt x="1187" y="290"/>
                    <a:pt x="1185" y="290"/>
                  </a:cubicBezTo>
                  <a:cubicBezTo>
                    <a:pt x="1184" y="290"/>
                    <a:pt x="1183" y="290"/>
                    <a:pt x="1182" y="289"/>
                  </a:cubicBezTo>
                  <a:cubicBezTo>
                    <a:pt x="1181" y="288"/>
                    <a:pt x="1178" y="288"/>
                    <a:pt x="1178" y="288"/>
                  </a:cubicBezTo>
                  <a:cubicBezTo>
                    <a:pt x="1178" y="288"/>
                    <a:pt x="1169" y="286"/>
                    <a:pt x="1169" y="286"/>
                  </a:cubicBezTo>
                  <a:cubicBezTo>
                    <a:pt x="1168" y="285"/>
                    <a:pt x="1167" y="282"/>
                    <a:pt x="1166" y="281"/>
                  </a:cubicBezTo>
                  <a:cubicBezTo>
                    <a:pt x="1166" y="280"/>
                    <a:pt x="1168" y="280"/>
                    <a:pt x="1168" y="280"/>
                  </a:cubicBezTo>
                  <a:cubicBezTo>
                    <a:pt x="1169" y="279"/>
                    <a:pt x="1170" y="279"/>
                    <a:pt x="1172" y="279"/>
                  </a:cubicBezTo>
                  <a:cubicBezTo>
                    <a:pt x="1173" y="279"/>
                    <a:pt x="1175" y="280"/>
                    <a:pt x="1176" y="280"/>
                  </a:cubicBezTo>
                  <a:cubicBezTo>
                    <a:pt x="1177" y="280"/>
                    <a:pt x="1180" y="281"/>
                    <a:pt x="1182" y="282"/>
                  </a:cubicBezTo>
                  <a:cubicBezTo>
                    <a:pt x="1183" y="282"/>
                    <a:pt x="1186" y="282"/>
                    <a:pt x="1187" y="282"/>
                  </a:cubicBezTo>
                  <a:cubicBezTo>
                    <a:pt x="1188" y="281"/>
                    <a:pt x="1190" y="280"/>
                    <a:pt x="1193" y="279"/>
                  </a:cubicBezTo>
                  <a:cubicBezTo>
                    <a:pt x="1195" y="278"/>
                    <a:pt x="1196" y="279"/>
                    <a:pt x="1196" y="278"/>
                  </a:cubicBezTo>
                  <a:cubicBezTo>
                    <a:pt x="1196" y="277"/>
                    <a:pt x="1200" y="278"/>
                    <a:pt x="1201" y="277"/>
                  </a:cubicBezTo>
                  <a:cubicBezTo>
                    <a:pt x="1201" y="276"/>
                    <a:pt x="1203" y="277"/>
                    <a:pt x="1204" y="277"/>
                  </a:cubicBezTo>
                  <a:cubicBezTo>
                    <a:pt x="1205" y="277"/>
                    <a:pt x="1207" y="275"/>
                    <a:pt x="1207" y="273"/>
                  </a:cubicBezTo>
                  <a:cubicBezTo>
                    <a:pt x="1207" y="271"/>
                    <a:pt x="1207" y="271"/>
                    <a:pt x="1207" y="270"/>
                  </a:cubicBezTo>
                  <a:cubicBezTo>
                    <a:pt x="1208" y="268"/>
                    <a:pt x="1210" y="268"/>
                    <a:pt x="1210" y="266"/>
                  </a:cubicBezTo>
                  <a:cubicBezTo>
                    <a:pt x="1211" y="263"/>
                    <a:pt x="1213" y="264"/>
                    <a:pt x="1213" y="263"/>
                  </a:cubicBezTo>
                  <a:cubicBezTo>
                    <a:pt x="1214" y="262"/>
                    <a:pt x="1216" y="261"/>
                    <a:pt x="1216" y="261"/>
                  </a:cubicBezTo>
                  <a:cubicBezTo>
                    <a:pt x="1216" y="261"/>
                    <a:pt x="1219" y="260"/>
                    <a:pt x="1222" y="259"/>
                  </a:cubicBezTo>
                  <a:cubicBezTo>
                    <a:pt x="1223" y="258"/>
                    <a:pt x="1221" y="255"/>
                    <a:pt x="1221" y="253"/>
                  </a:cubicBezTo>
                  <a:cubicBezTo>
                    <a:pt x="1221" y="251"/>
                    <a:pt x="1222" y="248"/>
                    <a:pt x="1223" y="247"/>
                  </a:cubicBezTo>
                  <a:cubicBezTo>
                    <a:pt x="1223" y="245"/>
                    <a:pt x="1224" y="246"/>
                    <a:pt x="1226" y="244"/>
                  </a:cubicBezTo>
                  <a:cubicBezTo>
                    <a:pt x="1227" y="243"/>
                    <a:pt x="1228" y="241"/>
                    <a:pt x="1227" y="240"/>
                  </a:cubicBezTo>
                  <a:cubicBezTo>
                    <a:pt x="1227" y="239"/>
                    <a:pt x="1225" y="238"/>
                    <a:pt x="1223" y="237"/>
                  </a:cubicBezTo>
                  <a:cubicBezTo>
                    <a:pt x="1222" y="235"/>
                    <a:pt x="1218" y="234"/>
                    <a:pt x="1216" y="233"/>
                  </a:cubicBezTo>
                  <a:cubicBezTo>
                    <a:pt x="1215" y="232"/>
                    <a:pt x="1213" y="231"/>
                    <a:pt x="1212" y="228"/>
                  </a:cubicBezTo>
                  <a:cubicBezTo>
                    <a:pt x="1211" y="226"/>
                    <a:pt x="1215" y="221"/>
                    <a:pt x="1215" y="219"/>
                  </a:cubicBezTo>
                  <a:cubicBezTo>
                    <a:pt x="1215" y="219"/>
                    <a:pt x="1215" y="217"/>
                    <a:pt x="1215" y="216"/>
                  </a:cubicBezTo>
                  <a:cubicBezTo>
                    <a:pt x="1214" y="215"/>
                    <a:pt x="1216" y="212"/>
                    <a:pt x="1216" y="210"/>
                  </a:cubicBezTo>
                  <a:cubicBezTo>
                    <a:pt x="1216" y="209"/>
                    <a:pt x="1215" y="208"/>
                    <a:pt x="1215" y="207"/>
                  </a:cubicBezTo>
                  <a:cubicBezTo>
                    <a:pt x="1215" y="205"/>
                    <a:pt x="1214" y="204"/>
                    <a:pt x="1213" y="203"/>
                  </a:cubicBezTo>
                  <a:cubicBezTo>
                    <a:pt x="1213" y="201"/>
                    <a:pt x="1213" y="199"/>
                    <a:pt x="1213" y="198"/>
                  </a:cubicBezTo>
                  <a:cubicBezTo>
                    <a:pt x="1213" y="196"/>
                    <a:pt x="1213" y="198"/>
                    <a:pt x="1214" y="197"/>
                  </a:cubicBezTo>
                  <a:cubicBezTo>
                    <a:pt x="1214" y="197"/>
                    <a:pt x="1215" y="196"/>
                    <a:pt x="1216" y="195"/>
                  </a:cubicBezTo>
                  <a:cubicBezTo>
                    <a:pt x="1216" y="194"/>
                    <a:pt x="1216" y="191"/>
                    <a:pt x="1216" y="191"/>
                  </a:cubicBezTo>
                  <a:cubicBezTo>
                    <a:pt x="1216" y="191"/>
                    <a:pt x="1218" y="185"/>
                    <a:pt x="1218" y="183"/>
                  </a:cubicBezTo>
                  <a:cubicBezTo>
                    <a:pt x="1218" y="182"/>
                    <a:pt x="1213" y="178"/>
                    <a:pt x="1212" y="177"/>
                  </a:cubicBezTo>
                  <a:cubicBezTo>
                    <a:pt x="1212" y="176"/>
                    <a:pt x="1210" y="175"/>
                    <a:pt x="1209" y="175"/>
                  </a:cubicBezTo>
                  <a:cubicBezTo>
                    <a:pt x="1209" y="174"/>
                    <a:pt x="1208" y="173"/>
                    <a:pt x="1207" y="172"/>
                  </a:cubicBezTo>
                  <a:cubicBezTo>
                    <a:pt x="1206" y="171"/>
                    <a:pt x="1205" y="170"/>
                    <a:pt x="1204" y="168"/>
                  </a:cubicBezTo>
                  <a:cubicBezTo>
                    <a:pt x="1204" y="168"/>
                    <a:pt x="1205" y="167"/>
                    <a:pt x="1206" y="166"/>
                  </a:cubicBezTo>
                  <a:cubicBezTo>
                    <a:pt x="1208" y="166"/>
                    <a:pt x="1209" y="163"/>
                    <a:pt x="1209" y="163"/>
                  </a:cubicBezTo>
                  <a:cubicBezTo>
                    <a:pt x="1209" y="163"/>
                    <a:pt x="1209" y="159"/>
                    <a:pt x="1213" y="156"/>
                  </a:cubicBezTo>
                  <a:cubicBezTo>
                    <a:pt x="1216" y="153"/>
                    <a:pt x="1214" y="155"/>
                    <a:pt x="1214" y="154"/>
                  </a:cubicBezTo>
                  <a:cubicBezTo>
                    <a:pt x="1215" y="153"/>
                    <a:pt x="1215" y="152"/>
                    <a:pt x="1216" y="151"/>
                  </a:cubicBezTo>
                  <a:cubicBezTo>
                    <a:pt x="1217" y="150"/>
                    <a:pt x="1217" y="150"/>
                    <a:pt x="1217" y="148"/>
                  </a:cubicBezTo>
                  <a:cubicBezTo>
                    <a:pt x="1217" y="147"/>
                    <a:pt x="1218" y="146"/>
                    <a:pt x="1217" y="144"/>
                  </a:cubicBezTo>
                  <a:cubicBezTo>
                    <a:pt x="1217" y="142"/>
                    <a:pt x="1216" y="141"/>
                    <a:pt x="1216" y="141"/>
                  </a:cubicBezTo>
                  <a:cubicBezTo>
                    <a:pt x="1216" y="141"/>
                    <a:pt x="1215" y="140"/>
                    <a:pt x="1215" y="139"/>
                  </a:cubicBezTo>
                  <a:cubicBezTo>
                    <a:pt x="1214" y="137"/>
                    <a:pt x="1209" y="136"/>
                    <a:pt x="1209" y="136"/>
                  </a:cubicBezTo>
                  <a:cubicBezTo>
                    <a:pt x="1209" y="135"/>
                    <a:pt x="1207" y="136"/>
                    <a:pt x="1206" y="135"/>
                  </a:cubicBezTo>
                  <a:cubicBezTo>
                    <a:pt x="1206" y="134"/>
                    <a:pt x="1203" y="134"/>
                    <a:pt x="1203" y="134"/>
                  </a:cubicBezTo>
                  <a:cubicBezTo>
                    <a:pt x="1199" y="134"/>
                    <a:pt x="1199" y="134"/>
                    <a:pt x="1199" y="134"/>
                  </a:cubicBezTo>
                  <a:cubicBezTo>
                    <a:pt x="1193" y="132"/>
                    <a:pt x="1193" y="132"/>
                    <a:pt x="1193" y="132"/>
                  </a:cubicBezTo>
                  <a:cubicBezTo>
                    <a:pt x="1190" y="131"/>
                    <a:pt x="1190" y="131"/>
                    <a:pt x="1190" y="131"/>
                  </a:cubicBezTo>
                  <a:cubicBezTo>
                    <a:pt x="1190" y="131"/>
                    <a:pt x="1184" y="133"/>
                    <a:pt x="1182" y="133"/>
                  </a:cubicBezTo>
                  <a:cubicBezTo>
                    <a:pt x="1182" y="133"/>
                    <a:pt x="1177" y="133"/>
                    <a:pt x="1174" y="132"/>
                  </a:cubicBezTo>
                  <a:cubicBezTo>
                    <a:pt x="1170" y="132"/>
                    <a:pt x="1170" y="132"/>
                    <a:pt x="1170" y="132"/>
                  </a:cubicBezTo>
                  <a:cubicBezTo>
                    <a:pt x="1168" y="132"/>
                    <a:pt x="1167" y="134"/>
                    <a:pt x="1167" y="134"/>
                  </a:cubicBezTo>
                  <a:cubicBezTo>
                    <a:pt x="1166" y="137"/>
                    <a:pt x="1166" y="137"/>
                    <a:pt x="1166" y="137"/>
                  </a:cubicBezTo>
                  <a:cubicBezTo>
                    <a:pt x="1164" y="141"/>
                    <a:pt x="1164" y="141"/>
                    <a:pt x="1164" y="141"/>
                  </a:cubicBezTo>
                  <a:cubicBezTo>
                    <a:pt x="1164" y="141"/>
                    <a:pt x="1163" y="144"/>
                    <a:pt x="1162" y="144"/>
                  </a:cubicBezTo>
                  <a:cubicBezTo>
                    <a:pt x="1161" y="145"/>
                    <a:pt x="1161" y="147"/>
                    <a:pt x="1161" y="148"/>
                  </a:cubicBezTo>
                  <a:cubicBezTo>
                    <a:pt x="1161" y="149"/>
                    <a:pt x="1161" y="151"/>
                    <a:pt x="1161" y="152"/>
                  </a:cubicBezTo>
                  <a:cubicBezTo>
                    <a:pt x="1161" y="153"/>
                    <a:pt x="1160" y="155"/>
                    <a:pt x="1160" y="156"/>
                  </a:cubicBezTo>
                  <a:cubicBezTo>
                    <a:pt x="1159" y="157"/>
                    <a:pt x="1158" y="158"/>
                    <a:pt x="1157" y="160"/>
                  </a:cubicBezTo>
                  <a:cubicBezTo>
                    <a:pt x="1156" y="162"/>
                    <a:pt x="1155" y="162"/>
                    <a:pt x="1153" y="163"/>
                  </a:cubicBezTo>
                  <a:cubicBezTo>
                    <a:pt x="1152" y="165"/>
                    <a:pt x="1150" y="167"/>
                    <a:pt x="1149" y="167"/>
                  </a:cubicBezTo>
                  <a:cubicBezTo>
                    <a:pt x="1148" y="167"/>
                    <a:pt x="1145" y="170"/>
                    <a:pt x="1143" y="170"/>
                  </a:cubicBezTo>
                  <a:cubicBezTo>
                    <a:pt x="1142" y="171"/>
                    <a:pt x="1140" y="172"/>
                    <a:pt x="1138" y="173"/>
                  </a:cubicBezTo>
                  <a:cubicBezTo>
                    <a:pt x="1137" y="173"/>
                    <a:pt x="1136" y="175"/>
                    <a:pt x="1135" y="175"/>
                  </a:cubicBezTo>
                  <a:cubicBezTo>
                    <a:pt x="1134" y="175"/>
                    <a:pt x="1134" y="177"/>
                    <a:pt x="1134" y="178"/>
                  </a:cubicBezTo>
                  <a:cubicBezTo>
                    <a:pt x="1134" y="179"/>
                    <a:pt x="1134" y="179"/>
                    <a:pt x="1131" y="182"/>
                  </a:cubicBezTo>
                  <a:cubicBezTo>
                    <a:pt x="1128" y="185"/>
                    <a:pt x="1130" y="185"/>
                    <a:pt x="1132" y="185"/>
                  </a:cubicBezTo>
                  <a:cubicBezTo>
                    <a:pt x="1133" y="184"/>
                    <a:pt x="1136" y="187"/>
                    <a:pt x="1138" y="186"/>
                  </a:cubicBezTo>
                  <a:cubicBezTo>
                    <a:pt x="1139" y="186"/>
                    <a:pt x="1141" y="185"/>
                    <a:pt x="1141" y="187"/>
                  </a:cubicBezTo>
                  <a:cubicBezTo>
                    <a:pt x="1141" y="188"/>
                    <a:pt x="1141" y="197"/>
                    <a:pt x="1141" y="197"/>
                  </a:cubicBezTo>
                  <a:cubicBezTo>
                    <a:pt x="1141" y="197"/>
                    <a:pt x="1141" y="201"/>
                    <a:pt x="1140" y="202"/>
                  </a:cubicBezTo>
                  <a:cubicBezTo>
                    <a:pt x="1139" y="204"/>
                    <a:pt x="1139" y="204"/>
                    <a:pt x="1138" y="206"/>
                  </a:cubicBezTo>
                  <a:cubicBezTo>
                    <a:pt x="1137" y="208"/>
                    <a:pt x="1136" y="209"/>
                    <a:pt x="1136" y="211"/>
                  </a:cubicBezTo>
                  <a:cubicBezTo>
                    <a:pt x="1136" y="212"/>
                    <a:pt x="1134" y="217"/>
                    <a:pt x="1136" y="216"/>
                  </a:cubicBezTo>
                  <a:cubicBezTo>
                    <a:pt x="1139" y="214"/>
                    <a:pt x="1139" y="217"/>
                    <a:pt x="1141" y="215"/>
                  </a:cubicBezTo>
                  <a:cubicBezTo>
                    <a:pt x="1143" y="215"/>
                    <a:pt x="1144" y="216"/>
                    <a:pt x="1146" y="216"/>
                  </a:cubicBezTo>
                  <a:cubicBezTo>
                    <a:pt x="1147" y="215"/>
                    <a:pt x="1149" y="218"/>
                    <a:pt x="1150" y="218"/>
                  </a:cubicBezTo>
                  <a:cubicBezTo>
                    <a:pt x="1152" y="218"/>
                    <a:pt x="1152" y="220"/>
                    <a:pt x="1153" y="221"/>
                  </a:cubicBezTo>
                  <a:cubicBezTo>
                    <a:pt x="1153" y="222"/>
                    <a:pt x="1154" y="226"/>
                    <a:pt x="1154" y="226"/>
                  </a:cubicBezTo>
                  <a:cubicBezTo>
                    <a:pt x="1154" y="227"/>
                    <a:pt x="1156" y="229"/>
                    <a:pt x="1158" y="229"/>
                  </a:cubicBezTo>
                  <a:cubicBezTo>
                    <a:pt x="1160" y="229"/>
                    <a:pt x="1160" y="231"/>
                    <a:pt x="1162" y="231"/>
                  </a:cubicBezTo>
                  <a:cubicBezTo>
                    <a:pt x="1163" y="231"/>
                    <a:pt x="1164" y="232"/>
                    <a:pt x="1164" y="233"/>
                  </a:cubicBezTo>
                  <a:cubicBezTo>
                    <a:pt x="1164" y="234"/>
                    <a:pt x="1164" y="236"/>
                    <a:pt x="1164" y="237"/>
                  </a:cubicBezTo>
                  <a:cubicBezTo>
                    <a:pt x="1163" y="238"/>
                    <a:pt x="1161" y="242"/>
                    <a:pt x="1161" y="242"/>
                  </a:cubicBezTo>
                  <a:cubicBezTo>
                    <a:pt x="1160" y="243"/>
                    <a:pt x="1157" y="245"/>
                    <a:pt x="1157" y="245"/>
                  </a:cubicBezTo>
                  <a:cubicBezTo>
                    <a:pt x="1155" y="244"/>
                    <a:pt x="1155" y="244"/>
                    <a:pt x="1155" y="244"/>
                  </a:cubicBezTo>
                  <a:cubicBezTo>
                    <a:pt x="1155" y="244"/>
                    <a:pt x="1151" y="242"/>
                    <a:pt x="1150" y="242"/>
                  </a:cubicBezTo>
                  <a:cubicBezTo>
                    <a:pt x="1149" y="241"/>
                    <a:pt x="1147" y="239"/>
                    <a:pt x="1146" y="237"/>
                  </a:cubicBezTo>
                  <a:cubicBezTo>
                    <a:pt x="1146" y="236"/>
                    <a:pt x="1135" y="231"/>
                    <a:pt x="1130" y="228"/>
                  </a:cubicBezTo>
                  <a:cubicBezTo>
                    <a:pt x="1125" y="225"/>
                    <a:pt x="1127" y="227"/>
                    <a:pt x="1126" y="227"/>
                  </a:cubicBezTo>
                  <a:cubicBezTo>
                    <a:pt x="1125" y="227"/>
                    <a:pt x="1120" y="226"/>
                    <a:pt x="1118" y="225"/>
                  </a:cubicBezTo>
                  <a:cubicBezTo>
                    <a:pt x="1116" y="225"/>
                    <a:pt x="1114" y="224"/>
                    <a:pt x="1113" y="223"/>
                  </a:cubicBezTo>
                  <a:cubicBezTo>
                    <a:pt x="1113" y="222"/>
                    <a:pt x="1110" y="223"/>
                    <a:pt x="1108" y="220"/>
                  </a:cubicBezTo>
                  <a:cubicBezTo>
                    <a:pt x="1108" y="220"/>
                    <a:pt x="1108" y="220"/>
                    <a:pt x="1108" y="220"/>
                  </a:cubicBezTo>
                  <a:cubicBezTo>
                    <a:pt x="1107" y="219"/>
                    <a:pt x="1106" y="218"/>
                    <a:pt x="1106" y="218"/>
                  </a:cubicBezTo>
                  <a:cubicBezTo>
                    <a:pt x="1105" y="217"/>
                    <a:pt x="1102" y="217"/>
                    <a:pt x="1101" y="217"/>
                  </a:cubicBezTo>
                  <a:cubicBezTo>
                    <a:pt x="1100" y="216"/>
                    <a:pt x="1096" y="215"/>
                    <a:pt x="1095" y="214"/>
                  </a:cubicBezTo>
                  <a:cubicBezTo>
                    <a:pt x="1095" y="214"/>
                    <a:pt x="1092" y="214"/>
                    <a:pt x="1091" y="214"/>
                  </a:cubicBezTo>
                  <a:cubicBezTo>
                    <a:pt x="1090" y="213"/>
                    <a:pt x="1087" y="212"/>
                    <a:pt x="1086" y="211"/>
                  </a:cubicBezTo>
                  <a:cubicBezTo>
                    <a:pt x="1085" y="211"/>
                    <a:pt x="1083" y="212"/>
                    <a:pt x="1082" y="211"/>
                  </a:cubicBezTo>
                  <a:cubicBezTo>
                    <a:pt x="1082" y="211"/>
                    <a:pt x="1064" y="209"/>
                    <a:pt x="1063" y="209"/>
                  </a:cubicBezTo>
                  <a:cubicBezTo>
                    <a:pt x="1061" y="209"/>
                    <a:pt x="1056" y="209"/>
                    <a:pt x="1056" y="209"/>
                  </a:cubicBezTo>
                  <a:cubicBezTo>
                    <a:pt x="1045" y="204"/>
                    <a:pt x="1045" y="204"/>
                    <a:pt x="1045" y="204"/>
                  </a:cubicBezTo>
                  <a:cubicBezTo>
                    <a:pt x="1045" y="204"/>
                    <a:pt x="1043" y="202"/>
                    <a:pt x="1042" y="201"/>
                  </a:cubicBezTo>
                  <a:cubicBezTo>
                    <a:pt x="1041" y="200"/>
                    <a:pt x="1038" y="196"/>
                    <a:pt x="1038" y="196"/>
                  </a:cubicBezTo>
                  <a:cubicBezTo>
                    <a:pt x="1037" y="195"/>
                    <a:pt x="1031" y="195"/>
                    <a:pt x="1031" y="194"/>
                  </a:cubicBezTo>
                  <a:cubicBezTo>
                    <a:pt x="1030" y="194"/>
                    <a:pt x="1028" y="195"/>
                    <a:pt x="1027" y="195"/>
                  </a:cubicBezTo>
                  <a:cubicBezTo>
                    <a:pt x="1027" y="194"/>
                    <a:pt x="1025" y="197"/>
                    <a:pt x="1024" y="198"/>
                  </a:cubicBezTo>
                  <a:cubicBezTo>
                    <a:pt x="1024" y="199"/>
                    <a:pt x="1025" y="202"/>
                    <a:pt x="1025" y="203"/>
                  </a:cubicBezTo>
                  <a:cubicBezTo>
                    <a:pt x="1025" y="204"/>
                    <a:pt x="1025" y="205"/>
                    <a:pt x="1025" y="205"/>
                  </a:cubicBezTo>
                  <a:cubicBezTo>
                    <a:pt x="1025" y="205"/>
                    <a:pt x="1026" y="206"/>
                    <a:pt x="1028" y="206"/>
                  </a:cubicBezTo>
                  <a:cubicBezTo>
                    <a:pt x="1029" y="206"/>
                    <a:pt x="1029" y="208"/>
                    <a:pt x="1031" y="208"/>
                  </a:cubicBezTo>
                  <a:cubicBezTo>
                    <a:pt x="1033" y="209"/>
                    <a:pt x="1035" y="210"/>
                    <a:pt x="1036" y="210"/>
                  </a:cubicBezTo>
                  <a:cubicBezTo>
                    <a:pt x="1038" y="210"/>
                    <a:pt x="1039" y="213"/>
                    <a:pt x="1039" y="213"/>
                  </a:cubicBezTo>
                  <a:cubicBezTo>
                    <a:pt x="1040" y="213"/>
                    <a:pt x="1042" y="216"/>
                    <a:pt x="1044" y="216"/>
                  </a:cubicBezTo>
                  <a:cubicBezTo>
                    <a:pt x="1046" y="216"/>
                    <a:pt x="1046" y="219"/>
                    <a:pt x="1047" y="219"/>
                  </a:cubicBezTo>
                  <a:cubicBezTo>
                    <a:pt x="1048" y="218"/>
                    <a:pt x="1047" y="220"/>
                    <a:pt x="1047" y="221"/>
                  </a:cubicBezTo>
                  <a:cubicBezTo>
                    <a:pt x="1048" y="222"/>
                    <a:pt x="1048" y="224"/>
                    <a:pt x="1050" y="224"/>
                  </a:cubicBezTo>
                  <a:cubicBezTo>
                    <a:pt x="1051" y="225"/>
                    <a:pt x="1053" y="228"/>
                    <a:pt x="1053" y="229"/>
                  </a:cubicBezTo>
                  <a:cubicBezTo>
                    <a:pt x="1053" y="229"/>
                    <a:pt x="1052" y="230"/>
                    <a:pt x="1052" y="232"/>
                  </a:cubicBezTo>
                  <a:cubicBezTo>
                    <a:pt x="1052" y="233"/>
                    <a:pt x="1050" y="234"/>
                    <a:pt x="1050" y="234"/>
                  </a:cubicBezTo>
                  <a:cubicBezTo>
                    <a:pt x="1050" y="234"/>
                    <a:pt x="1045" y="237"/>
                    <a:pt x="1044" y="236"/>
                  </a:cubicBezTo>
                  <a:cubicBezTo>
                    <a:pt x="1043" y="235"/>
                    <a:pt x="1042" y="238"/>
                    <a:pt x="1042" y="238"/>
                  </a:cubicBezTo>
                  <a:cubicBezTo>
                    <a:pt x="1042" y="241"/>
                    <a:pt x="1042" y="241"/>
                    <a:pt x="1042" y="241"/>
                  </a:cubicBezTo>
                  <a:cubicBezTo>
                    <a:pt x="1040" y="243"/>
                    <a:pt x="1040" y="243"/>
                    <a:pt x="1040" y="243"/>
                  </a:cubicBezTo>
                  <a:cubicBezTo>
                    <a:pt x="1039" y="245"/>
                    <a:pt x="1039" y="245"/>
                    <a:pt x="1039" y="245"/>
                  </a:cubicBezTo>
                  <a:cubicBezTo>
                    <a:pt x="1039" y="245"/>
                    <a:pt x="1034" y="244"/>
                    <a:pt x="1034" y="243"/>
                  </a:cubicBezTo>
                  <a:cubicBezTo>
                    <a:pt x="1033" y="242"/>
                    <a:pt x="1032" y="241"/>
                    <a:pt x="1032" y="241"/>
                  </a:cubicBezTo>
                  <a:cubicBezTo>
                    <a:pt x="1032" y="241"/>
                    <a:pt x="1033" y="237"/>
                    <a:pt x="1033" y="235"/>
                  </a:cubicBezTo>
                  <a:cubicBezTo>
                    <a:pt x="1034" y="233"/>
                    <a:pt x="1032" y="231"/>
                    <a:pt x="1032" y="231"/>
                  </a:cubicBezTo>
                  <a:cubicBezTo>
                    <a:pt x="1032" y="231"/>
                    <a:pt x="1032" y="231"/>
                    <a:pt x="1027" y="229"/>
                  </a:cubicBezTo>
                  <a:cubicBezTo>
                    <a:pt x="1026" y="229"/>
                    <a:pt x="1023" y="230"/>
                    <a:pt x="1021" y="230"/>
                  </a:cubicBezTo>
                  <a:cubicBezTo>
                    <a:pt x="1019" y="230"/>
                    <a:pt x="1019" y="231"/>
                    <a:pt x="1019" y="231"/>
                  </a:cubicBezTo>
                  <a:cubicBezTo>
                    <a:pt x="1019" y="231"/>
                    <a:pt x="1014" y="234"/>
                    <a:pt x="1013" y="235"/>
                  </a:cubicBezTo>
                  <a:cubicBezTo>
                    <a:pt x="1013" y="236"/>
                    <a:pt x="1010" y="237"/>
                    <a:pt x="1010" y="237"/>
                  </a:cubicBezTo>
                  <a:cubicBezTo>
                    <a:pt x="1005" y="240"/>
                    <a:pt x="1005" y="240"/>
                    <a:pt x="1005" y="240"/>
                  </a:cubicBezTo>
                  <a:cubicBezTo>
                    <a:pt x="998" y="238"/>
                    <a:pt x="998" y="238"/>
                    <a:pt x="998" y="238"/>
                  </a:cubicBezTo>
                  <a:cubicBezTo>
                    <a:pt x="991" y="239"/>
                    <a:pt x="991" y="239"/>
                    <a:pt x="991" y="239"/>
                  </a:cubicBezTo>
                  <a:cubicBezTo>
                    <a:pt x="989" y="239"/>
                    <a:pt x="989" y="239"/>
                    <a:pt x="989" y="239"/>
                  </a:cubicBezTo>
                  <a:cubicBezTo>
                    <a:pt x="983" y="240"/>
                    <a:pt x="983" y="240"/>
                    <a:pt x="983" y="240"/>
                  </a:cubicBezTo>
                  <a:cubicBezTo>
                    <a:pt x="983" y="240"/>
                    <a:pt x="971" y="245"/>
                    <a:pt x="971" y="245"/>
                  </a:cubicBezTo>
                  <a:cubicBezTo>
                    <a:pt x="970" y="245"/>
                    <a:pt x="962" y="246"/>
                    <a:pt x="961" y="246"/>
                  </a:cubicBezTo>
                  <a:cubicBezTo>
                    <a:pt x="960" y="245"/>
                    <a:pt x="955" y="246"/>
                    <a:pt x="954" y="245"/>
                  </a:cubicBezTo>
                  <a:cubicBezTo>
                    <a:pt x="952" y="244"/>
                    <a:pt x="956" y="244"/>
                    <a:pt x="957" y="244"/>
                  </a:cubicBezTo>
                  <a:cubicBezTo>
                    <a:pt x="958" y="243"/>
                    <a:pt x="960" y="241"/>
                    <a:pt x="961" y="239"/>
                  </a:cubicBezTo>
                  <a:cubicBezTo>
                    <a:pt x="961" y="237"/>
                    <a:pt x="960" y="235"/>
                    <a:pt x="960" y="235"/>
                  </a:cubicBezTo>
                  <a:cubicBezTo>
                    <a:pt x="966" y="229"/>
                    <a:pt x="966" y="229"/>
                    <a:pt x="966" y="229"/>
                  </a:cubicBezTo>
                  <a:cubicBezTo>
                    <a:pt x="966" y="228"/>
                    <a:pt x="957" y="230"/>
                    <a:pt x="957" y="230"/>
                  </a:cubicBezTo>
                  <a:cubicBezTo>
                    <a:pt x="957" y="230"/>
                    <a:pt x="954" y="232"/>
                    <a:pt x="953" y="232"/>
                  </a:cubicBezTo>
                  <a:cubicBezTo>
                    <a:pt x="952" y="232"/>
                    <a:pt x="948" y="234"/>
                    <a:pt x="947" y="234"/>
                  </a:cubicBezTo>
                  <a:cubicBezTo>
                    <a:pt x="946" y="234"/>
                    <a:pt x="945" y="238"/>
                    <a:pt x="945" y="238"/>
                  </a:cubicBezTo>
                  <a:cubicBezTo>
                    <a:pt x="945" y="238"/>
                    <a:pt x="942" y="243"/>
                    <a:pt x="940" y="243"/>
                  </a:cubicBezTo>
                  <a:cubicBezTo>
                    <a:pt x="939" y="244"/>
                    <a:pt x="939" y="241"/>
                    <a:pt x="939" y="240"/>
                  </a:cubicBezTo>
                  <a:cubicBezTo>
                    <a:pt x="938" y="239"/>
                    <a:pt x="935" y="240"/>
                    <a:pt x="935" y="238"/>
                  </a:cubicBezTo>
                  <a:cubicBezTo>
                    <a:pt x="935" y="237"/>
                    <a:pt x="932" y="239"/>
                    <a:pt x="932" y="239"/>
                  </a:cubicBezTo>
                  <a:cubicBezTo>
                    <a:pt x="932" y="239"/>
                    <a:pt x="927" y="242"/>
                    <a:pt x="926" y="242"/>
                  </a:cubicBezTo>
                  <a:cubicBezTo>
                    <a:pt x="925" y="242"/>
                    <a:pt x="920" y="242"/>
                    <a:pt x="920" y="242"/>
                  </a:cubicBezTo>
                  <a:cubicBezTo>
                    <a:pt x="920" y="242"/>
                    <a:pt x="916" y="243"/>
                    <a:pt x="916" y="244"/>
                  </a:cubicBezTo>
                  <a:cubicBezTo>
                    <a:pt x="915" y="244"/>
                    <a:pt x="911" y="247"/>
                    <a:pt x="910" y="248"/>
                  </a:cubicBezTo>
                  <a:cubicBezTo>
                    <a:pt x="909" y="249"/>
                    <a:pt x="902" y="253"/>
                    <a:pt x="901" y="253"/>
                  </a:cubicBezTo>
                  <a:cubicBezTo>
                    <a:pt x="901" y="253"/>
                    <a:pt x="904" y="254"/>
                    <a:pt x="904" y="254"/>
                  </a:cubicBezTo>
                  <a:cubicBezTo>
                    <a:pt x="904" y="254"/>
                    <a:pt x="889" y="259"/>
                    <a:pt x="885" y="260"/>
                  </a:cubicBezTo>
                  <a:cubicBezTo>
                    <a:pt x="881" y="260"/>
                    <a:pt x="882" y="261"/>
                    <a:pt x="881" y="262"/>
                  </a:cubicBezTo>
                  <a:cubicBezTo>
                    <a:pt x="880" y="263"/>
                    <a:pt x="880" y="270"/>
                    <a:pt x="880" y="270"/>
                  </a:cubicBezTo>
                  <a:cubicBezTo>
                    <a:pt x="879" y="269"/>
                    <a:pt x="877" y="271"/>
                    <a:pt x="876" y="273"/>
                  </a:cubicBezTo>
                  <a:cubicBezTo>
                    <a:pt x="875" y="274"/>
                    <a:pt x="874" y="274"/>
                    <a:pt x="874" y="274"/>
                  </a:cubicBezTo>
                  <a:cubicBezTo>
                    <a:pt x="859" y="278"/>
                    <a:pt x="859" y="278"/>
                    <a:pt x="859" y="278"/>
                  </a:cubicBezTo>
                  <a:cubicBezTo>
                    <a:pt x="859" y="278"/>
                    <a:pt x="855" y="278"/>
                    <a:pt x="854" y="278"/>
                  </a:cubicBezTo>
                  <a:cubicBezTo>
                    <a:pt x="853" y="277"/>
                    <a:pt x="849" y="272"/>
                    <a:pt x="849" y="270"/>
                  </a:cubicBezTo>
                  <a:cubicBezTo>
                    <a:pt x="849" y="268"/>
                    <a:pt x="848" y="270"/>
                    <a:pt x="845" y="269"/>
                  </a:cubicBezTo>
                  <a:cubicBezTo>
                    <a:pt x="842" y="269"/>
                    <a:pt x="841" y="267"/>
                    <a:pt x="841" y="266"/>
                  </a:cubicBezTo>
                  <a:cubicBezTo>
                    <a:pt x="840" y="266"/>
                    <a:pt x="842" y="264"/>
                    <a:pt x="842" y="263"/>
                  </a:cubicBezTo>
                  <a:cubicBezTo>
                    <a:pt x="842" y="261"/>
                    <a:pt x="844" y="261"/>
                    <a:pt x="845" y="260"/>
                  </a:cubicBezTo>
                  <a:cubicBezTo>
                    <a:pt x="845" y="258"/>
                    <a:pt x="846" y="258"/>
                    <a:pt x="849" y="257"/>
                  </a:cubicBezTo>
                  <a:cubicBezTo>
                    <a:pt x="851" y="255"/>
                    <a:pt x="852" y="257"/>
                    <a:pt x="852" y="257"/>
                  </a:cubicBezTo>
                  <a:cubicBezTo>
                    <a:pt x="859" y="256"/>
                    <a:pt x="859" y="256"/>
                    <a:pt x="859" y="256"/>
                  </a:cubicBezTo>
                  <a:cubicBezTo>
                    <a:pt x="859" y="256"/>
                    <a:pt x="863" y="256"/>
                    <a:pt x="865" y="255"/>
                  </a:cubicBezTo>
                  <a:cubicBezTo>
                    <a:pt x="866" y="254"/>
                    <a:pt x="863" y="254"/>
                    <a:pt x="863" y="252"/>
                  </a:cubicBezTo>
                  <a:cubicBezTo>
                    <a:pt x="864" y="249"/>
                    <a:pt x="857" y="245"/>
                    <a:pt x="856" y="243"/>
                  </a:cubicBezTo>
                  <a:cubicBezTo>
                    <a:pt x="856" y="242"/>
                    <a:pt x="851" y="241"/>
                    <a:pt x="851" y="240"/>
                  </a:cubicBezTo>
                  <a:cubicBezTo>
                    <a:pt x="850" y="239"/>
                    <a:pt x="847" y="240"/>
                    <a:pt x="846" y="239"/>
                  </a:cubicBezTo>
                  <a:cubicBezTo>
                    <a:pt x="844" y="238"/>
                    <a:pt x="841" y="240"/>
                    <a:pt x="840" y="239"/>
                  </a:cubicBezTo>
                  <a:cubicBezTo>
                    <a:pt x="839" y="238"/>
                    <a:pt x="835" y="239"/>
                    <a:pt x="833" y="239"/>
                  </a:cubicBezTo>
                  <a:cubicBezTo>
                    <a:pt x="830" y="238"/>
                    <a:pt x="828" y="239"/>
                    <a:pt x="826" y="239"/>
                  </a:cubicBezTo>
                  <a:cubicBezTo>
                    <a:pt x="825" y="240"/>
                    <a:pt x="819" y="238"/>
                    <a:pt x="819" y="238"/>
                  </a:cubicBezTo>
                  <a:cubicBezTo>
                    <a:pt x="819" y="238"/>
                    <a:pt x="820" y="241"/>
                    <a:pt x="822" y="241"/>
                  </a:cubicBezTo>
                  <a:cubicBezTo>
                    <a:pt x="824" y="241"/>
                    <a:pt x="825" y="242"/>
                    <a:pt x="826" y="242"/>
                  </a:cubicBezTo>
                  <a:cubicBezTo>
                    <a:pt x="826" y="242"/>
                    <a:pt x="828" y="245"/>
                    <a:pt x="829" y="246"/>
                  </a:cubicBezTo>
                  <a:cubicBezTo>
                    <a:pt x="829" y="247"/>
                    <a:pt x="829" y="248"/>
                    <a:pt x="829" y="249"/>
                  </a:cubicBezTo>
                  <a:cubicBezTo>
                    <a:pt x="829" y="249"/>
                    <a:pt x="829" y="251"/>
                    <a:pt x="829" y="252"/>
                  </a:cubicBezTo>
                  <a:cubicBezTo>
                    <a:pt x="829" y="253"/>
                    <a:pt x="829" y="254"/>
                    <a:pt x="830" y="255"/>
                  </a:cubicBezTo>
                  <a:cubicBezTo>
                    <a:pt x="830" y="255"/>
                    <a:pt x="829" y="257"/>
                    <a:pt x="829" y="259"/>
                  </a:cubicBezTo>
                  <a:cubicBezTo>
                    <a:pt x="829" y="260"/>
                    <a:pt x="827" y="264"/>
                    <a:pt x="826" y="266"/>
                  </a:cubicBezTo>
                  <a:cubicBezTo>
                    <a:pt x="824" y="267"/>
                    <a:pt x="824" y="270"/>
                    <a:pt x="824" y="270"/>
                  </a:cubicBezTo>
                  <a:cubicBezTo>
                    <a:pt x="824" y="271"/>
                    <a:pt x="826" y="271"/>
                    <a:pt x="828" y="272"/>
                  </a:cubicBezTo>
                  <a:cubicBezTo>
                    <a:pt x="830" y="272"/>
                    <a:pt x="830" y="273"/>
                    <a:pt x="831" y="273"/>
                  </a:cubicBezTo>
                  <a:cubicBezTo>
                    <a:pt x="832" y="274"/>
                    <a:pt x="832" y="277"/>
                    <a:pt x="833" y="278"/>
                  </a:cubicBezTo>
                  <a:cubicBezTo>
                    <a:pt x="833" y="279"/>
                    <a:pt x="832" y="282"/>
                    <a:pt x="831" y="284"/>
                  </a:cubicBezTo>
                  <a:cubicBezTo>
                    <a:pt x="830" y="286"/>
                    <a:pt x="830" y="286"/>
                    <a:pt x="830" y="287"/>
                  </a:cubicBezTo>
                  <a:cubicBezTo>
                    <a:pt x="829" y="288"/>
                    <a:pt x="829" y="290"/>
                    <a:pt x="829" y="292"/>
                  </a:cubicBezTo>
                  <a:cubicBezTo>
                    <a:pt x="828" y="295"/>
                    <a:pt x="828" y="298"/>
                    <a:pt x="827" y="297"/>
                  </a:cubicBezTo>
                  <a:cubicBezTo>
                    <a:pt x="827" y="295"/>
                    <a:pt x="826" y="296"/>
                    <a:pt x="825" y="295"/>
                  </a:cubicBezTo>
                  <a:cubicBezTo>
                    <a:pt x="824" y="294"/>
                    <a:pt x="824" y="293"/>
                    <a:pt x="823" y="292"/>
                  </a:cubicBezTo>
                  <a:cubicBezTo>
                    <a:pt x="822" y="290"/>
                    <a:pt x="820" y="291"/>
                    <a:pt x="819" y="290"/>
                  </a:cubicBezTo>
                  <a:cubicBezTo>
                    <a:pt x="819" y="288"/>
                    <a:pt x="816" y="289"/>
                    <a:pt x="814" y="288"/>
                  </a:cubicBezTo>
                  <a:cubicBezTo>
                    <a:pt x="813" y="288"/>
                    <a:pt x="810" y="287"/>
                    <a:pt x="808" y="287"/>
                  </a:cubicBezTo>
                  <a:cubicBezTo>
                    <a:pt x="807" y="286"/>
                    <a:pt x="803" y="287"/>
                    <a:pt x="803" y="287"/>
                  </a:cubicBezTo>
                  <a:cubicBezTo>
                    <a:pt x="803" y="287"/>
                    <a:pt x="795" y="295"/>
                    <a:pt x="793" y="296"/>
                  </a:cubicBezTo>
                  <a:cubicBezTo>
                    <a:pt x="791" y="297"/>
                    <a:pt x="790" y="297"/>
                    <a:pt x="787" y="298"/>
                  </a:cubicBezTo>
                  <a:cubicBezTo>
                    <a:pt x="783" y="299"/>
                    <a:pt x="783" y="301"/>
                    <a:pt x="783" y="301"/>
                  </a:cubicBezTo>
                  <a:cubicBezTo>
                    <a:pt x="782" y="301"/>
                    <a:pt x="777" y="305"/>
                    <a:pt x="776" y="305"/>
                  </a:cubicBezTo>
                  <a:cubicBezTo>
                    <a:pt x="776" y="305"/>
                    <a:pt x="770" y="308"/>
                    <a:pt x="771" y="313"/>
                  </a:cubicBezTo>
                  <a:cubicBezTo>
                    <a:pt x="771" y="318"/>
                    <a:pt x="774" y="316"/>
                    <a:pt x="776" y="317"/>
                  </a:cubicBezTo>
                  <a:cubicBezTo>
                    <a:pt x="777" y="318"/>
                    <a:pt x="781" y="326"/>
                    <a:pt x="781" y="326"/>
                  </a:cubicBezTo>
                  <a:cubicBezTo>
                    <a:pt x="781" y="326"/>
                    <a:pt x="779" y="327"/>
                    <a:pt x="774" y="327"/>
                  </a:cubicBezTo>
                  <a:cubicBezTo>
                    <a:pt x="770" y="328"/>
                    <a:pt x="771" y="328"/>
                    <a:pt x="769" y="327"/>
                  </a:cubicBezTo>
                  <a:cubicBezTo>
                    <a:pt x="767" y="327"/>
                    <a:pt x="765" y="328"/>
                    <a:pt x="764" y="327"/>
                  </a:cubicBezTo>
                  <a:cubicBezTo>
                    <a:pt x="763" y="326"/>
                    <a:pt x="759" y="326"/>
                    <a:pt x="758" y="325"/>
                  </a:cubicBezTo>
                  <a:cubicBezTo>
                    <a:pt x="757" y="325"/>
                    <a:pt x="753" y="326"/>
                    <a:pt x="752" y="326"/>
                  </a:cubicBezTo>
                  <a:cubicBezTo>
                    <a:pt x="752" y="326"/>
                    <a:pt x="748" y="326"/>
                    <a:pt x="747" y="325"/>
                  </a:cubicBezTo>
                  <a:cubicBezTo>
                    <a:pt x="747" y="324"/>
                    <a:pt x="742" y="320"/>
                    <a:pt x="742" y="319"/>
                  </a:cubicBezTo>
                  <a:cubicBezTo>
                    <a:pt x="741" y="317"/>
                    <a:pt x="735" y="315"/>
                    <a:pt x="735" y="315"/>
                  </a:cubicBezTo>
                  <a:cubicBezTo>
                    <a:pt x="735" y="315"/>
                    <a:pt x="732" y="316"/>
                    <a:pt x="731" y="317"/>
                  </a:cubicBezTo>
                  <a:cubicBezTo>
                    <a:pt x="730" y="317"/>
                    <a:pt x="728" y="321"/>
                    <a:pt x="727" y="321"/>
                  </a:cubicBezTo>
                  <a:cubicBezTo>
                    <a:pt x="726" y="321"/>
                    <a:pt x="727" y="323"/>
                    <a:pt x="728" y="324"/>
                  </a:cubicBezTo>
                  <a:cubicBezTo>
                    <a:pt x="729" y="325"/>
                    <a:pt x="729" y="328"/>
                    <a:pt x="730" y="329"/>
                  </a:cubicBezTo>
                  <a:cubicBezTo>
                    <a:pt x="730" y="330"/>
                    <a:pt x="733" y="333"/>
                    <a:pt x="733" y="334"/>
                  </a:cubicBezTo>
                  <a:cubicBezTo>
                    <a:pt x="734" y="335"/>
                    <a:pt x="738" y="335"/>
                    <a:pt x="740" y="335"/>
                  </a:cubicBezTo>
                  <a:cubicBezTo>
                    <a:pt x="741" y="335"/>
                    <a:pt x="746" y="337"/>
                    <a:pt x="746" y="338"/>
                  </a:cubicBezTo>
                  <a:cubicBezTo>
                    <a:pt x="746" y="339"/>
                    <a:pt x="745" y="339"/>
                    <a:pt x="745" y="340"/>
                  </a:cubicBezTo>
                  <a:cubicBezTo>
                    <a:pt x="744" y="341"/>
                    <a:pt x="742" y="342"/>
                    <a:pt x="741" y="343"/>
                  </a:cubicBezTo>
                  <a:cubicBezTo>
                    <a:pt x="739" y="344"/>
                    <a:pt x="738" y="344"/>
                    <a:pt x="737" y="344"/>
                  </a:cubicBezTo>
                  <a:cubicBezTo>
                    <a:pt x="736" y="344"/>
                    <a:pt x="733" y="345"/>
                    <a:pt x="731" y="344"/>
                  </a:cubicBezTo>
                  <a:cubicBezTo>
                    <a:pt x="729" y="343"/>
                    <a:pt x="728" y="342"/>
                    <a:pt x="728" y="341"/>
                  </a:cubicBezTo>
                  <a:cubicBezTo>
                    <a:pt x="728" y="340"/>
                    <a:pt x="724" y="340"/>
                    <a:pt x="723" y="339"/>
                  </a:cubicBezTo>
                  <a:cubicBezTo>
                    <a:pt x="722" y="338"/>
                    <a:pt x="720" y="336"/>
                    <a:pt x="717" y="335"/>
                  </a:cubicBezTo>
                  <a:cubicBezTo>
                    <a:pt x="715" y="333"/>
                    <a:pt x="716" y="335"/>
                    <a:pt x="714" y="334"/>
                  </a:cubicBezTo>
                  <a:cubicBezTo>
                    <a:pt x="711" y="333"/>
                    <a:pt x="708" y="333"/>
                    <a:pt x="707" y="333"/>
                  </a:cubicBezTo>
                  <a:cubicBezTo>
                    <a:pt x="705" y="333"/>
                    <a:pt x="705" y="332"/>
                    <a:pt x="705" y="330"/>
                  </a:cubicBezTo>
                  <a:cubicBezTo>
                    <a:pt x="705" y="329"/>
                    <a:pt x="706" y="328"/>
                    <a:pt x="706" y="328"/>
                  </a:cubicBezTo>
                  <a:cubicBezTo>
                    <a:pt x="706" y="327"/>
                    <a:pt x="705" y="323"/>
                    <a:pt x="704" y="322"/>
                  </a:cubicBezTo>
                  <a:cubicBezTo>
                    <a:pt x="704" y="320"/>
                    <a:pt x="702" y="318"/>
                    <a:pt x="701" y="317"/>
                  </a:cubicBezTo>
                  <a:cubicBezTo>
                    <a:pt x="700" y="316"/>
                    <a:pt x="700" y="313"/>
                    <a:pt x="701" y="310"/>
                  </a:cubicBezTo>
                  <a:cubicBezTo>
                    <a:pt x="701" y="310"/>
                    <a:pt x="704" y="307"/>
                    <a:pt x="704" y="305"/>
                  </a:cubicBezTo>
                  <a:cubicBezTo>
                    <a:pt x="705" y="303"/>
                    <a:pt x="705" y="302"/>
                    <a:pt x="705" y="300"/>
                  </a:cubicBezTo>
                  <a:cubicBezTo>
                    <a:pt x="704" y="298"/>
                    <a:pt x="703" y="298"/>
                    <a:pt x="700" y="297"/>
                  </a:cubicBezTo>
                  <a:cubicBezTo>
                    <a:pt x="697" y="296"/>
                    <a:pt x="699" y="297"/>
                    <a:pt x="698" y="295"/>
                  </a:cubicBezTo>
                  <a:cubicBezTo>
                    <a:pt x="696" y="294"/>
                    <a:pt x="695" y="295"/>
                    <a:pt x="692" y="294"/>
                  </a:cubicBezTo>
                  <a:cubicBezTo>
                    <a:pt x="690" y="292"/>
                    <a:pt x="690" y="293"/>
                    <a:pt x="688" y="291"/>
                  </a:cubicBezTo>
                  <a:cubicBezTo>
                    <a:pt x="687" y="289"/>
                    <a:pt x="687" y="288"/>
                    <a:pt x="685" y="287"/>
                  </a:cubicBezTo>
                  <a:cubicBezTo>
                    <a:pt x="684" y="286"/>
                    <a:pt x="684" y="286"/>
                    <a:pt x="683" y="285"/>
                  </a:cubicBezTo>
                  <a:cubicBezTo>
                    <a:pt x="683" y="284"/>
                    <a:pt x="681" y="284"/>
                    <a:pt x="680" y="283"/>
                  </a:cubicBezTo>
                  <a:cubicBezTo>
                    <a:pt x="678" y="283"/>
                    <a:pt x="677" y="280"/>
                    <a:pt x="676" y="280"/>
                  </a:cubicBezTo>
                  <a:cubicBezTo>
                    <a:pt x="675" y="279"/>
                    <a:pt x="673" y="275"/>
                    <a:pt x="673" y="275"/>
                  </a:cubicBezTo>
                  <a:cubicBezTo>
                    <a:pt x="670" y="273"/>
                    <a:pt x="670" y="273"/>
                    <a:pt x="670" y="273"/>
                  </a:cubicBezTo>
                  <a:cubicBezTo>
                    <a:pt x="670" y="273"/>
                    <a:pt x="671" y="273"/>
                    <a:pt x="673" y="272"/>
                  </a:cubicBezTo>
                  <a:cubicBezTo>
                    <a:pt x="676" y="272"/>
                    <a:pt x="675" y="273"/>
                    <a:pt x="676" y="274"/>
                  </a:cubicBezTo>
                  <a:cubicBezTo>
                    <a:pt x="678" y="274"/>
                    <a:pt x="678" y="276"/>
                    <a:pt x="679" y="277"/>
                  </a:cubicBezTo>
                  <a:cubicBezTo>
                    <a:pt x="681" y="278"/>
                    <a:pt x="681" y="278"/>
                    <a:pt x="683" y="280"/>
                  </a:cubicBezTo>
                  <a:cubicBezTo>
                    <a:pt x="685" y="282"/>
                    <a:pt x="686" y="281"/>
                    <a:pt x="688" y="281"/>
                  </a:cubicBezTo>
                  <a:cubicBezTo>
                    <a:pt x="690" y="282"/>
                    <a:pt x="691" y="282"/>
                    <a:pt x="692" y="282"/>
                  </a:cubicBezTo>
                  <a:cubicBezTo>
                    <a:pt x="692" y="283"/>
                    <a:pt x="695" y="283"/>
                    <a:pt x="696" y="283"/>
                  </a:cubicBezTo>
                  <a:cubicBezTo>
                    <a:pt x="697" y="284"/>
                    <a:pt x="701" y="285"/>
                    <a:pt x="702" y="285"/>
                  </a:cubicBezTo>
                  <a:cubicBezTo>
                    <a:pt x="704" y="285"/>
                    <a:pt x="707" y="288"/>
                    <a:pt x="708" y="289"/>
                  </a:cubicBezTo>
                  <a:cubicBezTo>
                    <a:pt x="710" y="290"/>
                    <a:pt x="712" y="289"/>
                    <a:pt x="716" y="291"/>
                  </a:cubicBezTo>
                  <a:cubicBezTo>
                    <a:pt x="720" y="292"/>
                    <a:pt x="725" y="291"/>
                    <a:pt x="726" y="291"/>
                  </a:cubicBezTo>
                  <a:cubicBezTo>
                    <a:pt x="726" y="291"/>
                    <a:pt x="731" y="291"/>
                    <a:pt x="734" y="293"/>
                  </a:cubicBezTo>
                  <a:cubicBezTo>
                    <a:pt x="737" y="294"/>
                    <a:pt x="739" y="294"/>
                    <a:pt x="742" y="295"/>
                  </a:cubicBezTo>
                  <a:cubicBezTo>
                    <a:pt x="744" y="296"/>
                    <a:pt x="756" y="296"/>
                    <a:pt x="757" y="295"/>
                  </a:cubicBezTo>
                  <a:cubicBezTo>
                    <a:pt x="758" y="294"/>
                    <a:pt x="761" y="295"/>
                    <a:pt x="765" y="294"/>
                  </a:cubicBezTo>
                  <a:cubicBezTo>
                    <a:pt x="769" y="292"/>
                    <a:pt x="769" y="293"/>
                    <a:pt x="769" y="293"/>
                  </a:cubicBezTo>
                  <a:cubicBezTo>
                    <a:pt x="771" y="292"/>
                    <a:pt x="771" y="292"/>
                    <a:pt x="771" y="292"/>
                  </a:cubicBezTo>
                  <a:cubicBezTo>
                    <a:pt x="771" y="292"/>
                    <a:pt x="776" y="290"/>
                    <a:pt x="778" y="289"/>
                  </a:cubicBezTo>
                  <a:cubicBezTo>
                    <a:pt x="780" y="288"/>
                    <a:pt x="783" y="287"/>
                    <a:pt x="785" y="284"/>
                  </a:cubicBezTo>
                  <a:cubicBezTo>
                    <a:pt x="787" y="281"/>
                    <a:pt x="788" y="281"/>
                    <a:pt x="790" y="279"/>
                  </a:cubicBezTo>
                  <a:cubicBezTo>
                    <a:pt x="791" y="277"/>
                    <a:pt x="792" y="276"/>
                    <a:pt x="792" y="274"/>
                  </a:cubicBezTo>
                  <a:cubicBezTo>
                    <a:pt x="792" y="272"/>
                    <a:pt x="791" y="271"/>
                    <a:pt x="791" y="269"/>
                  </a:cubicBezTo>
                  <a:cubicBezTo>
                    <a:pt x="790" y="267"/>
                    <a:pt x="789" y="267"/>
                    <a:pt x="788" y="264"/>
                  </a:cubicBezTo>
                  <a:cubicBezTo>
                    <a:pt x="788" y="262"/>
                    <a:pt x="787" y="263"/>
                    <a:pt x="785" y="261"/>
                  </a:cubicBezTo>
                  <a:cubicBezTo>
                    <a:pt x="783" y="259"/>
                    <a:pt x="782" y="259"/>
                    <a:pt x="780" y="256"/>
                  </a:cubicBezTo>
                  <a:cubicBezTo>
                    <a:pt x="777" y="252"/>
                    <a:pt x="776" y="253"/>
                    <a:pt x="774" y="251"/>
                  </a:cubicBezTo>
                  <a:cubicBezTo>
                    <a:pt x="773" y="249"/>
                    <a:pt x="773" y="250"/>
                    <a:pt x="770" y="250"/>
                  </a:cubicBezTo>
                  <a:cubicBezTo>
                    <a:pt x="768" y="249"/>
                    <a:pt x="767" y="249"/>
                    <a:pt x="766" y="249"/>
                  </a:cubicBezTo>
                  <a:cubicBezTo>
                    <a:pt x="764" y="249"/>
                    <a:pt x="761" y="247"/>
                    <a:pt x="760" y="246"/>
                  </a:cubicBezTo>
                  <a:cubicBezTo>
                    <a:pt x="759" y="246"/>
                    <a:pt x="754" y="243"/>
                    <a:pt x="751" y="240"/>
                  </a:cubicBezTo>
                  <a:cubicBezTo>
                    <a:pt x="748" y="237"/>
                    <a:pt x="746" y="239"/>
                    <a:pt x="745" y="237"/>
                  </a:cubicBezTo>
                  <a:cubicBezTo>
                    <a:pt x="743" y="236"/>
                    <a:pt x="742" y="235"/>
                    <a:pt x="740" y="233"/>
                  </a:cubicBezTo>
                  <a:cubicBezTo>
                    <a:pt x="739" y="231"/>
                    <a:pt x="735" y="232"/>
                    <a:pt x="733" y="231"/>
                  </a:cubicBezTo>
                  <a:cubicBezTo>
                    <a:pt x="732" y="230"/>
                    <a:pt x="730" y="229"/>
                    <a:pt x="729" y="229"/>
                  </a:cubicBezTo>
                  <a:cubicBezTo>
                    <a:pt x="728" y="229"/>
                    <a:pt x="725" y="228"/>
                    <a:pt x="724" y="227"/>
                  </a:cubicBezTo>
                  <a:cubicBezTo>
                    <a:pt x="723" y="227"/>
                    <a:pt x="722" y="225"/>
                    <a:pt x="721" y="224"/>
                  </a:cubicBezTo>
                  <a:cubicBezTo>
                    <a:pt x="721" y="223"/>
                    <a:pt x="718" y="223"/>
                    <a:pt x="717" y="222"/>
                  </a:cubicBezTo>
                  <a:cubicBezTo>
                    <a:pt x="716" y="222"/>
                    <a:pt x="712" y="223"/>
                    <a:pt x="711" y="223"/>
                  </a:cubicBezTo>
                  <a:cubicBezTo>
                    <a:pt x="711" y="223"/>
                    <a:pt x="704" y="224"/>
                    <a:pt x="703" y="223"/>
                  </a:cubicBezTo>
                  <a:cubicBezTo>
                    <a:pt x="702" y="222"/>
                    <a:pt x="701" y="222"/>
                    <a:pt x="701" y="221"/>
                  </a:cubicBezTo>
                  <a:cubicBezTo>
                    <a:pt x="700" y="220"/>
                    <a:pt x="696" y="219"/>
                    <a:pt x="696" y="219"/>
                  </a:cubicBezTo>
                  <a:cubicBezTo>
                    <a:pt x="694" y="220"/>
                    <a:pt x="694" y="220"/>
                    <a:pt x="694" y="220"/>
                  </a:cubicBezTo>
                  <a:cubicBezTo>
                    <a:pt x="694" y="220"/>
                    <a:pt x="691" y="222"/>
                    <a:pt x="690" y="221"/>
                  </a:cubicBezTo>
                  <a:cubicBezTo>
                    <a:pt x="690" y="221"/>
                    <a:pt x="687" y="222"/>
                    <a:pt x="686" y="221"/>
                  </a:cubicBezTo>
                  <a:cubicBezTo>
                    <a:pt x="686" y="220"/>
                    <a:pt x="686" y="218"/>
                    <a:pt x="685" y="218"/>
                  </a:cubicBezTo>
                  <a:cubicBezTo>
                    <a:pt x="685" y="217"/>
                    <a:pt x="682" y="220"/>
                    <a:pt x="681" y="220"/>
                  </a:cubicBezTo>
                  <a:cubicBezTo>
                    <a:pt x="681" y="219"/>
                    <a:pt x="678" y="220"/>
                    <a:pt x="677" y="219"/>
                  </a:cubicBezTo>
                  <a:cubicBezTo>
                    <a:pt x="676" y="218"/>
                    <a:pt x="673" y="218"/>
                    <a:pt x="672" y="216"/>
                  </a:cubicBezTo>
                  <a:cubicBezTo>
                    <a:pt x="671" y="214"/>
                    <a:pt x="674" y="214"/>
                    <a:pt x="675" y="214"/>
                  </a:cubicBezTo>
                  <a:cubicBezTo>
                    <a:pt x="675" y="214"/>
                    <a:pt x="680" y="213"/>
                    <a:pt x="680" y="212"/>
                  </a:cubicBezTo>
                  <a:cubicBezTo>
                    <a:pt x="679" y="210"/>
                    <a:pt x="678" y="209"/>
                    <a:pt x="678" y="209"/>
                  </a:cubicBezTo>
                  <a:cubicBezTo>
                    <a:pt x="677" y="208"/>
                    <a:pt x="668" y="207"/>
                    <a:pt x="668" y="207"/>
                  </a:cubicBezTo>
                  <a:cubicBezTo>
                    <a:pt x="668" y="207"/>
                    <a:pt x="666" y="209"/>
                    <a:pt x="665" y="208"/>
                  </a:cubicBezTo>
                  <a:cubicBezTo>
                    <a:pt x="665" y="207"/>
                    <a:pt x="662" y="208"/>
                    <a:pt x="662" y="208"/>
                  </a:cubicBezTo>
                  <a:cubicBezTo>
                    <a:pt x="659" y="211"/>
                    <a:pt x="659" y="211"/>
                    <a:pt x="659" y="211"/>
                  </a:cubicBezTo>
                  <a:cubicBezTo>
                    <a:pt x="659" y="211"/>
                    <a:pt x="657" y="212"/>
                    <a:pt x="655" y="212"/>
                  </a:cubicBezTo>
                  <a:cubicBezTo>
                    <a:pt x="655" y="212"/>
                    <a:pt x="655" y="212"/>
                    <a:pt x="655" y="212"/>
                  </a:cubicBezTo>
                  <a:cubicBezTo>
                    <a:pt x="654" y="211"/>
                    <a:pt x="649" y="210"/>
                    <a:pt x="649" y="210"/>
                  </a:cubicBezTo>
                  <a:cubicBezTo>
                    <a:pt x="649" y="210"/>
                    <a:pt x="647" y="212"/>
                    <a:pt x="644" y="212"/>
                  </a:cubicBezTo>
                  <a:cubicBezTo>
                    <a:pt x="641" y="213"/>
                    <a:pt x="641" y="211"/>
                    <a:pt x="641" y="211"/>
                  </a:cubicBezTo>
                  <a:cubicBezTo>
                    <a:pt x="641" y="211"/>
                    <a:pt x="637" y="210"/>
                    <a:pt x="637" y="210"/>
                  </a:cubicBezTo>
                  <a:cubicBezTo>
                    <a:pt x="636" y="209"/>
                    <a:pt x="631" y="205"/>
                    <a:pt x="631" y="205"/>
                  </a:cubicBezTo>
                  <a:cubicBezTo>
                    <a:pt x="631" y="205"/>
                    <a:pt x="633" y="204"/>
                    <a:pt x="634" y="203"/>
                  </a:cubicBezTo>
                  <a:cubicBezTo>
                    <a:pt x="635" y="202"/>
                    <a:pt x="637" y="205"/>
                    <a:pt x="639" y="205"/>
                  </a:cubicBezTo>
                  <a:cubicBezTo>
                    <a:pt x="640" y="205"/>
                    <a:pt x="642" y="204"/>
                    <a:pt x="646" y="201"/>
                  </a:cubicBezTo>
                  <a:cubicBezTo>
                    <a:pt x="650" y="198"/>
                    <a:pt x="650" y="199"/>
                    <a:pt x="652" y="197"/>
                  </a:cubicBezTo>
                  <a:cubicBezTo>
                    <a:pt x="655" y="195"/>
                    <a:pt x="652" y="195"/>
                    <a:pt x="652" y="195"/>
                  </a:cubicBezTo>
                  <a:cubicBezTo>
                    <a:pt x="652" y="195"/>
                    <a:pt x="652" y="191"/>
                    <a:pt x="652" y="189"/>
                  </a:cubicBezTo>
                  <a:cubicBezTo>
                    <a:pt x="651" y="188"/>
                    <a:pt x="646" y="189"/>
                    <a:pt x="645" y="187"/>
                  </a:cubicBezTo>
                  <a:cubicBezTo>
                    <a:pt x="645" y="186"/>
                    <a:pt x="640" y="186"/>
                    <a:pt x="639" y="184"/>
                  </a:cubicBezTo>
                  <a:cubicBezTo>
                    <a:pt x="637" y="183"/>
                    <a:pt x="634" y="185"/>
                    <a:pt x="633" y="184"/>
                  </a:cubicBezTo>
                  <a:cubicBezTo>
                    <a:pt x="632" y="184"/>
                    <a:pt x="626" y="184"/>
                    <a:pt x="626" y="183"/>
                  </a:cubicBezTo>
                  <a:cubicBezTo>
                    <a:pt x="625" y="183"/>
                    <a:pt x="623" y="184"/>
                    <a:pt x="623" y="184"/>
                  </a:cubicBezTo>
                  <a:cubicBezTo>
                    <a:pt x="622" y="184"/>
                    <a:pt x="618" y="193"/>
                    <a:pt x="618" y="194"/>
                  </a:cubicBezTo>
                  <a:cubicBezTo>
                    <a:pt x="617" y="195"/>
                    <a:pt x="616" y="194"/>
                    <a:pt x="616" y="194"/>
                  </a:cubicBezTo>
                  <a:cubicBezTo>
                    <a:pt x="616" y="194"/>
                    <a:pt x="614" y="191"/>
                    <a:pt x="614" y="189"/>
                  </a:cubicBezTo>
                  <a:cubicBezTo>
                    <a:pt x="614" y="187"/>
                    <a:pt x="615" y="186"/>
                    <a:pt x="616" y="185"/>
                  </a:cubicBezTo>
                  <a:cubicBezTo>
                    <a:pt x="616" y="184"/>
                    <a:pt x="618" y="183"/>
                    <a:pt x="619" y="183"/>
                  </a:cubicBezTo>
                  <a:cubicBezTo>
                    <a:pt x="621" y="182"/>
                    <a:pt x="620" y="182"/>
                    <a:pt x="620" y="180"/>
                  </a:cubicBezTo>
                  <a:cubicBezTo>
                    <a:pt x="619" y="178"/>
                    <a:pt x="617" y="178"/>
                    <a:pt x="615" y="178"/>
                  </a:cubicBezTo>
                  <a:cubicBezTo>
                    <a:pt x="613" y="177"/>
                    <a:pt x="609" y="178"/>
                    <a:pt x="608" y="179"/>
                  </a:cubicBezTo>
                  <a:cubicBezTo>
                    <a:pt x="606" y="179"/>
                    <a:pt x="605" y="180"/>
                    <a:pt x="605" y="182"/>
                  </a:cubicBezTo>
                  <a:cubicBezTo>
                    <a:pt x="605" y="183"/>
                    <a:pt x="603" y="189"/>
                    <a:pt x="603" y="189"/>
                  </a:cubicBezTo>
                  <a:cubicBezTo>
                    <a:pt x="603" y="189"/>
                    <a:pt x="600" y="192"/>
                    <a:pt x="599" y="192"/>
                  </a:cubicBezTo>
                  <a:cubicBezTo>
                    <a:pt x="599" y="192"/>
                    <a:pt x="596" y="194"/>
                    <a:pt x="595" y="193"/>
                  </a:cubicBezTo>
                  <a:cubicBezTo>
                    <a:pt x="594" y="192"/>
                    <a:pt x="594" y="192"/>
                    <a:pt x="595" y="191"/>
                  </a:cubicBezTo>
                  <a:cubicBezTo>
                    <a:pt x="595" y="189"/>
                    <a:pt x="595" y="183"/>
                    <a:pt x="594" y="182"/>
                  </a:cubicBezTo>
                  <a:cubicBezTo>
                    <a:pt x="593" y="181"/>
                    <a:pt x="592" y="184"/>
                    <a:pt x="591" y="185"/>
                  </a:cubicBezTo>
                  <a:cubicBezTo>
                    <a:pt x="591" y="186"/>
                    <a:pt x="588" y="189"/>
                    <a:pt x="588" y="190"/>
                  </a:cubicBezTo>
                  <a:cubicBezTo>
                    <a:pt x="587" y="192"/>
                    <a:pt x="582" y="196"/>
                    <a:pt x="581" y="196"/>
                  </a:cubicBezTo>
                  <a:cubicBezTo>
                    <a:pt x="580" y="196"/>
                    <a:pt x="577" y="199"/>
                    <a:pt x="574" y="198"/>
                  </a:cubicBezTo>
                  <a:cubicBezTo>
                    <a:pt x="573" y="197"/>
                    <a:pt x="573" y="197"/>
                    <a:pt x="575" y="194"/>
                  </a:cubicBezTo>
                  <a:cubicBezTo>
                    <a:pt x="577" y="191"/>
                    <a:pt x="579" y="188"/>
                    <a:pt x="582" y="186"/>
                  </a:cubicBezTo>
                  <a:cubicBezTo>
                    <a:pt x="585" y="184"/>
                    <a:pt x="586" y="179"/>
                    <a:pt x="586" y="179"/>
                  </a:cubicBezTo>
                  <a:cubicBezTo>
                    <a:pt x="586" y="179"/>
                    <a:pt x="581" y="182"/>
                    <a:pt x="579" y="181"/>
                  </a:cubicBezTo>
                  <a:cubicBezTo>
                    <a:pt x="576" y="181"/>
                    <a:pt x="573" y="182"/>
                    <a:pt x="573" y="182"/>
                  </a:cubicBezTo>
                  <a:cubicBezTo>
                    <a:pt x="573" y="182"/>
                    <a:pt x="571" y="185"/>
                    <a:pt x="572" y="186"/>
                  </a:cubicBezTo>
                  <a:cubicBezTo>
                    <a:pt x="572" y="188"/>
                    <a:pt x="567" y="190"/>
                    <a:pt x="566" y="191"/>
                  </a:cubicBezTo>
                  <a:cubicBezTo>
                    <a:pt x="565" y="191"/>
                    <a:pt x="563" y="191"/>
                    <a:pt x="562" y="191"/>
                  </a:cubicBezTo>
                  <a:cubicBezTo>
                    <a:pt x="561" y="191"/>
                    <a:pt x="560" y="194"/>
                    <a:pt x="559" y="195"/>
                  </a:cubicBezTo>
                  <a:cubicBezTo>
                    <a:pt x="558" y="196"/>
                    <a:pt x="554" y="197"/>
                    <a:pt x="554" y="197"/>
                  </a:cubicBezTo>
                  <a:cubicBezTo>
                    <a:pt x="554" y="197"/>
                    <a:pt x="550" y="198"/>
                    <a:pt x="550" y="199"/>
                  </a:cubicBezTo>
                  <a:cubicBezTo>
                    <a:pt x="549" y="199"/>
                    <a:pt x="548" y="200"/>
                    <a:pt x="547" y="200"/>
                  </a:cubicBezTo>
                  <a:cubicBezTo>
                    <a:pt x="547" y="200"/>
                    <a:pt x="543" y="202"/>
                    <a:pt x="541" y="202"/>
                  </a:cubicBezTo>
                  <a:cubicBezTo>
                    <a:pt x="539" y="201"/>
                    <a:pt x="537" y="200"/>
                    <a:pt x="536" y="199"/>
                  </a:cubicBezTo>
                  <a:cubicBezTo>
                    <a:pt x="535" y="198"/>
                    <a:pt x="532" y="199"/>
                    <a:pt x="531" y="199"/>
                  </a:cubicBezTo>
                  <a:cubicBezTo>
                    <a:pt x="530" y="198"/>
                    <a:pt x="531" y="199"/>
                    <a:pt x="532" y="201"/>
                  </a:cubicBezTo>
                  <a:cubicBezTo>
                    <a:pt x="532" y="202"/>
                    <a:pt x="533" y="203"/>
                    <a:pt x="533" y="203"/>
                  </a:cubicBezTo>
                  <a:cubicBezTo>
                    <a:pt x="534" y="203"/>
                    <a:pt x="530" y="206"/>
                    <a:pt x="529" y="206"/>
                  </a:cubicBezTo>
                  <a:cubicBezTo>
                    <a:pt x="528" y="206"/>
                    <a:pt x="526" y="206"/>
                    <a:pt x="526" y="205"/>
                  </a:cubicBezTo>
                  <a:cubicBezTo>
                    <a:pt x="526" y="204"/>
                    <a:pt x="522" y="204"/>
                    <a:pt x="521" y="205"/>
                  </a:cubicBezTo>
                  <a:cubicBezTo>
                    <a:pt x="520" y="205"/>
                    <a:pt x="521" y="206"/>
                    <a:pt x="520" y="208"/>
                  </a:cubicBezTo>
                  <a:cubicBezTo>
                    <a:pt x="520" y="209"/>
                    <a:pt x="510" y="213"/>
                    <a:pt x="510" y="213"/>
                  </a:cubicBezTo>
                  <a:cubicBezTo>
                    <a:pt x="510" y="213"/>
                    <a:pt x="507" y="215"/>
                    <a:pt x="504" y="215"/>
                  </a:cubicBezTo>
                  <a:cubicBezTo>
                    <a:pt x="504" y="215"/>
                    <a:pt x="502" y="213"/>
                    <a:pt x="502" y="212"/>
                  </a:cubicBezTo>
                  <a:cubicBezTo>
                    <a:pt x="502" y="210"/>
                    <a:pt x="498" y="209"/>
                    <a:pt x="498" y="208"/>
                  </a:cubicBezTo>
                  <a:cubicBezTo>
                    <a:pt x="498" y="208"/>
                    <a:pt x="495" y="210"/>
                    <a:pt x="494" y="210"/>
                  </a:cubicBezTo>
                  <a:cubicBezTo>
                    <a:pt x="493" y="211"/>
                    <a:pt x="493" y="213"/>
                    <a:pt x="493" y="213"/>
                  </a:cubicBezTo>
                  <a:cubicBezTo>
                    <a:pt x="494" y="218"/>
                    <a:pt x="494" y="218"/>
                    <a:pt x="494" y="218"/>
                  </a:cubicBezTo>
                  <a:cubicBezTo>
                    <a:pt x="494" y="217"/>
                    <a:pt x="490" y="220"/>
                    <a:pt x="489" y="220"/>
                  </a:cubicBezTo>
                  <a:cubicBezTo>
                    <a:pt x="488" y="220"/>
                    <a:pt x="485" y="221"/>
                    <a:pt x="485" y="221"/>
                  </a:cubicBezTo>
                  <a:cubicBezTo>
                    <a:pt x="484" y="221"/>
                    <a:pt x="482" y="220"/>
                    <a:pt x="482" y="218"/>
                  </a:cubicBezTo>
                  <a:cubicBezTo>
                    <a:pt x="482" y="215"/>
                    <a:pt x="478" y="215"/>
                    <a:pt x="478" y="213"/>
                  </a:cubicBezTo>
                  <a:cubicBezTo>
                    <a:pt x="477" y="212"/>
                    <a:pt x="472" y="217"/>
                    <a:pt x="472" y="219"/>
                  </a:cubicBezTo>
                  <a:cubicBezTo>
                    <a:pt x="472" y="220"/>
                    <a:pt x="473" y="223"/>
                    <a:pt x="474" y="224"/>
                  </a:cubicBezTo>
                  <a:cubicBezTo>
                    <a:pt x="475" y="225"/>
                    <a:pt x="476" y="227"/>
                    <a:pt x="475" y="227"/>
                  </a:cubicBezTo>
                  <a:cubicBezTo>
                    <a:pt x="474" y="227"/>
                    <a:pt x="472" y="228"/>
                    <a:pt x="472" y="227"/>
                  </a:cubicBezTo>
                  <a:cubicBezTo>
                    <a:pt x="471" y="227"/>
                    <a:pt x="466" y="226"/>
                    <a:pt x="466" y="227"/>
                  </a:cubicBezTo>
                  <a:cubicBezTo>
                    <a:pt x="466" y="228"/>
                    <a:pt x="467" y="229"/>
                    <a:pt x="468" y="229"/>
                  </a:cubicBezTo>
                  <a:cubicBezTo>
                    <a:pt x="467" y="230"/>
                    <a:pt x="467" y="231"/>
                    <a:pt x="467" y="231"/>
                  </a:cubicBezTo>
                  <a:cubicBezTo>
                    <a:pt x="465" y="234"/>
                    <a:pt x="465" y="234"/>
                    <a:pt x="465" y="234"/>
                  </a:cubicBezTo>
                  <a:cubicBezTo>
                    <a:pt x="465" y="234"/>
                    <a:pt x="461" y="235"/>
                    <a:pt x="461" y="234"/>
                  </a:cubicBezTo>
                  <a:cubicBezTo>
                    <a:pt x="460" y="233"/>
                    <a:pt x="459" y="231"/>
                    <a:pt x="459" y="230"/>
                  </a:cubicBezTo>
                  <a:cubicBezTo>
                    <a:pt x="458" y="229"/>
                    <a:pt x="456" y="232"/>
                    <a:pt x="455" y="233"/>
                  </a:cubicBezTo>
                  <a:cubicBezTo>
                    <a:pt x="453" y="234"/>
                    <a:pt x="452" y="233"/>
                    <a:pt x="453" y="231"/>
                  </a:cubicBezTo>
                  <a:cubicBezTo>
                    <a:pt x="453" y="229"/>
                    <a:pt x="454" y="224"/>
                    <a:pt x="452" y="224"/>
                  </a:cubicBezTo>
                  <a:cubicBezTo>
                    <a:pt x="451" y="224"/>
                    <a:pt x="448" y="227"/>
                    <a:pt x="447" y="228"/>
                  </a:cubicBezTo>
                  <a:cubicBezTo>
                    <a:pt x="447" y="229"/>
                    <a:pt x="445" y="232"/>
                    <a:pt x="445" y="233"/>
                  </a:cubicBezTo>
                  <a:cubicBezTo>
                    <a:pt x="445" y="234"/>
                    <a:pt x="441" y="238"/>
                    <a:pt x="440" y="239"/>
                  </a:cubicBezTo>
                  <a:cubicBezTo>
                    <a:pt x="439" y="240"/>
                    <a:pt x="437" y="244"/>
                    <a:pt x="437" y="244"/>
                  </a:cubicBezTo>
                  <a:cubicBezTo>
                    <a:pt x="438" y="243"/>
                    <a:pt x="439" y="243"/>
                    <a:pt x="441" y="243"/>
                  </a:cubicBezTo>
                  <a:cubicBezTo>
                    <a:pt x="443" y="242"/>
                    <a:pt x="442" y="245"/>
                    <a:pt x="444" y="244"/>
                  </a:cubicBezTo>
                  <a:cubicBezTo>
                    <a:pt x="445" y="244"/>
                    <a:pt x="446" y="245"/>
                    <a:pt x="448" y="243"/>
                  </a:cubicBezTo>
                  <a:cubicBezTo>
                    <a:pt x="451" y="241"/>
                    <a:pt x="450" y="243"/>
                    <a:pt x="452" y="242"/>
                  </a:cubicBezTo>
                  <a:cubicBezTo>
                    <a:pt x="454" y="241"/>
                    <a:pt x="454" y="243"/>
                    <a:pt x="457" y="242"/>
                  </a:cubicBezTo>
                  <a:cubicBezTo>
                    <a:pt x="459" y="242"/>
                    <a:pt x="458" y="245"/>
                    <a:pt x="458" y="246"/>
                  </a:cubicBezTo>
                  <a:cubicBezTo>
                    <a:pt x="459" y="248"/>
                    <a:pt x="456" y="250"/>
                    <a:pt x="456" y="250"/>
                  </a:cubicBezTo>
                  <a:cubicBezTo>
                    <a:pt x="456" y="250"/>
                    <a:pt x="453" y="251"/>
                    <a:pt x="453" y="249"/>
                  </a:cubicBezTo>
                  <a:cubicBezTo>
                    <a:pt x="453" y="247"/>
                    <a:pt x="451" y="247"/>
                    <a:pt x="451" y="247"/>
                  </a:cubicBezTo>
                  <a:cubicBezTo>
                    <a:pt x="450" y="246"/>
                    <a:pt x="447" y="250"/>
                    <a:pt x="447" y="250"/>
                  </a:cubicBezTo>
                  <a:cubicBezTo>
                    <a:pt x="447" y="250"/>
                    <a:pt x="444" y="250"/>
                    <a:pt x="444" y="249"/>
                  </a:cubicBezTo>
                  <a:cubicBezTo>
                    <a:pt x="444" y="248"/>
                    <a:pt x="441" y="251"/>
                    <a:pt x="441" y="251"/>
                  </a:cubicBezTo>
                  <a:cubicBezTo>
                    <a:pt x="440" y="251"/>
                    <a:pt x="440" y="252"/>
                    <a:pt x="440" y="254"/>
                  </a:cubicBezTo>
                  <a:cubicBezTo>
                    <a:pt x="440" y="256"/>
                    <a:pt x="439" y="256"/>
                    <a:pt x="439" y="256"/>
                  </a:cubicBezTo>
                  <a:cubicBezTo>
                    <a:pt x="438" y="256"/>
                    <a:pt x="436" y="258"/>
                    <a:pt x="435" y="258"/>
                  </a:cubicBezTo>
                  <a:cubicBezTo>
                    <a:pt x="434" y="258"/>
                    <a:pt x="432" y="260"/>
                    <a:pt x="432" y="263"/>
                  </a:cubicBezTo>
                  <a:cubicBezTo>
                    <a:pt x="432" y="265"/>
                    <a:pt x="433" y="265"/>
                    <a:pt x="433" y="265"/>
                  </a:cubicBezTo>
                  <a:cubicBezTo>
                    <a:pt x="434" y="266"/>
                    <a:pt x="430" y="270"/>
                    <a:pt x="429" y="270"/>
                  </a:cubicBezTo>
                  <a:cubicBezTo>
                    <a:pt x="428" y="270"/>
                    <a:pt x="425" y="273"/>
                    <a:pt x="424" y="274"/>
                  </a:cubicBezTo>
                  <a:cubicBezTo>
                    <a:pt x="424" y="275"/>
                    <a:pt x="424" y="277"/>
                    <a:pt x="424" y="277"/>
                  </a:cubicBezTo>
                  <a:cubicBezTo>
                    <a:pt x="424" y="277"/>
                    <a:pt x="413" y="286"/>
                    <a:pt x="414" y="289"/>
                  </a:cubicBezTo>
                  <a:cubicBezTo>
                    <a:pt x="414" y="292"/>
                    <a:pt x="414" y="292"/>
                    <a:pt x="415" y="292"/>
                  </a:cubicBezTo>
                  <a:cubicBezTo>
                    <a:pt x="416" y="292"/>
                    <a:pt x="412" y="294"/>
                    <a:pt x="410" y="294"/>
                  </a:cubicBezTo>
                  <a:cubicBezTo>
                    <a:pt x="407" y="293"/>
                    <a:pt x="406" y="293"/>
                    <a:pt x="405" y="293"/>
                  </a:cubicBezTo>
                  <a:cubicBezTo>
                    <a:pt x="403" y="293"/>
                    <a:pt x="403" y="296"/>
                    <a:pt x="402" y="298"/>
                  </a:cubicBezTo>
                  <a:cubicBezTo>
                    <a:pt x="402" y="299"/>
                    <a:pt x="408" y="299"/>
                    <a:pt x="406" y="300"/>
                  </a:cubicBezTo>
                  <a:cubicBezTo>
                    <a:pt x="405" y="301"/>
                    <a:pt x="405" y="302"/>
                    <a:pt x="404" y="302"/>
                  </a:cubicBezTo>
                  <a:cubicBezTo>
                    <a:pt x="403" y="303"/>
                    <a:pt x="402" y="304"/>
                    <a:pt x="402" y="305"/>
                  </a:cubicBezTo>
                  <a:cubicBezTo>
                    <a:pt x="402" y="307"/>
                    <a:pt x="402" y="309"/>
                    <a:pt x="402" y="309"/>
                  </a:cubicBezTo>
                  <a:cubicBezTo>
                    <a:pt x="401" y="313"/>
                    <a:pt x="401" y="313"/>
                    <a:pt x="401" y="313"/>
                  </a:cubicBezTo>
                  <a:cubicBezTo>
                    <a:pt x="398" y="315"/>
                    <a:pt x="398" y="315"/>
                    <a:pt x="398" y="315"/>
                  </a:cubicBezTo>
                  <a:cubicBezTo>
                    <a:pt x="398" y="315"/>
                    <a:pt x="396" y="315"/>
                    <a:pt x="395" y="315"/>
                  </a:cubicBezTo>
                  <a:cubicBezTo>
                    <a:pt x="394" y="315"/>
                    <a:pt x="394" y="317"/>
                    <a:pt x="394" y="317"/>
                  </a:cubicBezTo>
                  <a:cubicBezTo>
                    <a:pt x="394" y="317"/>
                    <a:pt x="393" y="321"/>
                    <a:pt x="393" y="322"/>
                  </a:cubicBezTo>
                  <a:cubicBezTo>
                    <a:pt x="393" y="323"/>
                    <a:pt x="391" y="325"/>
                    <a:pt x="391" y="325"/>
                  </a:cubicBezTo>
                  <a:cubicBezTo>
                    <a:pt x="391" y="325"/>
                    <a:pt x="389" y="327"/>
                    <a:pt x="389" y="327"/>
                  </a:cubicBezTo>
                  <a:cubicBezTo>
                    <a:pt x="388" y="328"/>
                    <a:pt x="386" y="329"/>
                    <a:pt x="385" y="328"/>
                  </a:cubicBezTo>
                  <a:cubicBezTo>
                    <a:pt x="385" y="327"/>
                    <a:pt x="383" y="328"/>
                    <a:pt x="383" y="328"/>
                  </a:cubicBezTo>
                  <a:cubicBezTo>
                    <a:pt x="382" y="327"/>
                    <a:pt x="380" y="330"/>
                    <a:pt x="380" y="330"/>
                  </a:cubicBezTo>
                  <a:cubicBezTo>
                    <a:pt x="380" y="330"/>
                    <a:pt x="378" y="333"/>
                    <a:pt x="377" y="334"/>
                  </a:cubicBezTo>
                  <a:cubicBezTo>
                    <a:pt x="377" y="334"/>
                    <a:pt x="373" y="338"/>
                    <a:pt x="372" y="338"/>
                  </a:cubicBezTo>
                  <a:cubicBezTo>
                    <a:pt x="371" y="338"/>
                    <a:pt x="368" y="340"/>
                    <a:pt x="368" y="340"/>
                  </a:cubicBezTo>
                  <a:cubicBezTo>
                    <a:pt x="367" y="340"/>
                    <a:pt x="365" y="344"/>
                    <a:pt x="365" y="345"/>
                  </a:cubicBezTo>
                  <a:cubicBezTo>
                    <a:pt x="365" y="347"/>
                    <a:pt x="363" y="349"/>
                    <a:pt x="363" y="349"/>
                  </a:cubicBezTo>
                  <a:cubicBezTo>
                    <a:pt x="359" y="353"/>
                    <a:pt x="359" y="353"/>
                    <a:pt x="359" y="353"/>
                  </a:cubicBezTo>
                  <a:cubicBezTo>
                    <a:pt x="359" y="353"/>
                    <a:pt x="356" y="354"/>
                    <a:pt x="356" y="353"/>
                  </a:cubicBezTo>
                  <a:cubicBezTo>
                    <a:pt x="355" y="353"/>
                    <a:pt x="356" y="351"/>
                    <a:pt x="357" y="349"/>
                  </a:cubicBezTo>
                  <a:cubicBezTo>
                    <a:pt x="358" y="347"/>
                    <a:pt x="355" y="349"/>
                    <a:pt x="354" y="348"/>
                  </a:cubicBezTo>
                  <a:cubicBezTo>
                    <a:pt x="353" y="347"/>
                    <a:pt x="352" y="349"/>
                    <a:pt x="351" y="350"/>
                  </a:cubicBezTo>
                  <a:cubicBezTo>
                    <a:pt x="350" y="352"/>
                    <a:pt x="350" y="354"/>
                    <a:pt x="349" y="356"/>
                  </a:cubicBezTo>
                  <a:cubicBezTo>
                    <a:pt x="349" y="357"/>
                    <a:pt x="348" y="359"/>
                    <a:pt x="347" y="360"/>
                  </a:cubicBezTo>
                  <a:cubicBezTo>
                    <a:pt x="347" y="361"/>
                    <a:pt x="341" y="360"/>
                    <a:pt x="340" y="361"/>
                  </a:cubicBezTo>
                  <a:cubicBezTo>
                    <a:pt x="338" y="361"/>
                    <a:pt x="336" y="361"/>
                    <a:pt x="335" y="361"/>
                  </a:cubicBezTo>
                  <a:cubicBezTo>
                    <a:pt x="334" y="361"/>
                    <a:pt x="332" y="362"/>
                    <a:pt x="332" y="363"/>
                  </a:cubicBezTo>
                  <a:cubicBezTo>
                    <a:pt x="331" y="364"/>
                    <a:pt x="331" y="366"/>
                    <a:pt x="331" y="366"/>
                  </a:cubicBezTo>
                  <a:cubicBezTo>
                    <a:pt x="331" y="366"/>
                    <a:pt x="329" y="369"/>
                    <a:pt x="329" y="369"/>
                  </a:cubicBezTo>
                  <a:cubicBezTo>
                    <a:pt x="328" y="369"/>
                    <a:pt x="325" y="369"/>
                    <a:pt x="324" y="368"/>
                  </a:cubicBezTo>
                  <a:cubicBezTo>
                    <a:pt x="323" y="368"/>
                    <a:pt x="322" y="369"/>
                    <a:pt x="322" y="370"/>
                  </a:cubicBezTo>
                  <a:cubicBezTo>
                    <a:pt x="321" y="370"/>
                    <a:pt x="321" y="372"/>
                    <a:pt x="321" y="372"/>
                  </a:cubicBezTo>
                  <a:cubicBezTo>
                    <a:pt x="317" y="375"/>
                    <a:pt x="317" y="375"/>
                    <a:pt x="317" y="375"/>
                  </a:cubicBezTo>
                  <a:cubicBezTo>
                    <a:pt x="317" y="375"/>
                    <a:pt x="312" y="378"/>
                    <a:pt x="310" y="379"/>
                  </a:cubicBezTo>
                  <a:cubicBezTo>
                    <a:pt x="309" y="380"/>
                    <a:pt x="307" y="381"/>
                    <a:pt x="306" y="381"/>
                  </a:cubicBezTo>
                  <a:cubicBezTo>
                    <a:pt x="305" y="382"/>
                    <a:pt x="304" y="384"/>
                    <a:pt x="304" y="385"/>
                  </a:cubicBezTo>
                  <a:cubicBezTo>
                    <a:pt x="304" y="386"/>
                    <a:pt x="303" y="388"/>
                    <a:pt x="302" y="390"/>
                  </a:cubicBezTo>
                  <a:cubicBezTo>
                    <a:pt x="302" y="391"/>
                    <a:pt x="301" y="395"/>
                    <a:pt x="302" y="396"/>
                  </a:cubicBezTo>
                  <a:cubicBezTo>
                    <a:pt x="302" y="397"/>
                    <a:pt x="304" y="399"/>
                    <a:pt x="305" y="398"/>
                  </a:cubicBezTo>
                  <a:cubicBezTo>
                    <a:pt x="306" y="398"/>
                    <a:pt x="305" y="401"/>
                    <a:pt x="305" y="402"/>
                  </a:cubicBezTo>
                  <a:cubicBezTo>
                    <a:pt x="305" y="403"/>
                    <a:pt x="304" y="405"/>
                    <a:pt x="303" y="407"/>
                  </a:cubicBezTo>
                  <a:cubicBezTo>
                    <a:pt x="303" y="408"/>
                    <a:pt x="302" y="412"/>
                    <a:pt x="301" y="414"/>
                  </a:cubicBezTo>
                  <a:cubicBezTo>
                    <a:pt x="300" y="416"/>
                    <a:pt x="302" y="419"/>
                    <a:pt x="303" y="419"/>
                  </a:cubicBezTo>
                  <a:cubicBezTo>
                    <a:pt x="304" y="420"/>
                    <a:pt x="309" y="420"/>
                    <a:pt x="309" y="420"/>
                  </a:cubicBezTo>
                  <a:cubicBezTo>
                    <a:pt x="309" y="420"/>
                    <a:pt x="311" y="422"/>
                    <a:pt x="312" y="424"/>
                  </a:cubicBezTo>
                  <a:cubicBezTo>
                    <a:pt x="313" y="427"/>
                    <a:pt x="311" y="425"/>
                    <a:pt x="309" y="429"/>
                  </a:cubicBezTo>
                  <a:cubicBezTo>
                    <a:pt x="308" y="432"/>
                    <a:pt x="308" y="433"/>
                    <a:pt x="306" y="435"/>
                  </a:cubicBezTo>
                  <a:cubicBezTo>
                    <a:pt x="305" y="437"/>
                    <a:pt x="305" y="439"/>
                    <a:pt x="306" y="440"/>
                  </a:cubicBezTo>
                  <a:cubicBezTo>
                    <a:pt x="307" y="440"/>
                    <a:pt x="307" y="441"/>
                    <a:pt x="308" y="440"/>
                  </a:cubicBezTo>
                  <a:cubicBezTo>
                    <a:pt x="309" y="439"/>
                    <a:pt x="310" y="439"/>
                    <a:pt x="313" y="437"/>
                  </a:cubicBezTo>
                  <a:cubicBezTo>
                    <a:pt x="315" y="436"/>
                    <a:pt x="316" y="437"/>
                    <a:pt x="316" y="438"/>
                  </a:cubicBezTo>
                  <a:cubicBezTo>
                    <a:pt x="317" y="439"/>
                    <a:pt x="316" y="441"/>
                    <a:pt x="315" y="442"/>
                  </a:cubicBezTo>
                  <a:cubicBezTo>
                    <a:pt x="315" y="443"/>
                    <a:pt x="312" y="446"/>
                    <a:pt x="310" y="448"/>
                  </a:cubicBezTo>
                  <a:cubicBezTo>
                    <a:pt x="308" y="449"/>
                    <a:pt x="310" y="450"/>
                    <a:pt x="310" y="452"/>
                  </a:cubicBezTo>
                  <a:cubicBezTo>
                    <a:pt x="310" y="455"/>
                    <a:pt x="312" y="455"/>
                    <a:pt x="315" y="456"/>
                  </a:cubicBezTo>
                  <a:cubicBezTo>
                    <a:pt x="317" y="456"/>
                    <a:pt x="318" y="457"/>
                    <a:pt x="319" y="459"/>
                  </a:cubicBezTo>
                  <a:cubicBezTo>
                    <a:pt x="320" y="460"/>
                    <a:pt x="322" y="460"/>
                    <a:pt x="325" y="462"/>
                  </a:cubicBezTo>
                  <a:cubicBezTo>
                    <a:pt x="329" y="463"/>
                    <a:pt x="332" y="464"/>
                    <a:pt x="335" y="464"/>
                  </a:cubicBezTo>
                  <a:cubicBezTo>
                    <a:pt x="338" y="465"/>
                    <a:pt x="348" y="459"/>
                    <a:pt x="348" y="459"/>
                  </a:cubicBezTo>
                  <a:cubicBezTo>
                    <a:pt x="348" y="459"/>
                    <a:pt x="352" y="457"/>
                    <a:pt x="352" y="456"/>
                  </a:cubicBezTo>
                  <a:cubicBezTo>
                    <a:pt x="353" y="455"/>
                    <a:pt x="354" y="454"/>
                    <a:pt x="358" y="452"/>
                  </a:cubicBezTo>
                  <a:cubicBezTo>
                    <a:pt x="361" y="450"/>
                    <a:pt x="360" y="451"/>
                    <a:pt x="362" y="449"/>
                  </a:cubicBezTo>
                  <a:cubicBezTo>
                    <a:pt x="363" y="448"/>
                    <a:pt x="364" y="448"/>
                    <a:pt x="365" y="447"/>
                  </a:cubicBezTo>
                  <a:cubicBezTo>
                    <a:pt x="367" y="447"/>
                    <a:pt x="369" y="446"/>
                    <a:pt x="371" y="445"/>
                  </a:cubicBezTo>
                  <a:cubicBezTo>
                    <a:pt x="374" y="444"/>
                    <a:pt x="375" y="441"/>
                    <a:pt x="375" y="440"/>
                  </a:cubicBezTo>
                  <a:cubicBezTo>
                    <a:pt x="374" y="439"/>
                    <a:pt x="376" y="429"/>
                    <a:pt x="378" y="430"/>
                  </a:cubicBezTo>
                  <a:cubicBezTo>
                    <a:pt x="379" y="430"/>
                    <a:pt x="377" y="433"/>
                    <a:pt x="377" y="435"/>
                  </a:cubicBezTo>
                  <a:cubicBezTo>
                    <a:pt x="377" y="437"/>
                    <a:pt x="378" y="437"/>
                    <a:pt x="379" y="439"/>
                  </a:cubicBezTo>
                  <a:cubicBezTo>
                    <a:pt x="380" y="441"/>
                    <a:pt x="382" y="441"/>
                    <a:pt x="384" y="441"/>
                  </a:cubicBezTo>
                  <a:cubicBezTo>
                    <a:pt x="385" y="442"/>
                    <a:pt x="385" y="443"/>
                    <a:pt x="386" y="445"/>
                  </a:cubicBezTo>
                  <a:cubicBezTo>
                    <a:pt x="386" y="446"/>
                    <a:pt x="386" y="446"/>
                    <a:pt x="386" y="446"/>
                  </a:cubicBezTo>
                  <a:cubicBezTo>
                    <a:pt x="387" y="448"/>
                    <a:pt x="386" y="448"/>
                    <a:pt x="385" y="450"/>
                  </a:cubicBezTo>
                  <a:cubicBezTo>
                    <a:pt x="385" y="452"/>
                    <a:pt x="386" y="453"/>
                    <a:pt x="386" y="455"/>
                  </a:cubicBezTo>
                  <a:cubicBezTo>
                    <a:pt x="386" y="458"/>
                    <a:pt x="388" y="457"/>
                    <a:pt x="390" y="458"/>
                  </a:cubicBezTo>
                  <a:cubicBezTo>
                    <a:pt x="391" y="459"/>
                    <a:pt x="393" y="460"/>
                    <a:pt x="394" y="461"/>
                  </a:cubicBezTo>
                  <a:cubicBezTo>
                    <a:pt x="394" y="462"/>
                    <a:pt x="393" y="466"/>
                    <a:pt x="394" y="469"/>
                  </a:cubicBezTo>
                  <a:cubicBezTo>
                    <a:pt x="396" y="472"/>
                    <a:pt x="395" y="475"/>
                    <a:pt x="396" y="478"/>
                  </a:cubicBezTo>
                  <a:cubicBezTo>
                    <a:pt x="397" y="480"/>
                    <a:pt x="399" y="481"/>
                    <a:pt x="401" y="482"/>
                  </a:cubicBezTo>
                  <a:cubicBezTo>
                    <a:pt x="404" y="484"/>
                    <a:pt x="404" y="486"/>
                    <a:pt x="405" y="489"/>
                  </a:cubicBezTo>
                  <a:cubicBezTo>
                    <a:pt x="406" y="491"/>
                    <a:pt x="408" y="491"/>
                    <a:pt x="408" y="492"/>
                  </a:cubicBezTo>
                  <a:cubicBezTo>
                    <a:pt x="408" y="494"/>
                    <a:pt x="407" y="494"/>
                    <a:pt x="407" y="496"/>
                  </a:cubicBezTo>
                  <a:cubicBezTo>
                    <a:pt x="407" y="498"/>
                    <a:pt x="404" y="500"/>
                    <a:pt x="404" y="501"/>
                  </a:cubicBezTo>
                  <a:cubicBezTo>
                    <a:pt x="403" y="502"/>
                    <a:pt x="404" y="504"/>
                    <a:pt x="405" y="505"/>
                  </a:cubicBezTo>
                  <a:cubicBezTo>
                    <a:pt x="405" y="506"/>
                    <a:pt x="407" y="507"/>
                    <a:pt x="407" y="508"/>
                  </a:cubicBezTo>
                  <a:cubicBezTo>
                    <a:pt x="408" y="509"/>
                    <a:pt x="409" y="511"/>
                    <a:pt x="409" y="511"/>
                  </a:cubicBezTo>
                  <a:cubicBezTo>
                    <a:pt x="409" y="512"/>
                    <a:pt x="411" y="515"/>
                    <a:pt x="411" y="516"/>
                  </a:cubicBezTo>
                  <a:cubicBezTo>
                    <a:pt x="412" y="517"/>
                    <a:pt x="417" y="515"/>
                    <a:pt x="417" y="515"/>
                  </a:cubicBezTo>
                  <a:cubicBezTo>
                    <a:pt x="417" y="515"/>
                    <a:pt x="424" y="515"/>
                    <a:pt x="425" y="515"/>
                  </a:cubicBezTo>
                  <a:cubicBezTo>
                    <a:pt x="426" y="515"/>
                    <a:pt x="428" y="514"/>
                    <a:pt x="428" y="511"/>
                  </a:cubicBezTo>
                  <a:cubicBezTo>
                    <a:pt x="429" y="508"/>
                    <a:pt x="428" y="507"/>
                    <a:pt x="428" y="506"/>
                  </a:cubicBezTo>
                  <a:cubicBezTo>
                    <a:pt x="428" y="504"/>
                    <a:pt x="432" y="505"/>
                    <a:pt x="434" y="503"/>
                  </a:cubicBezTo>
                  <a:cubicBezTo>
                    <a:pt x="435" y="500"/>
                    <a:pt x="436" y="503"/>
                    <a:pt x="437" y="502"/>
                  </a:cubicBezTo>
                  <a:cubicBezTo>
                    <a:pt x="438" y="501"/>
                    <a:pt x="440" y="502"/>
                    <a:pt x="441" y="502"/>
                  </a:cubicBezTo>
                  <a:cubicBezTo>
                    <a:pt x="442" y="502"/>
                    <a:pt x="445" y="503"/>
                    <a:pt x="446" y="503"/>
                  </a:cubicBezTo>
                  <a:cubicBezTo>
                    <a:pt x="447" y="502"/>
                    <a:pt x="449" y="503"/>
                    <a:pt x="450" y="501"/>
                  </a:cubicBezTo>
                  <a:cubicBezTo>
                    <a:pt x="450" y="499"/>
                    <a:pt x="451" y="499"/>
                    <a:pt x="452" y="497"/>
                  </a:cubicBezTo>
                  <a:cubicBezTo>
                    <a:pt x="452" y="495"/>
                    <a:pt x="455" y="495"/>
                    <a:pt x="455" y="495"/>
                  </a:cubicBezTo>
                  <a:cubicBezTo>
                    <a:pt x="455" y="495"/>
                    <a:pt x="456" y="501"/>
                    <a:pt x="456" y="501"/>
                  </a:cubicBezTo>
                  <a:cubicBezTo>
                    <a:pt x="456" y="501"/>
                    <a:pt x="459" y="498"/>
                    <a:pt x="459" y="494"/>
                  </a:cubicBezTo>
                  <a:cubicBezTo>
                    <a:pt x="460" y="491"/>
                    <a:pt x="461" y="492"/>
                    <a:pt x="462" y="490"/>
                  </a:cubicBezTo>
                  <a:cubicBezTo>
                    <a:pt x="462" y="489"/>
                    <a:pt x="463" y="480"/>
                    <a:pt x="463" y="480"/>
                  </a:cubicBezTo>
                  <a:cubicBezTo>
                    <a:pt x="463" y="480"/>
                    <a:pt x="463" y="481"/>
                    <a:pt x="462" y="482"/>
                  </a:cubicBezTo>
                  <a:cubicBezTo>
                    <a:pt x="461" y="483"/>
                    <a:pt x="460" y="485"/>
                    <a:pt x="459" y="486"/>
                  </a:cubicBezTo>
                  <a:cubicBezTo>
                    <a:pt x="459" y="486"/>
                    <a:pt x="457" y="488"/>
                    <a:pt x="457" y="488"/>
                  </a:cubicBezTo>
                  <a:cubicBezTo>
                    <a:pt x="457" y="487"/>
                    <a:pt x="457" y="488"/>
                    <a:pt x="458" y="486"/>
                  </a:cubicBezTo>
                  <a:cubicBezTo>
                    <a:pt x="458" y="484"/>
                    <a:pt x="458" y="485"/>
                    <a:pt x="458" y="483"/>
                  </a:cubicBezTo>
                  <a:cubicBezTo>
                    <a:pt x="459" y="482"/>
                    <a:pt x="459" y="483"/>
                    <a:pt x="459" y="481"/>
                  </a:cubicBezTo>
                  <a:cubicBezTo>
                    <a:pt x="459" y="480"/>
                    <a:pt x="459" y="479"/>
                    <a:pt x="459" y="477"/>
                  </a:cubicBezTo>
                  <a:cubicBezTo>
                    <a:pt x="460" y="476"/>
                    <a:pt x="460" y="475"/>
                    <a:pt x="460" y="475"/>
                  </a:cubicBezTo>
                  <a:cubicBezTo>
                    <a:pt x="460" y="474"/>
                    <a:pt x="460" y="472"/>
                    <a:pt x="460" y="471"/>
                  </a:cubicBezTo>
                  <a:cubicBezTo>
                    <a:pt x="461" y="470"/>
                    <a:pt x="461" y="469"/>
                    <a:pt x="461" y="467"/>
                  </a:cubicBezTo>
                  <a:cubicBezTo>
                    <a:pt x="461" y="466"/>
                    <a:pt x="461" y="464"/>
                    <a:pt x="461" y="460"/>
                  </a:cubicBezTo>
                  <a:cubicBezTo>
                    <a:pt x="460" y="456"/>
                    <a:pt x="461" y="459"/>
                    <a:pt x="462" y="457"/>
                  </a:cubicBezTo>
                  <a:cubicBezTo>
                    <a:pt x="463" y="454"/>
                    <a:pt x="463" y="454"/>
                    <a:pt x="464" y="453"/>
                  </a:cubicBezTo>
                  <a:cubicBezTo>
                    <a:pt x="465" y="451"/>
                    <a:pt x="467" y="452"/>
                    <a:pt x="467" y="452"/>
                  </a:cubicBezTo>
                  <a:cubicBezTo>
                    <a:pt x="467" y="452"/>
                    <a:pt x="469" y="451"/>
                    <a:pt x="471" y="450"/>
                  </a:cubicBezTo>
                  <a:cubicBezTo>
                    <a:pt x="472" y="450"/>
                    <a:pt x="475" y="450"/>
                    <a:pt x="475" y="450"/>
                  </a:cubicBezTo>
                  <a:cubicBezTo>
                    <a:pt x="475" y="450"/>
                    <a:pt x="476" y="448"/>
                    <a:pt x="477" y="448"/>
                  </a:cubicBezTo>
                  <a:cubicBezTo>
                    <a:pt x="478" y="447"/>
                    <a:pt x="478" y="447"/>
                    <a:pt x="479" y="447"/>
                  </a:cubicBezTo>
                  <a:cubicBezTo>
                    <a:pt x="481" y="446"/>
                    <a:pt x="482" y="446"/>
                    <a:pt x="483" y="445"/>
                  </a:cubicBezTo>
                  <a:cubicBezTo>
                    <a:pt x="484" y="444"/>
                    <a:pt x="486" y="442"/>
                    <a:pt x="486" y="442"/>
                  </a:cubicBezTo>
                  <a:cubicBezTo>
                    <a:pt x="486" y="441"/>
                    <a:pt x="487" y="440"/>
                    <a:pt x="487" y="439"/>
                  </a:cubicBezTo>
                  <a:cubicBezTo>
                    <a:pt x="486" y="437"/>
                    <a:pt x="486" y="438"/>
                    <a:pt x="486" y="437"/>
                  </a:cubicBezTo>
                  <a:cubicBezTo>
                    <a:pt x="486" y="436"/>
                    <a:pt x="487" y="435"/>
                    <a:pt x="487" y="434"/>
                  </a:cubicBezTo>
                  <a:cubicBezTo>
                    <a:pt x="487" y="433"/>
                    <a:pt x="489" y="433"/>
                    <a:pt x="490" y="431"/>
                  </a:cubicBezTo>
                  <a:cubicBezTo>
                    <a:pt x="492" y="430"/>
                    <a:pt x="491" y="430"/>
                    <a:pt x="492" y="428"/>
                  </a:cubicBezTo>
                  <a:cubicBezTo>
                    <a:pt x="492" y="426"/>
                    <a:pt x="492" y="428"/>
                    <a:pt x="490" y="425"/>
                  </a:cubicBezTo>
                  <a:cubicBezTo>
                    <a:pt x="490" y="424"/>
                    <a:pt x="489" y="422"/>
                    <a:pt x="488" y="421"/>
                  </a:cubicBezTo>
                  <a:cubicBezTo>
                    <a:pt x="488" y="420"/>
                    <a:pt x="486" y="421"/>
                    <a:pt x="485" y="420"/>
                  </a:cubicBezTo>
                  <a:cubicBezTo>
                    <a:pt x="484" y="420"/>
                    <a:pt x="484" y="419"/>
                    <a:pt x="479" y="415"/>
                  </a:cubicBezTo>
                  <a:cubicBezTo>
                    <a:pt x="474" y="411"/>
                    <a:pt x="476" y="414"/>
                    <a:pt x="474" y="413"/>
                  </a:cubicBezTo>
                  <a:cubicBezTo>
                    <a:pt x="473" y="411"/>
                    <a:pt x="472" y="412"/>
                    <a:pt x="470" y="411"/>
                  </a:cubicBezTo>
                  <a:cubicBezTo>
                    <a:pt x="469" y="410"/>
                    <a:pt x="468" y="411"/>
                    <a:pt x="468" y="410"/>
                  </a:cubicBezTo>
                  <a:cubicBezTo>
                    <a:pt x="467" y="410"/>
                    <a:pt x="468" y="410"/>
                    <a:pt x="468" y="407"/>
                  </a:cubicBezTo>
                  <a:cubicBezTo>
                    <a:pt x="469" y="404"/>
                    <a:pt x="468" y="404"/>
                    <a:pt x="468" y="401"/>
                  </a:cubicBezTo>
                  <a:cubicBezTo>
                    <a:pt x="468" y="399"/>
                    <a:pt x="467" y="397"/>
                    <a:pt x="467" y="395"/>
                  </a:cubicBezTo>
                  <a:cubicBezTo>
                    <a:pt x="467" y="394"/>
                    <a:pt x="468" y="393"/>
                    <a:pt x="468" y="392"/>
                  </a:cubicBezTo>
                  <a:cubicBezTo>
                    <a:pt x="468" y="391"/>
                    <a:pt x="469" y="392"/>
                    <a:pt x="470" y="391"/>
                  </a:cubicBezTo>
                  <a:cubicBezTo>
                    <a:pt x="471" y="389"/>
                    <a:pt x="470" y="389"/>
                    <a:pt x="470" y="387"/>
                  </a:cubicBezTo>
                  <a:cubicBezTo>
                    <a:pt x="469" y="385"/>
                    <a:pt x="470" y="386"/>
                    <a:pt x="471" y="384"/>
                  </a:cubicBezTo>
                  <a:cubicBezTo>
                    <a:pt x="471" y="383"/>
                    <a:pt x="472" y="384"/>
                    <a:pt x="472" y="381"/>
                  </a:cubicBezTo>
                  <a:cubicBezTo>
                    <a:pt x="473" y="379"/>
                    <a:pt x="472" y="381"/>
                    <a:pt x="472" y="378"/>
                  </a:cubicBezTo>
                  <a:cubicBezTo>
                    <a:pt x="472" y="377"/>
                    <a:pt x="470" y="377"/>
                    <a:pt x="470" y="375"/>
                  </a:cubicBezTo>
                  <a:cubicBezTo>
                    <a:pt x="471" y="372"/>
                    <a:pt x="471" y="374"/>
                    <a:pt x="472" y="373"/>
                  </a:cubicBezTo>
                  <a:cubicBezTo>
                    <a:pt x="474" y="373"/>
                    <a:pt x="475" y="374"/>
                    <a:pt x="476" y="374"/>
                  </a:cubicBezTo>
                  <a:cubicBezTo>
                    <a:pt x="477" y="373"/>
                    <a:pt x="478" y="373"/>
                    <a:pt x="478" y="371"/>
                  </a:cubicBezTo>
                  <a:cubicBezTo>
                    <a:pt x="479" y="370"/>
                    <a:pt x="478" y="369"/>
                    <a:pt x="478" y="368"/>
                  </a:cubicBezTo>
                  <a:cubicBezTo>
                    <a:pt x="478" y="368"/>
                    <a:pt x="478" y="366"/>
                    <a:pt x="477" y="364"/>
                  </a:cubicBezTo>
                  <a:cubicBezTo>
                    <a:pt x="476" y="362"/>
                    <a:pt x="478" y="364"/>
                    <a:pt x="479" y="364"/>
                  </a:cubicBezTo>
                  <a:cubicBezTo>
                    <a:pt x="480" y="364"/>
                    <a:pt x="481" y="365"/>
                    <a:pt x="482" y="365"/>
                  </a:cubicBezTo>
                  <a:cubicBezTo>
                    <a:pt x="483" y="364"/>
                    <a:pt x="486" y="361"/>
                    <a:pt x="487" y="360"/>
                  </a:cubicBezTo>
                  <a:cubicBezTo>
                    <a:pt x="488" y="359"/>
                    <a:pt x="492" y="359"/>
                    <a:pt x="493" y="357"/>
                  </a:cubicBezTo>
                  <a:cubicBezTo>
                    <a:pt x="495" y="356"/>
                    <a:pt x="496" y="355"/>
                    <a:pt x="500" y="353"/>
                  </a:cubicBezTo>
                  <a:cubicBezTo>
                    <a:pt x="503" y="352"/>
                    <a:pt x="503" y="353"/>
                    <a:pt x="504" y="351"/>
                  </a:cubicBezTo>
                  <a:cubicBezTo>
                    <a:pt x="506" y="350"/>
                    <a:pt x="506" y="350"/>
                    <a:pt x="507" y="349"/>
                  </a:cubicBezTo>
                  <a:cubicBezTo>
                    <a:pt x="509" y="348"/>
                    <a:pt x="510" y="349"/>
                    <a:pt x="512" y="348"/>
                  </a:cubicBezTo>
                  <a:cubicBezTo>
                    <a:pt x="514" y="347"/>
                    <a:pt x="514" y="347"/>
                    <a:pt x="515" y="345"/>
                  </a:cubicBezTo>
                  <a:cubicBezTo>
                    <a:pt x="516" y="344"/>
                    <a:pt x="517" y="343"/>
                    <a:pt x="519" y="341"/>
                  </a:cubicBezTo>
                  <a:cubicBezTo>
                    <a:pt x="522" y="339"/>
                    <a:pt x="522" y="338"/>
                    <a:pt x="524" y="337"/>
                  </a:cubicBezTo>
                  <a:cubicBezTo>
                    <a:pt x="526" y="335"/>
                    <a:pt x="524" y="335"/>
                    <a:pt x="525" y="334"/>
                  </a:cubicBezTo>
                  <a:cubicBezTo>
                    <a:pt x="526" y="333"/>
                    <a:pt x="526" y="332"/>
                    <a:pt x="527" y="331"/>
                  </a:cubicBezTo>
                  <a:cubicBezTo>
                    <a:pt x="527" y="329"/>
                    <a:pt x="525" y="330"/>
                    <a:pt x="524" y="328"/>
                  </a:cubicBezTo>
                  <a:cubicBezTo>
                    <a:pt x="522" y="325"/>
                    <a:pt x="522" y="326"/>
                    <a:pt x="522" y="323"/>
                  </a:cubicBezTo>
                  <a:cubicBezTo>
                    <a:pt x="522" y="321"/>
                    <a:pt x="523" y="322"/>
                    <a:pt x="525" y="319"/>
                  </a:cubicBezTo>
                  <a:cubicBezTo>
                    <a:pt x="527" y="316"/>
                    <a:pt x="526" y="318"/>
                    <a:pt x="527" y="315"/>
                  </a:cubicBezTo>
                  <a:cubicBezTo>
                    <a:pt x="529" y="313"/>
                    <a:pt x="529" y="313"/>
                    <a:pt x="530" y="312"/>
                  </a:cubicBezTo>
                  <a:cubicBezTo>
                    <a:pt x="532" y="312"/>
                    <a:pt x="532" y="312"/>
                    <a:pt x="534" y="310"/>
                  </a:cubicBezTo>
                  <a:cubicBezTo>
                    <a:pt x="536" y="308"/>
                    <a:pt x="537" y="308"/>
                    <a:pt x="538" y="307"/>
                  </a:cubicBezTo>
                  <a:cubicBezTo>
                    <a:pt x="539" y="306"/>
                    <a:pt x="539" y="305"/>
                    <a:pt x="540" y="304"/>
                  </a:cubicBezTo>
                  <a:cubicBezTo>
                    <a:pt x="542" y="302"/>
                    <a:pt x="542" y="303"/>
                    <a:pt x="543" y="303"/>
                  </a:cubicBezTo>
                  <a:cubicBezTo>
                    <a:pt x="544" y="302"/>
                    <a:pt x="546" y="303"/>
                    <a:pt x="547" y="303"/>
                  </a:cubicBezTo>
                  <a:cubicBezTo>
                    <a:pt x="548" y="303"/>
                    <a:pt x="549" y="304"/>
                    <a:pt x="550" y="303"/>
                  </a:cubicBezTo>
                  <a:cubicBezTo>
                    <a:pt x="552" y="302"/>
                    <a:pt x="551" y="304"/>
                    <a:pt x="553" y="303"/>
                  </a:cubicBezTo>
                  <a:cubicBezTo>
                    <a:pt x="554" y="303"/>
                    <a:pt x="554" y="305"/>
                    <a:pt x="557" y="304"/>
                  </a:cubicBezTo>
                  <a:cubicBezTo>
                    <a:pt x="559" y="303"/>
                    <a:pt x="559" y="307"/>
                    <a:pt x="560" y="306"/>
                  </a:cubicBezTo>
                  <a:cubicBezTo>
                    <a:pt x="561" y="306"/>
                    <a:pt x="561" y="306"/>
                    <a:pt x="562" y="305"/>
                  </a:cubicBezTo>
                  <a:cubicBezTo>
                    <a:pt x="562" y="305"/>
                    <a:pt x="563" y="305"/>
                    <a:pt x="564" y="304"/>
                  </a:cubicBezTo>
                  <a:cubicBezTo>
                    <a:pt x="566" y="302"/>
                    <a:pt x="567" y="305"/>
                    <a:pt x="568" y="305"/>
                  </a:cubicBezTo>
                  <a:cubicBezTo>
                    <a:pt x="570" y="306"/>
                    <a:pt x="572" y="307"/>
                    <a:pt x="574" y="308"/>
                  </a:cubicBezTo>
                  <a:cubicBezTo>
                    <a:pt x="575" y="309"/>
                    <a:pt x="574" y="311"/>
                    <a:pt x="575" y="312"/>
                  </a:cubicBezTo>
                  <a:cubicBezTo>
                    <a:pt x="576" y="313"/>
                    <a:pt x="577" y="317"/>
                    <a:pt x="577" y="317"/>
                  </a:cubicBezTo>
                  <a:cubicBezTo>
                    <a:pt x="577" y="316"/>
                    <a:pt x="577" y="323"/>
                    <a:pt x="577" y="323"/>
                  </a:cubicBezTo>
                  <a:cubicBezTo>
                    <a:pt x="577" y="324"/>
                    <a:pt x="573" y="321"/>
                    <a:pt x="573" y="321"/>
                  </a:cubicBezTo>
                  <a:cubicBezTo>
                    <a:pt x="573" y="321"/>
                    <a:pt x="570" y="323"/>
                    <a:pt x="570" y="322"/>
                  </a:cubicBezTo>
                  <a:cubicBezTo>
                    <a:pt x="570" y="321"/>
                    <a:pt x="568" y="327"/>
                    <a:pt x="568" y="327"/>
                  </a:cubicBezTo>
                  <a:cubicBezTo>
                    <a:pt x="568" y="328"/>
                    <a:pt x="565" y="329"/>
                    <a:pt x="563" y="331"/>
                  </a:cubicBezTo>
                  <a:cubicBezTo>
                    <a:pt x="561" y="332"/>
                    <a:pt x="561" y="333"/>
                    <a:pt x="561" y="333"/>
                  </a:cubicBezTo>
                  <a:cubicBezTo>
                    <a:pt x="560" y="334"/>
                    <a:pt x="558" y="337"/>
                    <a:pt x="558" y="337"/>
                  </a:cubicBezTo>
                  <a:cubicBezTo>
                    <a:pt x="558" y="337"/>
                    <a:pt x="554" y="341"/>
                    <a:pt x="553" y="341"/>
                  </a:cubicBezTo>
                  <a:cubicBezTo>
                    <a:pt x="552" y="342"/>
                    <a:pt x="551" y="343"/>
                    <a:pt x="549" y="345"/>
                  </a:cubicBezTo>
                  <a:cubicBezTo>
                    <a:pt x="547" y="347"/>
                    <a:pt x="545" y="347"/>
                    <a:pt x="545" y="347"/>
                  </a:cubicBezTo>
                  <a:cubicBezTo>
                    <a:pt x="545" y="347"/>
                    <a:pt x="540" y="349"/>
                    <a:pt x="540" y="350"/>
                  </a:cubicBezTo>
                  <a:cubicBezTo>
                    <a:pt x="540" y="351"/>
                    <a:pt x="540" y="352"/>
                    <a:pt x="540" y="353"/>
                  </a:cubicBezTo>
                  <a:cubicBezTo>
                    <a:pt x="540" y="354"/>
                    <a:pt x="536" y="356"/>
                    <a:pt x="535" y="357"/>
                  </a:cubicBezTo>
                  <a:cubicBezTo>
                    <a:pt x="533" y="357"/>
                    <a:pt x="530" y="358"/>
                    <a:pt x="528" y="358"/>
                  </a:cubicBezTo>
                  <a:cubicBezTo>
                    <a:pt x="527" y="357"/>
                    <a:pt x="526" y="359"/>
                    <a:pt x="526" y="360"/>
                  </a:cubicBezTo>
                  <a:cubicBezTo>
                    <a:pt x="525" y="361"/>
                    <a:pt x="523" y="363"/>
                    <a:pt x="522" y="365"/>
                  </a:cubicBezTo>
                  <a:cubicBezTo>
                    <a:pt x="520" y="367"/>
                    <a:pt x="521" y="367"/>
                    <a:pt x="520" y="368"/>
                  </a:cubicBezTo>
                  <a:cubicBezTo>
                    <a:pt x="520" y="369"/>
                    <a:pt x="519" y="372"/>
                    <a:pt x="519" y="375"/>
                  </a:cubicBezTo>
                  <a:cubicBezTo>
                    <a:pt x="519" y="377"/>
                    <a:pt x="521" y="380"/>
                    <a:pt x="522" y="381"/>
                  </a:cubicBezTo>
                  <a:cubicBezTo>
                    <a:pt x="522" y="382"/>
                    <a:pt x="525" y="387"/>
                    <a:pt x="527" y="387"/>
                  </a:cubicBezTo>
                  <a:cubicBezTo>
                    <a:pt x="528" y="387"/>
                    <a:pt x="528" y="393"/>
                    <a:pt x="528" y="393"/>
                  </a:cubicBezTo>
                  <a:cubicBezTo>
                    <a:pt x="528" y="393"/>
                    <a:pt x="522" y="407"/>
                    <a:pt x="525" y="411"/>
                  </a:cubicBezTo>
                  <a:cubicBezTo>
                    <a:pt x="527" y="416"/>
                    <a:pt x="526" y="413"/>
                    <a:pt x="527" y="414"/>
                  </a:cubicBezTo>
                  <a:cubicBezTo>
                    <a:pt x="528" y="415"/>
                    <a:pt x="531" y="416"/>
                    <a:pt x="532" y="417"/>
                  </a:cubicBezTo>
                  <a:cubicBezTo>
                    <a:pt x="533" y="417"/>
                    <a:pt x="536" y="417"/>
                    <a:pt x="538" y="417"/>
                  </a:cubicBezTo>
                  <a:cubicBezTo>
                    <a:pt x="540" y="417"/>
                    <a:pt x="541" y="418"/>
                    <a:pt x="543" y="419"/>
                  </a:cubicBezTo>
                  <a:cubicBezTo>
                    <a:pt x="545" y="419"/>
                    <a:pt x="545" y="421"/>
                    <a:pt x="546" y="424"/>
                  </a:cubicBezTo>
                  <a:cubicBezTo>
                    <a:pt x="548" y="426"/>
                    <a:pt x="549" y="425"/>
                    <a:pt x="550" y="426"/>
                  </a:cubicBezTo>
                  <a:cubicBezTo>
                    <a:pt x="551" y="427"/>
                    <a:pt x="557" y="428"/>
                    <a:pt x="558" y="427"/>
                  </a:cubicBezTo>
                  <a:cubicBezTo>
                    <a:pt x="560" y="426"/>
                    <a:pt x="561" y="426"/>
                    <a:pt x="563" y="425"/>
                  </a:cubicBezTo>
                  <a:cubicBezTo>
                    <a:pt x="564" y="425"/>
                    <a:pt x="564" y="426"/>
                    <a:pt x="565" y="424"/>
                  </a:cubicBezTo>
                  <a:cubicBezTo>
                    <a:pt x="567" y="422"/>
                    <a:pt x="567" y="424"/>
                    <a:pt x="568" y="423"/>
                  </a:cubicBezTo>
                  <a:cubicBezTo>
                    <a:pt x="570" y="423"/>
                    <a:pt x="571" y="424"/>
                    <a:pt x="574" y="422"/>
                  </a:cubicBezTo>
                  <a:cubicBezTo>
                    <a:pt x="577" y="420"/>
                    <a:pt x="577" y="419"/>
                    <a:pt x="578" y="418"/>
                  </a:cubicBezTo>
                  <a:cubicBezTo>
                    <a:pt x="579" y="417"/>
                    <a:pt x="581" y="418"/>
                    <a:pt x="583" y="418"/>
                  </a:cubicBezTo>
                  <a:cubicBezTo>
                    <a:pt x="586" y="418"/>
                    <a:pt x="586" y="418"/>
                    <a:pt x="587" y="418"/>
                  </a:cubicBezTo>
                  <a:cubicBezTo>
                    <a:pt x="588" y="417"/>
                    <a:pt x="589" y="417"/>
                    <a:pt x="594" y="415"/>
                  </a:cubicBezTo>
                  <a:cubicBezTo>
                    <a:pt x="598" y="412"/>
                    <a:pt x="597" y="415"/>
                    <a:pt x="598" y="415"/>
                  </a:cubicBezTo>
                  <a:cubicBezTo>
                    <a:pt x="599" y="415"/>
                    <a:pt x="602" y="416"/>
                    <a:pt x="606" y="417"/>
                  </a:cubicBezTo>
                  <a:cubicBezTo>
                    <a:pt x="606" y="417"/>
                    <a:pt x="609" y="416"/>
                    <a:pt x="612" y="415"/>
                  </a:cubicBezTo>
                  <a:cubicBezTo>
                    <a:pt x="614" y="414"/>
                    <a:pt x="614" y="414"/>
                    <a:pt x="614" y="414"/>
                  </a:cubicBezTo>
                  <a:cubicBezTo>
                    <a:pt x="615" y="414"/>
                    <a:pt x="615" y="414"/>
                    <a:pt x="617" y="413"/>
                  </a:cubicBezTo>
                  <a:cubicBezTo>
                    <a:pt x="620" y="413"/>
                    <a:pt x="619" y="414"/>
                    <a:pt x="620" y="415"/>
                  </a:cubicBezTo>
                  <a:cubicBezTo>
                    <a:pt x="622" y="416"/>
                    <a:pt x="621" y="417"/>
                    <a:pt x="622" y="419"/>
                  </a:cubicBezTo>
                  <a:cubicBezTo>
                    <a:pt x="624" y="421"/>
                    <a:pt x="625" y="421"/>
                    <a:pt x="626" y="421"/>
                  </a:cubicBezTo>
                  <a:cubicBezTo>
                    <a:pt x="628" y="422"/>
                    <a:pt x="630" y="422"/>
                    <a:pt x="631" y="422"/>
                  </a:cubicBezTo>
                  <a:cubicBezTo>
                    <a:pt x="632" y="422"/>
                    <a:pt x="636" y="422"/>
                    <a:pt x="637" y="422"/>
                  </a:cubicBezTo>
                  <a:cubicBezTo>
                    <a:pt x="639" y="421"/>
                    <a:pt x="641" y="425"/>
                    <a:pt x="641" y="424"/>
                  </a:cubicBezTo>
                  <a:cubicBezTo>
                    <a:pt x="640" y="424"/>
                    <a:pt x="637" y="425"/>
                    <a:pt x="636" y="425"/>
                  </a:cubicBezTo>
                  <a:cubicBezTo>
                    <a:pt x="634" y="425"/>
                    <a:pt x="632" y="426"/>
                    <a:pt x="631" y="425"/>
                  </a:cubicBezTo>
                  <a:cubicBezTo>
                    <a:pt x="630" y="425"/>
                    <a:pt x="629" y="426"/>
                    <a:pt x="628" y="426"/>
                  </a:cubicBezTo>
                  <a:cubicBezTo>
                    <a:pt x="627" y="425"/>
                    <a:pt x="623" y="428"/>
                    <a:pt x="622" y="428"/>
                  </a:cubicBezTo>
                  <a:cubicBezTo>
                    <a:pt x="621" y="428"/>
                    <a:pt x="618" y="430"/>
                    <a:pt x="618" y="430"/>
                  </a:cubicBezTo>
                  <a:cubicBezTo>
                    <a:pt x="617" y="430"/>
                    <a:pt x="614" y="433"/>
                    <a:pt x="614" y="433"/>
                  </a:cubicBezTo>
                  <a:cubicBezTo>
                    <a:pt x="614" y="433"/>
                    <a:pt x="614" y="433"/>
                    <a:pt x="614" y="433"/>
                  </a:cubicBezTo>
                  <a:cubicBezTo>
                    <a:pt x="613" y="434"/>
                    <a:pt x="611" y="436"/>
                    <a:pt x="610" y="435"/>
                  </a:cubicBezTo>
                  <a:cubicBezTo>
                    <a:pt x="610" y="435"/>
                    <a:pt x="607" y="436"/>
                    <a:pt x="606" y="435"/>
                  </a:cubicBezTo>
                  <a:cubicBezTo>
                    <a:pt x="606" y="434"/>
                    <a:pt x="602" y="436"/>
                    <a:pt x="602" y="434"/>
                  </a:cubicBezTo>
                  <a:cubicBezTo>
                    <a:pt x="601" y="432"/>
                    <a:pt x="597" y="434"/>
                    <a:pt x="596" y="433"/>
                  </a:cubicBezTo>
                  <a:cubicBezTo>
                    <a:pt x="595" y="432"/>
                    <a:pt x="593" y="434"/>
                    <a:pt x="591" y="433"/>
                  </a:cubicBezTo>
                  <a:cubicBezTo>
                    <a:pt x="589" y="431"/>
                    <a:pt x="588" y="432"/>
                    <a:pt x="587" y="432"/>
                  </a:cubicBezTo>
                  <a:cubicBezTo>
                    <a:pt x="587" y="431"/>
                    <a:pt x="583" y="433"/>
                    <a:pt x="582" y="432"/>
                  </a:cubicBezTo>
                  <a:cubicBezTo>
                    <a:pt x="581" y="432"/>
                    <a:pt x="580" y="434"/>
                    <a:pt x="579" y="434"/>
                  </a:cubicBezTo>
                  <a:cubicBezTo>
                    <a:pt x="578" y="434"/>
                    <a:pt x="577" y="435"/>
                    <a:pt x="576" y="434"/>
                  </a:cubicBezTo>
                  <a:cubicBezTo>
                    <a:pt x="575" y="433"/>
                    <a:pt x="568" y="436"/>
                    <a:pt x="568" y="436"/>
                  </a:cubicBezTo>
                  <a:cubicBezTo>
                    <a:pt x="568" y="436"/>
                    <a:pt x="562" y="436"/>
                    <a:pt x="561" y="436"/>
                  </a:cubicBezTo>
                  <a:cubicBezTo>
                    <a:pt x="559" y="436"/>
                    <a:pt x="559" y="438"/>
                    <a:pt x="557" y="440"/>
                  </a:cubicBezTo>
                  <a:cubicBezTo>
                    <a:pt x="556" y="442"/>
                    <a:pt x="554" y="442"/>
                    <a:pt x="551" y="444"/>
                  </a:cubicBezTo>
                  <a:cubicBezTo>
                    <a:pt x="548" y="446"/>
                    <a:pt x="552" y="448"/>
                    <a:pt x="552" y="449"/>
                  </a:cubicBezTo>
                  <a:cubicBezTo>
                    <a:pt x="553" y="450"/>
                    <a:pt x="553" y="452"/>
                    <a:pt x="554" y="454"/>
                  </a:cubicBezTo>
                  <a:cubicBezTo>
                    <a:pt x="555" y="456"/>
                    <a:pt x="554" y="456"/>
                    <a:pt x="556" y="458"/>
                  </a:cubicBezTo>
                  <a:cubicBezTo>
                    <a:pt x="558" y="461"/>
                    <a:pt x="560" y="461"/>
                    <a:pt x="561" y="460"/>
                  </a:cubicBezTo>
                  <a:cubicBezTo>
                    <a:pt x="562" y="460"/>
                    <a:pt x="562" y="460"/>
                    <a:pt x="564" y="466"/>
                  </a:cubicBezTo>
                  <a:cubicBezTo>
                    <a:pt x="564" y="467"/>
                    <a:pt x="565" y="467"/>
                    <a:pt x="565" y="468"/>
                  </a:cubicBezTo>
                  <a:cubicBezTo>
                    <a:pt x="565" y="471"/>
                    <a:pt x="563" y="470"/>
                    <a:pt x="563" y="471"/>
                  </a:cubicBezTo>
                  <a:cubicBezTo>
                    <a:pt x="563" y="473"/>
                    <a:pt x="563" y="477"/>
                    <a:pt x="563" y="477"/>
                  </a:cubicBezTo>
                  <a:cubicBezTo>
                    <a:pt x="560" y="481"/>
                    <a:pt x="560" y="481"/>
                    <a:pt x="560" y="481"/>
                  </a:cubicBezTo>
                  <a:cubicBezTo>
                    <a:pt x="560" y="481"/>
                    <a:pt x="556" y="484"/>
                    <a:pt x="556" y="483"/>
                  </a:cubicBezTo>
                  <a:cubicBezTo>
                    <a:pt x="555" y="482"/>
                    <a:pt x="548" y="481"/>
                    <a:pt x="548" y="479"/>
                  </a:cubicBezTo>
                  <a:cubicBezTo>
                    <a:pt x="548" y="478"/>
                    <a:pt x="545" y="479"/>
                    <a:pt x="544" y="476"/>
                  </a:cubicBezTo>
                  <a:cubicBezTo>
                    <a:pt x="544" y="473"/>
                    <a:pt x="543" y="475"/>
                    <a:pt x="543" y="474"/>
                  </a:cubicBezTo>
                  <a:cubicBezTo>
                    <a:pt x="542" y="474"/>
                    <a:pt x="538" y="474"/>
                    <a:pt x="538" y="473"/>
                  </a:cubicBezTo>
                  <a:cubicBezTo>
                    <a:pt x="537" y="471"/>
                    <a:pt x="535" y="471"/>
                    <a:pt x="534" y="471"/>
                  </a:cubicBezTo>
                  <a:cubicBezTo>
                    <a:pt x="534" y="470"/>
                    <a:pt x="532" y="471"/>
                    <a:pt x="531" y="472"/>
                  </a:cubicBezTo>
                  <a:cubicBezTo>
                    <a:pt x="530" y="472"/>
                    <a:pt x="527" y="475"/>
                    <a:pt x="526" y="476"/>
                  </a:cubicBezTo>
                  <a:cubicBezTo>
                    <a:pt x="525" y="477"/>
                    <a:pt x="525" y="478"/>
                    <a:pt x="524" y="479"/>
                  </a:cubicBezTo>
                  <a:cubicBezTo>
                    <a:pt x="522" y="480"/>
                    <a:pt x="524" y="482"/>
                    <a:pt x="523" y="483"/>
                  </a:cubicBezTo>
                  <a:cubicBezTo>
                    <a:pt x="521" y="484"/>
                    <a:pt x="522" y="485"/>
                    <a:pt x="521" y="485"/>
                  </a:cubicBezTo>
                  <a:cubicBezTo>
                    <a:pt x="520" y="485"/>
                    <a:pt x="520" y="486"/>
                    <a:pt x="518" y="488"/>
                  </a:cubicBezTo>
                  <a:cubicBezTo>
                    <a:pt x="516" y="489"/>
                    <a:pt x="518" y="491"/>
                    <a:pt x="519" y="493"/>
                  </a:cubicBezTo>
                  <a:cubicBezTo>
                    <a:pt x="521" y="495"/>
                    <a:pt x="518" y="494"/>
                    <a:pt x="518" y="494"/>
                  </a:cubicBezTo>
                  <a:cubicBezTo>
                    <a:pt x="517" y="494"/>
                    <a:pt x="517" y="497"/>
                    <a:pt x="517" y="497"/>
                  </a:cubicBezTo>
                  <a:cubicBezTo>
                    <a:pt x="519" y="499"/>
                    <a:pt x="519" y="499"/>
                    <a:pt x="519" y="499"/>
                  </a:cubicBezTo>
                  <a:cubicBezTo>
                    <a:pt x="519" y="499"/>
                    <a:pt x="519" y="502"/>
                    <a:pt x="519" y="502"/>
                  </a:cubicBezTo>
                  <a:cubicBezTo>
                    <a:pt x="519" y="502"/>
                    <a:pt x="519" y="502"/>
                    <a:pt x="519" y="502"/>
                  </a:cubicBezTo>
                  <a:cubicBezTo>
                    <a:pt x="519" y="503"/>
                    <a:pt x="517" y="507"/>
                    <a:pt x="516" y="508"/>
                  </a:cubicBezTo>
                  <a:cubicBezTo>
                    <a:pt x="516" y="508"/>
                    <a:pt x="518" y="509"/>
                    <a:pt x="519" y="511"/>
                  </a:cubicBezTo>
                  <a:cubicBezTo>
                    <a:pt x="519" y="512"/>
                    <a:pt x="519" y="514"/>
                    <a:pt x="519" y="515"/>
                  </a:cubicBezTo>
                  <a:cubicBezTo>
                    <a:pt x="519" y="516"/>
                    <a:pt x="518" y="517"/>
                    <a:pt x="517" y="517"/>
                  </a:cubicBezTo>
                  <a:cubicBezTo>
                    <a:pt x="514" y="517"/>
                    <a:pt x="515" y="520"/>
                    <a:pt x="514" y="522"/>
                  </a:cubicBezTo>
                  <a:cubicBezTo>
                    <a:pt x="514" y="525"/>
                    <a:pt x="512" y="527"/>
                    <a:pt x="510" y="526"/>
                  </a:cubicBezTo>
                  <a:cubicBezTo>
                    <a:pt x="507" y="526"/>
                    <a:pt x="508" y="527"/>
                    <a:pt x="505" y="527"/>
                  </a:cubicBezTo>
                  <a:cubicBezTo>
                    <a:pt x="502" y="526"/>
                    <a:pt x="501" y="530"/>
                    <a:pt x="499" y="532"/>
                  </a:cubicBezTo>
                  <a:cubicBezTo>
                    <a:pt x="499" y="533"/>
                    <a:pt x="498" y="533"/>
                    <a:pt x="497" y="534"/>
                  </a:cubicBezTo>
                  <a:cubicBezTo>
                    <a:pt x="495" y="535"/>
                    <a:pt x="492" y="535"/>
                    <a:pt x="490" y="534"/>
                  </a:cubicBezTo>
                  <a:cubicBezTo>
                    <a:pt x="486" y="533"/>
                    <a:pt x="485" y="533"/>
                    <a:pt x="485" y="533"/>
                  </a:cubicBezTo>
                  <a:cubicBezTo>
                    <a:pt x="483" y="528"/>
                    <a:pt x="483" y="528"/>
                    <a:pt x="483" y="528"/>
                  </a:cubicBezTo>
                  <a:cubicBezTo>
                    <a:pt x="483" y="528"/>
                    <a:pt x="478" y="526"/>
                    <a:pt x="478" y="525"/>
                  </a:cubicBezTo>
                  <a:cubicBezTo>
                    <a:pt x="477" y="525"/>
                    <a:pt x="474" y="526"/>
                    <a:pt x="471" y="527"/>
                  </a:cubicBezTo>
                  <a:cubicBezTo>
                    <a:pt x="469" y="527"/>
                    <a:pt x="467" y="528"/>
                    <a:pt x="467" y="528"/>
                  </a:cubicBezTo>
                  <a:cubicBezTo>
                    <a:pt x="467" y="528"/>
                    <a:pt x="461" y="530"/>
                    <a:pt x="458" y="531"/>
                  </a:cubicBezTo>
                  <a:cubicBezTo>
                    <a:pt x="455" y="532"/>
                    <a:pt x="450" y="536"/>
                    <a:pt x="448" y="536"/>
                  </a:cubicBezTo>
                  <a:cubicBezTo>
                    <a:pt x="447" y="536"/>
                    <a:pt x="445" y="537"/>
                    <a:pt x="445" y="537"/>
                  </a:cubicBezTo>
                  <a:cubicBezTo>
                    <a:pt x="445" y="537"/>
                    <a:pt x="442" y="536"/>
                    <a:pt x="439" y="537"/>
                  </a:cubicBezTo>
                  <a:cubicBezTo>
                    <a:pt x="437" y="538"/>
                    <a:pt x="437" y="538"/>
                    <a:pt x="435" y="539"/>
                  </a:cubicBezTo>
                  <a:cubicBezTo>
                    <a:pt x="433" y="541"/>
                    <a:pt x="431" y="542"/>
                    <a:pt x="428" y="543"/>
                  </a:cubicBezTo>
                  <a:cubicBezTo>
                    <a:pt x="428" y="543"/>
                    <a:pt x="427" y="543"/>
                    <a:pt x="427" y="543"/>
                  </a:cubicBezTo>
                  <a:cubicBezTo>
                    <a:pt x="426" y="543"/>
                    <a:pt x="426" y="543"/>
                    <a:pt x="426" y="542"/>
                  </a:cubicBezTo>
                  <a:cubicBezTo>
                    <a:pt x="424" y="540"/>
                    <a:pt x="422" y="540"/>
                    <a:pt x="421" y="539"/>
                  </a:cubicBezTo>
                  <a:cubicBezTo>
                    <a:pt x="420" y="539"/>
                    <a:pt x="410" y="532"/>
                    <a:pt x="408" y="531"/>
                  </a:cubicBezTo>
                  <a:cubicBezTo>
                    <a:pt x="407" y="529"/>
                    <a:pt x="405" y="532"/>
                    <a:pt x="403" y="532"/>
                  </a:cubicBezTo>
                  <a:cubicBezTo>
                    <a:pt x="402" y="531"/>
                    <a:pt x="401" y="533"/>
                    <a:pt x="399" y="534"/>
                  </a:cubicBezTo>
                  <a:cubicBezTo>
                    <a:pt x="396" y="536"/>
                    <a:pt x="394" y="537"/>
                    <a:pt x="392" y="539"/>
                  </a:cubicBezTo>
                  <a:cubicBezTo>
                    <a:pt x="389" y="540"/>
                    <a:pt x="389" y="541"/>
                    <a:pt x="387" y="541"/>
                  </a:cubicBezTo>
                  <a:cubicBezTo>
                    <a:pt x="385" y="541"/>
                    <a:pt x="384" y="541"/>
                    <a:pt x="384" y="540"/>
                  </a:cubicBezTo>
                  <a:cubicBezTo>
                    <a:pt x="383" y="539"/>
                    <a:pt x="385" y="536"/>
                    <a:pt x="385" y="535"/>
                  </a:cubicBezTo>
                  <a:cubicBezTo>
                    <a:pt x="386" y="534"/>
                    <a:pt x="384" y="534"/>
                    <a:pt x="382" y="535"/>
                  </a:cubicBezTo>
                  <a:cubicBezTo>
                    <a:pt x="380" y="535"/>
                    <a:pt x="380" y="536"/>
                    <a:pt x="376" y="533"/>
                  </a:cubicBezTo>
                  <a:cubicBezTo>
                    <a:pt x="375" y="533"/>
                    <a:pt x="370" y="530"/>
                    <a:pt x="370" y="529"/>
                  </a:cubicBezTo>
                  <a:cubicBezTo>
                    <a:pt x="371" y="527"/>
                    <a:pt x="371" y="527"/>
                    <a:pt x="371" y="526"/>
                  </a:cubicBezTo>
                  <a:cubicBezTo>
                    <a:pt x="372" y="525"/>
                    <a:pt x="370" y="523"/>
                    <a:pt x="368" y="522"/>
                  </a:cubicBezTo>
                  <a:cubicBezTo>
                    <a:pt x="365" y="522"/>
                    <a:pt x="366" y="522"/>
                    <a:pt x="364" y="521"/>
                  </a:cubicBezTo>
                  <a:cubicBezTo>
                    <a:pt x="363" y="520"/>
                    <a:pt x="363" y="517"/>
                    <a:pt x="363" y="515"/>
                  </a:cubicBezTo>
                  <a:cubicBezTo>
                    <a:pt x="364" y="514"/>
                    <a:pt x="366" y="513"/>
                    <a:pt x="367" y="511"/>
                  </a:cubicBezTo>
                  <a:cubicBezTo>
                    <a:pt x="368" y="510"/>
                    <a:pt x="370" y="511"/>
                    <a:pt x="370" y="510"/>
                  </a:cubicBezTo>
                  <a:cubicBezTo>
                    <a:pt x="370" y="508"/>
                    <a:pt x="370" y="507"/>
                    <a:pt x="370" y="505"/>
                  </a:cubicBezTo>
                  <a:cubicBezTo>
                    <a:pt x="371" y="504"/>
                    <a:pt x="375" y="504"/>
                    <a:pt x="376" y="503"/>
                  </a:cubicBezTo>
                  <a:cubicBezTo>
                    <a:pt x="376" y="503"/>
                    <a:pt x="381" y="501"/>
                    <a:pt x="382" y="501"/>
                  </a:cubicBezTo>
                  <a:cubicBezTo>
                    <a:pt x="383" y="501"/>
                    <a:pt x="383" y="498"/>
                    <a:pt x="383" y="497"/>
                  </a:cubicBezTo>
                  <a:cubicBezTo>
                    <a:pt x="382" y="496"/>
                    <a:pt x="380" y="496"/>
                    <a:pt x="379" y="495"/>
                  </a:cubicBezTo>
                  <a:cubicBezTo>
                    <a:pt x="378" y="494"/>
                    <a:pt x="375" y="494"/>
                    <a:pt x="374" y="494"/>
                  </a:cubicBezTo>
                  <a:cubicBezTo>
                    <a:pt x="373" y="493"/>
                    <a:pt x="374" y="489"/>
                    <a:pt x="374" y="488"/>
                  </a:cubicBezTo>
                  <a:cubicBezTo>
                    <a:pt x="374" y="486"/>
                    <a:pt x="377" y="485"/>
                    <a:pt x="379" y="484"/>
                  </a:cubicBezTo>
                  <a:cubicBezTo>
                    <a:pt x="380" y="482"/>
                    <a:pt x="378" y="478"/>
                    <a:pt x="378" y="477"/>
                  </a:cubicBezTo>
                  <a:cubicBezTo>
                    <a:pt x="378" y="477"/>
                    <a:pt x="379" y="474"/>
                    <a:pt x="379" y="472"/>
                  </a:cubicBezTo>
                  <a:cubicBezTo>
                    <a:pt x="379" y="471"/>
                    <a:pt x="377" y="469"/>
                    <a:pt x="377" y="468"/>
                  </a:cubicBezTo>
                  <a:cubicBezTo>
                    <a:pt x="377" y="467"/>
                    <a:pt x="372" y="471"/>
                    <a:pt x="371" y="472"/>
                  </a:cubicBezTo>
                  <a:cubicBezTo>
                    <a:pt x="369" y="473"/>
                    <a:pt x="367" y="476"/>
                    <a:pt x="367" y="477"/>
                  </a:cubicBezTo>
                  <a:cubicBezTo>
                    <a:pt x="366" y="478"/>
                    <a:pt x="363" y="480"/>
                    <a:pt x="361" y="480"/>
                  </a:cubicBezTo>
                  <a:cubicBezTo>
                    <a:pt x="359" y="481"/>
                    <a:pt x="357" y="481"/>
                    <a:pt x="355" y="481"/>
                  </a:cubicBezTo>
                  <a:cubicBezTo>
                    <a:pt x="354" y="480"/>
                    <a:pt x="352" y="483"/>
                    <a:pt x="352" y="482"/>
                  </a:cubicBezTo>
                  <a:cubicBezTo>
                    <a:pt x="351" y="482"/>
                    <a:pt x="348" y="484"/>
                    <a:pt x="347" y="485"/>
                  </a:cubicBezTo>
                  <a:cubicBezTo>
                    <a:pt x="346" y="485"/>
                    <a:pt x="345" y="488"/>
                    <a:pt x="344" y="489"/>
                  </a:cubicBezTo>
                  <a:cubicBezTo>
                    <a:pt x="343" y="490"/>
                    <a:pt x="343" y="494"/>
                    <a:pt x="343" y="495"/>
                  </a:cubicBezTo>
                  <a:cubicBezTo>
                    <a:pt x="342" y="497"/>
                    <a:pt x="343" y="500"/>
                    <a:pt x="343" y="500"/>
                  </a:cubicBezTo>
                  <a:cubicBezTo>
                    <a:pt x="343" y="500"/>
                    <a:pt x="343" y="508"/>
                    <a:pt x="344" y="513"/>
                  </a:cubicBezTo>
                  <a:cubicBezTo>
                    <a:pt x="344" y="513"/>
                    <a:pt x="346" y="513"/>
                    <a:pt x="347" y="514"/>
                  </a:cubicBezTo>
                  <a:cubicBezTo>
                    <a:pt x="349" y="514"/>
                    <a:pt x="351" y="516"/>
                    <a:pt x="352" y="517"/>
                  </a:cubicBezTo>
                  <a:cubicBezTo>
                    <a:pt x="353" y="518"/>
                    <a:pt x="351" y="518"/>
                    <a:pt x="348" y="520"/>
                  </a:cubicBezTo>
                  <a:cubicBezTo>
                    <a:pt x="344" y="523"/>
                    <a:pt x="348" y="522"/>
                    <a:pt x="348" y="524"/>
                  </a:cubicBezTo>
                  <a:cubicBezTo>
                    <a:pt x="348" y="526"/>
                    <a:pt x="349" y="527"/>
                    <a:pt x="349" y="527"/>
                  </a:cubicBezTo>
                  <a:cubicBezTo>
                    <a:pt x="350" y="527"/>
                    <a:pt x="350" y="530"/>
                    <a:pt x="350" y="531"/>
                  </a:cubicBezTo>
                  <a:cubicBezTo>
                    <a:pt x="351" y="531"/>
                    <a:pt x="353" y="532"/>
                    <a:pt x="353" y="532"/>
                  </a:cubicBezTo>
                  <a:cubicBezTo>
                    <a:pt x="355" y="536"/>
                    <a:pt x="355" y="536"/>
                    <a:pt x="355" y="536"/>
                  </a:cubicBezTo>
                  <a:cubicBezTo>
                    <a:pt x="355" y="536"/>
                    <a:pt x="355" y="541"/>
                    <a:pt x="355" y="541"/>
                  </a:cubicBezTo>
                  <a:cubicBezTo>
                    <a:pt x="354" y="542"/>
                    <a:pt x="353" y="542"/>
                    <a:pt x="352" y="542"/>
                  </a:cubicBezTo>
                  <a:cubicBezTo>
                    <a:pt x="351" y="542"/>
                    <a:pt x="350" y="544"/>
                    <a:pt x="349" y="547"/>
                  </a:cubicBezTo>
                  <a:cubicBezTo>
                    <a:pt x="349" y="551"/>
                    <a:pt x="347" y="550"/>
                    <a:pt x="347" y="549"/>
                  </a:cubicBezTo>
                  <a:cubicBezTo>
                    <a:pt x="346" y="548"/>
                    <a:pt x="341" y="547"/>
                    <a:pt x="340" y="546"/>
                  </a:cubicBezTo>
                  <a:cubicBezTo>
                    <a:pt x="339" y="545"/>
                    <a:pt x="335" y="546"/>
                    <a:pt x="334" y="546"/>
                  </a:cubicBezTo>
                  <a:cubicBezTo>
                    <a:pt x="332" y="546"/>
                    <a:pt x="330" y="548"/>
                    <a:pt x="330" y="548"/>
                  </a:cubicBezTo>
                  <a:cubicBezTo>
                    <a:pt x="330" y="548"/>
                    <a:pt x="329" y="548"/>
                    <a:pt x="328" y="549"/>
                  </a:cubicBezTo>
                  <a:cubicBezTo>
                    <a:pt x="328" y="549"/>
                    <a:pt x="327" y="550"/>
                    <a:pt x="327" y="550"/>
                  </a:cubicBezTo>
                  <a:cubicBezTo>
                    <a:pt x="327" y="550"/>
                    <a:pt x="322" y="551"/>
                    <a:pt x="321" y="551"/>
                  </a:cubicBezTo>
                  <a:cubicBezTo>
                    <a:pt x="320" y="550"/>
                    <a:pt x="317" y="551"/>
                    <a:pt x="315" y="550"/>
                  </a:cubicBezTo>
                  <a:cubicBezTo>
                    <a:pt x="313" y="550"/>
                    <a:pt x="311" y="552"/>
                    <a:pt x="311" y="552"/>
                  </a:cubicBezTo>
                  <a:cubicBezTo>
                    <a:pt x="311" y="552"/>
                    <a:pt x="307" y="555"/>
                    <a:pt x="306" y="555"/>
                  </a:cubicBezTo>
                  <a:cubicBezTo>
                    <a:pt x="305" y="556"/>
                    <a:pt x="304" y="558"/>
                    <a:pt x="304" y="560"/>
                  </a:cubicBezTo>
                  <a:cubicBezTo>
                    <a:pt x="304" y="562"/>
                    <a:pt x="300" y="565"/>
                    <a:pt x="300" y="565"/>
                  </a:cubicBezTo>
                  <a:cubicBezTo>
                    <a:pt x="300" y="565"/>
                    <a:pt x="297" y="568"/>
                    <a:pt x="296" y="569"/>
                  </a:cubicBezTo>
                  <a:cubicBezTo>
                    <a:pt x="296" y="570"/>
                    <a:pt x="295" y="572"/>
                    <a:pt x="295" y="573"/>
                  </a:cubicBezTo>
                  <a:cubicBezTo>
                    <a:pt x="294" y="574"/>
                    <a:pt x="292" y="577"/>
                    <a:pt x="292" y="576"/>
                  </a:cubicBezTo>
                  <a:cubicBezTo>
                    <a:pt x="292" y="576"/>
                    <a:pt x="288" y="582"/>
                    <a:pt x="287" y="582"/>
                  </a:cubicBezTo>
                  <a:cubicBezTo>
                    <a:pt x="286" y="583"/>
                    <a:pt x="283" y="584"/>
                    <a:pt x="281" y="585"/>
                  </a:cubicBezTo>
                  <a:cubicBezTo>
                    <a:pt x="277" y="588"/>
                    <a:pt x="277" y="588"/>
                    <a:pt x="277" y="588"/>
                  </a:cubicBezTo>
                  <a:cubicBezTo>
                    <a:pt x="277" y="588"/>
                    <a:pt x="273" y="591"/>
                    <a:pt x="272" y="592"/>
                  </a:cubicBezTo>
                  <a:cubicBezTo>
                    <a:pt x="272" y="592"/>
                    <a:pt x="270" y="593"/>
                    <a:pt x="268" y="594"/>
                  </a:cubicBezTo>
                  <a:cubicBezTo>
                    <a:pt x="268" y="594"/>
                    <a:pt x="267" y="594"/>
                    <a:pt x="266" y="594"/>
                  </a:cubicBezTo>
                  <a:cubicBezTo>
                    <a:pt x="265" y="593"/>
                    <a:pt x="265" y="595"/>
                    <a:pt x="264" y="594"/>
                  </a:cubicBezTo>
                  <a:cubicBezTo>
                    <a:pt x="263" y="594"/>
                    <a:pt x="259" y="597"/>
                    <a:pt x="258" y="599"/>
                  </a:cubicBezTo>
                  <a:cubicBezTo>
                    <a:pt x="256" y="600"/>
                    <a:pt x="257" y="602"/>
                    <a:pt x="256" y="603"/>
                  </a:cubicBezTo>
                  <a:cubicBezTo>
                    <a:pt x="256" y="604"/>
                    <a:pt x="258" y="609"/>
                    <a:pt x="258" y="609"/>
                  </a:cubicBezTo>
                  <a:cubicBezTo>
                    <a:pt x="258" y="609"/>
                    <a:pt x="253" y="613"/>
                    <a:pt x="251" y="613"/>
                  </a:cubicBezTo>
                  <a:cubicBezTo>
                    <a:pt x="250" y="614"/>
                    <a:pt x="248" y="615"/>
                    <a:pt x="246" y="615"/>
                  </a:cubicBezTo>
                  <a:cubicBezTo>
                    <a:pt x="244" y="616"/>
                    <a:pt x="242" y="617"/>
                    <a:pt x="242" y="617"/>
                  </a:cubicBezTo>
                  <a:cubicBezTo>
                    <a:pt x="242" y="617"/>
                    <a:pt x="240" y="618"/>
                    <a:pt x="240" y="619"/>
                  </a:cubicBezTo>
                  <a:cubicBezTo>
                    <a:pt x="240" y="621"/>
                    <a:pt x="240" y="622"/>
                    <a:pt x="239" y="624"/>
                  </a:cubicBezTo>
                  <a:cubicBezTo>
                    <a:pt x="239" y="626"/>
                    <a:pt x="235" y="625"/>
                    <a:pt x="235" y="625"/>
                  </a:cubicBezTo>
                  <a:cubicBezTo>
                    <a:pt x="234" y="624"/>
                    <a:pt x="228" y="626"/>
                    <a:pt x="226" y="625"/>
                  </a:cubicBezTo>
                  <a:cubicBezTo>
                    <a:pt x="225" y="624"/>
                    <a:pt x="222" y="625"/>
                    <a:pt x="222" y="623"/>
                  </a:cubicBezTo>
                  <a:cubicBezTo>
                    <a:pt x="221" y="622"/>
                    <a:pt x="217" y="621"/>
                    <a:pt x="215" y="620"/>
                  </a:cubicBezTo>
                  <a:cubicBezTo>
                    <a:pt x="214" y="620"/>
                    <a:pt x="209" y="619"/>
                    <a:pt x="207" y="619"/>
                  </a:cubicBezTo>
                  <a:cubicBezTo>
                    <a:pt x="205" y="619"/>
                    <a:pt x="207" y="621"/>
                    <a:pt x="208" y="622"/>
                  </a:cubicBezTo>
                  <a:cubicBezTo>
                    <a:pt x="209" y="623"/>
                    <a:pt x="209" y="624"/>
                    <a:pt x="210" y="626"/>
                  </a:cubicBezTo>
                  <a:cubicBezTo>
                    <a:pt x="210" y="627"/>
                    <a:pt x="211" y="630"/>
                    <a:pt x="212" y="631"/>
                  </a:cubicBezTo>
                  <a:cubicBezTo>
                    <a:pt x="214" y="631"/>
                    <a:pt x="214" y="634"/>
                    <a:pt x="214" y="637"/>
                  </a:cubicBezTo>
                  <a:cubicBezTo>
                    <a:pt x="215" y="640"/>
                    <a:pt x="212" y="638"/>
                    <a:pt x="211" y="637"/>
                  </a:cubicBezTo>
                  <a:cubicBezTo>
                    <a:pt x="209" y="636"/>
                    <a:pt x="208" y="638"/>
                    <a:pt x="206" y="636"/>
                  </a:cubicBezTo>
                  <a:cubicBezTo>
                    <a:pt x="204" y="635"/>
                    <a:pt x="202" y="637"/>
                    <a:pt x="199" y="637"/>
                  </a:cubicBezTo>
                  <a:cubicBezTo>
                    <a:pt x="197" y="636"/>
                    <a:pt x="196" y="636"/>
                    <a:pt x="195" y="634"/>
                  </a:cubicBezTo>
                  <a:cubicBezTo>
                    <a:pt x="194" y="633"/>
                    <a:pt x="192" y="634"/>
                    <a:pt x="191" y="634"/>
                  </a:cubicBezTo>
                  <a:cubicBezTo>
                    <a:pt x="190" y="633"/>
                    <a:pt x="190" y="633"/>
                    <a:pt x="188" y="633"/>
                  </a:cubicBezTo>
                  <a:cubicBezTo>
                    <a:pt x="187" y="633"/>
                    <a:pt x="186" y="634"/>
                    <a:pt x="185" y="635"/>
                  </a:cubicBezTo>
                  <a:cubicBezTo>
                    <a:pt x="184" y="635"/>
                    <a:pt x="183" y="634"/>
                    <a:pt x="180" y="635"/>
                  </a:cubicBezTo>
                  <a:cubicBezTo>
                    <a:pt x="178" y="636"/>
                    <a:pt x="177" y="635"/>
                    <a:pt x="177" y="635"/>
                  </a:cubicBezTo>
                  <a:cubicBezTo>
                    <a:pt x="176" y="635"/>
                    <a:pt x="172" y="638"/>
                    <a:pt x="170" y="640"/>
                  </a:cubicBezTo>
                  <a:cubicBezTo>
                    <a:pt x="169" y="641"/>
                    <a:pt x="172" y="644"/>
                    <a:pt x="172" y="646"/>
                  </a:cubicBezTo>
                  <a:cubicBezTo>
                    <a:pt x="172" y="648"/>
                    <a:pt x="173" y="650"/>
                    <a:pt x="174" y="651"/>
                  </a:cubicBezTo>
                  <a:cubicBezTo>
                    <a:pt x="176" y="652"/>
                    <a:pt x="179" y="652"/>
                    <a:pt x="181" y="651"/>
                  </a:cubicBezTo>
                  <a:cubicBezTo>
                    <a:pt x="184" y="651"/>
                    <a:pt x="184" y="652"/>
                    <a:pt x="184" y="652"/>
                  </a:cubicBezTo>
                  <a:cubicBezTo>
                    <a:pt x="185" y="652"/>
                    <a:pt x="187" y="654"/>
                    <a:pt x="187" y="655"/>
                  </a:cubicBezTo>
                  <a:cubicBezTo>
                    <a:pt x="188" y="656"/>
                    <a:pt x="190" y="658"/>
                    <a:pt x="193" y="657"/>
                  </a:cubicBezTo>
                  <a:cubicBezTo>
                    <a:pt x="195" y="656"/>
                    <a:pt x="195" y="658"/>
                    <a:pt x="197" y="658"/>
                  </a:cubicBezTo>
                  <a:cubicBezTo>
                    <a:pt x="198" y="658"/>
                    <a:pt x="198" y="659"/>
                    <a:pt x="200" y="659"/>
                  </a:cubicBezTo>
                  <a:cubicBezTo>
                    <a:pt x="202" y="659"/>
                    <a:pt x="202" y="662"/>
                    <a:pt x="203" y="662"/>
                  </a:cubicBezTo>
                  <a:cubicBezTo>
                    <a:pt x="204" y="662"/>
                    <a:pt x="205" y="664"/>
                    <a:pt x="205" y="665"/>
                  </a:cubicBezTo>
                  <a:cubicBezTo>
                    <a:pt x="205" y="666"/>
                    <a:pt x="205" y="667"/>
                    <a:pt x="205" y="668"/>
                  </a:cubicBezTo>
                  <a:cubicBezTo>
                    <a:pt x="205" y="668"/>
                    <a:pt x="207" y="670"/>
                    <a:pt x="208" y="672"/>
                  </a:cubicBezTo>
                  <a:cubicBezTo>
                    <a:pt x="210" y="674"/>
                    <a:pt x="210" y="675"/>
                    <a:pt x="211" y="676"/>
                  </a:cubicBezTo>
                  <a:cubicBezTo>
                    <a:pt x="213" y="677"/>
                    <a:pt x="213" y="679"/>
                    <a:pt x="216" y="679"/>
                  </a:cubicBezTo>
                  <a:cubicBezTo>
                    <a:pt x="218" y="680"/>
                    <a:pt x="218" y="681"/>
                    <a:pt x="218" y="682"/>
                  </a:cubicBezTo>
                  <a:cubicBezTo>
                    <a:pt x="218" y="683"/>
                    <a:pt x="219" y="686"/>
                    <a:pt x="219" y="687"/>
                  </a:cubicBezTo>
                  <a:cubicBezTo>
                    <a:pt x="219" y="688"/>
                    <a:pt x="219" y="691"/>
                    <a:pt x="219" y="691"/>
                  </a:cubicBezTo>
                  <a:cubicBezTo>
                    <a:pt x="217" y="696"/>
                    <a:pt x="217" y="696"/>
                    <a:pt x="217" y="696"/>
                  </a:cubicBezTo>
                  <a:cubicBezTo>
                    <a:pt x="217" y="696"/>
                    <a:pt x="219" y="703"/>
                    <a:pt x="218" y="705"/>
                  </a:cubicBezTo>
                  <a:cubicBezTo>
                    <a:pt x="218" y="706"/>
                    <a:pt x="216" y="718"/>
                    <a:pt x="216" y="720"/>
                  </a:cubicBezTo>
                  <a:cubicBezTo>
                    <a:pt x="215" y="722"/>
                    <a:pt x="214" y="722"/>
                    <a:pt x="212" y="724"/>
                  </a:cubicBezTo>
                  <a:cubicBezTo>
                    <a:pt x="211" y="725"/>
                    <a:pt x="211" y="725"/>
                    <a:pt x="211" y="725"/>
                  </a:cubicBezTo>
                  <a:cubicBezTo>
                    <a:pt x="209" y="727"/>
                    <a:pt x="210" y="726"/>
                    <a:pt x="207" y="726"/>
                  </a:cubicBezTo>
                  <a:cubicBezTo>
                    <a:pt x="204" y="725"/>
                    <a:pt x="205" y="726"/>
                    <a:pt x="203" y="726"/>
                  </a:cubicBezTo>
                  <a:cubicBezTo>
                    <a:pt x="202" y="725"/>
                    <a:pt x="200" y="725"/>
                    <a:pt x="198" y="725"/>
                  </a:cubicBezTo>
                  <a:cubicBezTo>
                    <a:pt x="197" y="725"/>
                    <a:pt x="196" y="725"/>
                    <a:pt x="195" y="724"/>
                  </a:cubicBezTo>
                  <a:cubicBezTo>
                    <a:pt x="193" y="724"/>
                    <a:pt x="191" y="726"/>
                    <a:pt x="188" y="725"/>
                  </a:cubicBezTo>
                  <a:cubicBezTo>
                    <a:pt x="185" y="725"/>
                    <a:pt x="185" y="724"/>
                    <a:pt x="182" y="723"/>
                  </a:cubicBezTo>
                  <a:cubicBezTo>
                    <a:pt x="178" y="723"/>
                    <a:pt x="179" y="723"/>
                    <a:pt x="179" y="723"/>
                  </a:cubicBezTo>
                  <a:cubicBezTo>
                    <a:pt x="179" y="723"/>
                    <a:pt x="175" y="724"/>
                    <a:pt x="173" y="725"/>
                  </a:cubicBezTo>
                  <a:cubicBezTo>
                    <a:pt x="171" y="725"/>
                    <a:pt x="169" y="726"/>
                    <a:pt x="169" y="726"/>
                  </a:cubicBezTo>
                  <a:cubicBezTo>
                    <a:pt x="169" y="726"/>
                    <a:pt x="164" y="725"/>
                    <a:pt x="163" y="724"/>
                  </a:cubicBezTo>
                  <a:cubicBezTo>
                    <a:pt x="161" y="723"/>
                    <a:pt x="158" y="724"/>
                    <a:pt x="158" y="724"/>
                  </a:cubicBezTo>
                  <a:cubicBezTo>
                    <a:pt x="158" y="723"/>
                    <a:pt x="154" y="723"/>
                    <a:pt x="153" y="722"/>
                  </a:cubicBezTo>
                  <a:cubicBezTo>
                    <a:pt x="153" y="721"/>
                    <a:pt x="145" y="723"/>
                    <a:pt x="145" y="723"/>
                  </a:cubicBezTo>
                  <a:cubicBezTo>
                    <a:pt x="144" y="723"/>
                    <a:pt x="143" y="724"/>
                    <a:pt x="140" y="724"/>
                  </a:cubicBezTo>
                  <a:cubicBezTo>
                    <a:pt x="137" y="724"/>
                    <a:pt x="138" y="725"/>
                    <a:pt x="137" y="724"/>
                  </a:cubicBezTo>
                  <a:cubicBezTo>
                    <a:pt x="136" y="723"/>
                    <a:pt x="135" y="723"/>
                    <a:pt x="134" y="722"/>
                  </a:cubicBezTo>
                  <a:cubicBezTo>
                    <a:pt x="132" y="720"/>
                    <a:pt x="131" y="720"/>
                    <a:pt x="129" y="720"/>
                  </a:cubicBezTo>
                  <a:cubicBezTo>
                    <a:pt x="127" y="719"/>
                    <a:pt x="126" y="721"/>
                    <a:pt x="125" y="722"/>
                  </a:cubicBezTo>
                  <a:cubicBezTo>
                    <a:pt x="124" y="723"/>
                    <a:pt x="123" y="725"/>
                    <a:pt x="122" y="726"/>
                  </a:cubicBezTo>
                  <a:cubicBezTo>
                    <a:pt x="121" y="727"/>
                    <a:pt x="118" y="727"/>
                    <a:pt x="118" y="727"/>
                  </a:cubicBezTo>
                  <a:cubicBezTo>
                    <a:pt x="117" y="727"/>
                    <a:pt x="114" y="728"/>
                    <a:pt x="112" y="729"/>
                  </a:cubicBezTo>
                  <a:cubicBezTo>
                    <a:pt x="110" y="729"/>
                    <a:pt x="109" y="731"/>
                    <a:pt x="109" y="733"/>
                  </a:cubicBezTo>
                  <a:cubicBezTo>
                    <a:pt x="108" y="734"/>
                    <a:pt x="110" y="735"/>
                    <a:pt x="111" y="735"/>
                  </a:cubicBezTo>
                  <a:cubicBezTo>
                    <a:pt x="111" y="736"/>
                    <a:pt x="112" y="736"/>
                    <a:pt x="113" y="739"/>
                  </a:cubicBezTo>
                  <a:cubicBezTo>
                    <a:pt x="114" y="742"/>
                    <a:pt x="114" y="741"/>
                    <a:pt x="114" y="742"/>
                  </a:cubicBezTo>
                  <a:cubicBezTo>
                    <a:pt x="114" y="743"/>
                    <a:pt x="114" y="745"/>
                    <a:pt x="114" y="747"/>
                  </a:cubicBezTo>
                  <a:cubicBezTo>
                    <a:pt x="114" y="748"/>
                    <a:pt x="114" y="748"/>
                    <a:pt x="114" y="748"/>
                  </a:cubicBezTo>
                  <a:cubicBezTo>
                    <a:pt x="113" y="750"/>
                    <a:pt x="114" y="751"/>
                    <a:pt x="114" y="753"/>
                  </a:cubicBezTo>
                  <a:cubicBezTo>
                    <a:pt x="115" y="755"/>
                    <a:pt x="115" y="756"/>
                    <a:pt x="116" y="757"/>
                  </a:cubicBezTo>
                  <a:cubicBezTo>
                    <a:pt x="116" y="757"/>
                    <a:pt x="116" y="761"/>
                    <a:pt x="116" y="762"/>
                  </a:cubicBezTo>
                  <a:cubicBezTo>
                    <a:pt x="116" y="764"/>
                    <a:pt x="117" y="767"/>
                    <a:pt x="117" y="768"/>
                  </a:cubicBezTo>
                  <a:cubicBezTo>
                    <a:pt x="117" y="769"/>
                    <a:pt x="112" y="784"/>
                    <a:pt x="111" y="786"/>
                  </a:cubicBezTo>
                  <a:cubicBezTo>
                    <a:pt x="111" y="789"/>
                    <a:pt x="110" y="789"/>
                    <a:pt x="108" y="792"/>
                  </a:cubicBezTo>
                  <a:cubicBezTo>
                    <a:pt x="106" y="795"/>
                    <a:pt x="106" y="794"/>
                    <a:pt x="106" y="796"/>
                  </a:cubicBezTo>
                  <a:cubicBezTo>
                    <a:pt x="106" y="798"/>
                    <a:pt x="107" y="798"/>
                    <a:pt x="108" y="799"/>
                  </a:cubicBezTo>
                  <a:cubicBezTo>
                    <a:pt x="108" y="799"/>
                    <a:pt x="108" y="802"/>
                    <a:pt x="108" y="804"/>
                  </a:cubicBezTo>
                  <a:cubicBezTo>
                    <a:pt x="108" y="805"/>
                    <a:pt x="110" y="805"/>
                    <a:pt x="113" y="805"/>
                  </a:cubicBezTo>
                  <a:cubicBezTo>
                    <a:pt x="113" y="805"/>
                    <a:pt x="114" y="808"/>
                    <a:pt x="115" y="809"/>
                  </a:cubicBezTo>
                  <a:cubicBezTo>
                    <a:pt x="115" y="810"/>
                    <a:pt x="115" y="812"/>
                    <a:pt x="116" y="813"/>
                  </a:cubicBezTo>
                  <a:cubicBezTo>
                    <a:pt x="116" y="815"/>
                    <a:pt x="115" y="818"/>
                    <a:pt x="114" y="820"/>
                  </a:cubicBezTo>
                  <a:cubicBezTo>
                    <a:pt x="113" y="821"/>
                    <a:pt x="113" y="824"/>
                    <a:pt x="112" y="826"/>
                  </a:cubicBezTo>
                  <a:cubicBezTo>
                    <a:pt x="112" y="828"/>
                    <a:pt x="114" y="828"/>
                    <a:pt x="114" y="828"/>
                  </a:cubicBezTo>
                  <a:cubicBezTo>
                    <a:pt x="114" y="828"/>
                    <a:pt x="116" y="827"/>
                    <a:pt x="117" y="827"/>
                  </a:cubicBezTo>
                  <a:cubicBezTo>
                    <a:pt x="119" y="826"/>
                    <a:pt x="120" y="826"/>
                    <a:pt x="121" y="827"/>
                  </a:cubicBezTo>
                  <a:cubicBezTo>
                    <a:pt x="123" y="827"/>
                    <a:pt x="126" y="828"/>
                    <a:pt x="126" y="828"/>
                  </a:cubicBezTo>
                  <a:cubicBezTo>
                    <a:pt x="126" y="828"/>
                    <a:pt x="128" y="829"/>
                    <a:pt x="130" y="829"/>
                  </a:cubicBezTo>
                  <a:cubicBezTo>
                    <a:pt x="132" y="828"/>
                    <a:pt x="131" y="828"/>
                    <a:pt x="133" y="827"/>
                  </a:cubicBezTo>
                  <a:cubicBezTo>
                    <a:pt x="133" y="826"/>
                    <a:pt x="134" y="826"/>
                    <a:pt x="135" y="826"/>
                  </a:cubicBezTo>
                  <a:cubicBezTo>
                    <a:pt x="136" y="826"/>
                    <a:pt x="136" y="826"/>
                    <a:pt x="137" y="826"/>
                  </a:cubicBezTo>
                  <a:cubicBezTo>
                    <a:pt x="139" y="825"/>
                    <a:pt x="140" y="826"/>
                    <a:pt x="140" y="827"/>
                  </a:cubicBezTo>
                  <a:cubicBezTo>
                    <a:pt x="141" y="827"/>
                    <a:pt x="145" y="829"/>
                    <a:pt x="147" y="829"/>
                  </a:cubicBezTo>
                  <a:cubicBezTo>
                    <a:pt x="148" y="830"/>
                    <a:pt x="147" y="834"/>
                    <a:pt x="148" y="834"/>
                  </a:cubicBezTo>
                  <a:cubicBezTo>
                    <a:pt x="148" y="835"/>
                    <a:pt x="153" y="840"/>
                    <a:pt x="153" y="841"/>
                  </a:cubicBezTo>
                  <a:cubicBezTo>
                    <a:pt x="153" y="842"/>
                    <a:pt x="158" y="843"/>
                    <a:pt x="159" y="843"/>
                  </a:cubicBezTo>
                  <a:cubicBezTo>
                    <a:pt x="159" y="844"/>
                    <a:pt x="162" y="842"/>
                    <a:pt x="163" y="840"/>
                  </a:cubicBezTo>
                  <a:cubicBezTo>
                    <a:pt x="164" y="839"/>
                    <a:pt x="165" y="837"/>
                    <a:pt x="166" y="837"/>
                  </a:cubicBezTo>
                  <a:cubicBezTo>
                    <a:pt x="167" y="837"/>
                    <a:pt x="172" y="836"/>
                    <a:pt x="174" y="834"/>
                  </a:cubicBezTo>
                  <a:cubicBezTo>
                    <a:pt x="175" y="834"/>
                    <a:pt x="176" y="834"/>
                    <a:pt x="177" y="834"/>
                  </a:cubicBezTo>
                  <a:cubicBezTo>
                    <a:pt x="179" y="834"/>
                    <a:pt x="180" y="834"/>
                    <a:pt x="181" y="834"/>
                  </a:cubicBezTo>
                  <a:cubicBezTo>
                    <a:pt x="183" y="834"/>
                    <a:pt x="186" y="833"/>
                    <a:pt x="187" y="833"/>
                  </a:cubicBezTo>
                  <a:cubicBezTo>
                    <a:pt x="189" y="833"/>
                    <a:pt x="191" y="834"/>
                    <a:pt x="191" y="834"/>
                  </a:cubicBezTo>
                  <a:cubicBezTo>
                    <a:pt x="191" y="834"/>
                    <a:pt x="193" y="834"/>
                    <a:pt x="194" y="833"/>
                  </a:cubicBezTo>
                  <a:cubicBezTo>
                    <a:pt x="195" y="832"/>
                    <a:pt x="200" y="834"/>
                    <a:pt x="200" y="834"/>
                  </a:cubicBezTo>
                  <a:cubicBezTo>
                    <a:pt x="203" y="832"/>
                    <a:pt x="203" y="832"/>
                    <a:pt x="203" y="832"/>
                  </a:cubicBezTo>
                  <a:cubicBezTo>
                    <a:pt x="206" y="830"/>
                    <a:pt x="206" y="830"/>
                    <a:pt x="206" y="830"/>
                  </a:cubicBezTo>
                  <a:cubicBezTo>
                    <a:pt x="206" y="830"/>
                    <a:pt x="210" y="826"/>
                    <a:pt x="211" y="825"/>
                  </a:cubicBezTo>
                  <a:cubicBezTo>
                    <a:pt x="212" y="824"/>
                    <a:pt x="214" y="822"/>
                    <a:pt x="214" y="822"/>
                  </a:cubicBezTo>
                  <a:cubicBezTo>
                    <a:pt x="214" y="822"/>
                    <a:pt x="220" y="821"/>
                    <a:pt x="221" y="819"/>
                  </a:cubicBezTo>
                  <a:cubicBezTo>
                    <a:pt x="221" y="818"/>
                    <a:pt x="222" y="818"/>
                    <a:pt x="222" y="817"/>
                  </a:cubicBezTo>
                  <a:cubicBezTo>
                    <a:pt x="223" y="816"/>
                    <a:pt x="225" y="815"/>
                    <a:pt x="226" y="814"/>
                  </a:cubicBezTo>
                  <a:cubicBezTo>
                    <a:pt x="227" y="812"/>
                    <a:pt x="227" y="811"/>
                    <a:pt x="228" y="809"/>
                  </a:cubicBezTo>
                  <a:cubicBezTo>
                    <a:pt x="229" y="808"/>
                    <a:pt x="230" y="808"/>
                    <a:pt x="231" y="807"/>
                  </a:cubicBezTo>
                  <a:cubicBezTo>
                    <a:pt x="232" y="807"/>
                    <a:pt x="235" y="805"/>
                    <a:pt x="236" y="805"/>
                  </a:cubicBezTo>
                  <a:cubicBezTo>
                    <a:pt x="236" y="804"/>
                    <a:pt x="237" y="803"/>
                    <a:pt x="236" y="801"/>
                  </a:cubicBezTo>
                  <a:cubicBezTo>
                    <a:pt x="236" y="799"/>
                    <a:pt x="234" y="799"/>
                    <a:pt x="233" y="798"/>
                  </a:cubicBezTo>
                  <a:cubicBezTo>
                    <a:pt x="232" y="797"/>
                    <a:pt x="231" y="796"/>
                    <a:pt x="231" y="793"/>
                  </a:cubicBezTo>
                  <a:cubicBezTo>
                    <a:pt x="230" y="790"/>
                    <a:pt x="231" y="790"/>
                    <a:pt x="231" y="788"/>
                  </a:cubicBezTo>
                  <a:cubicBezTo>
                    <a:pt x="231" y="786"/>
                    <a:pt x="232" y="786"/>
                    <a:pt x="233" y="784"/>
                  </a:cubicBezTo>
                  <a:cubicBezTo>
                    <a:pt x="234" y="782"/>
                    <a:pt x="238" y="775"/>
                    <a:pt x="237" y="774"/>
                  </a:cubicBezTo>
                  <a:cubicBezTo>
                    <a:pt x="237" y="774"/>
                    <a:pt x="239" y="772"/>
                    <a:pt x="239" y="771"/>
                  </a:cubicBezTo>
                  <a:cubicBezTo>
                    <a:pt x="239" y="770"/>
                    <a:pt x="244" y="768"/>
                    <a:pt x="244" y="768"/>
                  </a:cubicBezTo>
                  <a:cubicBezTo>
                    <a:pt x="245" y="767"/>
                    <a:pt x="249" y="766"/>
                    <a:pt x="249" y="766"/>
                  </a:cubicBezTo>
                  <a:cubicBezTo>
                    <a:pt x="249" y="766"/>
                    <a:pt x="253" y="763"/>
                    <a:pt x="253" y="762"/>
                  </a:cubicBezTo>
                  <a:cubicBezTo>
                    <a:pt x="254" y="762"/>
                    <a:pt x="257" y="762"/>
                    <a:pt x="259" y="761"/>
                  </a:cubicBezTo>
                  <a:cubicBezTo>
                    <a:pt x="260" y="761"/>
                    <a:pt x="263" y="760"/>
                    <a:pt x="263" y="760"/>
                  </a:cubicBezTo>
                  <a:cubicBezTo>
                    <a:pt x="263" y="760"/>
                    <a:pt x="266" y="758"/>
                    <a:pt x="270" y="754"/>
                  </a:cubicBezTo>
                  <a:cubicBezTo>
                    <a:pt x="273" y="751"/>
                    <a:pt x="273" y="754"/>
                    <a:pt x="274" y="753"/>
                  </a:cubicBezTo>
                  <a:cubicBezTo>
                    <a:pt x="276" y="752"/>
                    <a:pt x="277" y="751"/>
                    <a:pt x="278" y="749"/>
                  </a:cubicBezTo>
                  <a:cubicBezTo>
                    <a:pt x="279" y="747"/>
                    <a:pt x="279" y="747"/>
                    <a:pt x="278" y="746"/>
                  </a:cubicBezTo>
                  <a:cubicBezTo>
                    <a:pt x="278" y="745"/>
                    <a:pt x="277" y="744"/>
                    <a:pt x="277" y="742"/>
                  </a:cubicBezTo>
                  <a:cubicBezTo>
                    <a:pt x="276" y="741"/>
                    <a:pt x="276" y="739"/>
                    <a:pt x="276" y="738"/>
                  </a:cubicBezTo>
                  <a:cubicBezTo>
                    <a:pt x="275" y="735"/>
                    <a:pt x="276" y="736"/>
                    <a:pt x="276" y="734"/>
                  </a:cubicBezTo>
                  <a:cubicBezTo>
                    <a:pt x="277" y="732"/>
                    <a:pt x="281" y="729"/>
                    <a:pt x="282" y="727"/>
                  </a:cubicBezTo>
                  <a:cubicBezTo>
                    <a:pt x="282" y="726"/>
                    <a:pt x="287" y="725"/>
                    <a:pt x="289" y="724"/>
                  </a:cubicBezTo>
                  <a:cubicBezTo>
                    <a:pt x="291" y="723"/>
                    <a:pt x="292" y="725"/>
                    <a:pt x="294" y="725"/>
                  </a:cubicBezTo>
                  <a:cubicBezTo>
                    <a:pt x="296" y="725"/>
                    <a:pt x="299" y="726"/>
                    <a:pt x="301" y="726"/>
                  </a:cubicBezTo>
                  <a:cubicBezTo>
                    <a:pt x="304" y="726"/>
                    <a:pt x="304" y="728"/>
                    <a:pt x="305" y="729"/>
                  </a:cubicBezTo>
                  <a:cubicBezTo>
                    <a:pt x="306" y="730"/>
                    <a:pt x="309" y="730"/>
                    <a:pt x="310" y="730"/>
                  </a:cubicBezTo>
                  <a:cubicBezTo>
                    <a:pt x="311" y="730"/>
                    <a:pt x="318" y="732"/>
                    <a:pt x="319" y="732"/>
                  </a:cubicBezTo>
                  <a:cubicBezTo>
                    <a:pt x="320" y="731"/>
                    <a:pt x="325" y="728"/>
                    <a:pt x="328" y="724"/>
                  </a:cubicBezTo>
                  <a:cubicBezTo>
                    <a:pt x="332" y="721"/>
                    <a:pt x="331" y="724"/>
                    <a:pt x="332" y="723"/>
                  </a:cubicBezTo>
                  <a:cubicBezTo>
                    <a:pt x="333" y="721"/>
                    <a:pt x="334" y="720"/>
                    <a:pt x="337" y="718"/>
                  </a:cubicBezTo>
                  <a:cubicBezTo>
                    <a:pt x="337" y="718"/>
                    <a:pt x="337" y="718"/>
                    <a:pt x="337" y="718"/>
                  </a:cubicBezTo>
                  <a:cubicBezTo>
                    <a:pt x="340" y="715"/>
                    <a:pt x="340" y="719"/>
                    <a:pt x="341" y="718"/>
                  </a:cubicBezTo>
                  <a:cubicBezTo>
                    <a:pt x="342" y="717"/>
                    <a:pt x="342" y="718"/>
                    <a:pt x="343" y="717"/>
                  </a:cubicBezTo>
                  <a:cubicBezTo>
                    <a:pt x="344" y="715"/>
                    <a:pt x="345" y="714"/>
                    <a:pt x="347" y="713"/>
                  </a:cubicBezTo>
                  <a:cubicBezTo>
                    <a:pt x="348" y="712"/>
                    <a:pt x="349" y="714"/>
                    <a:pt x="351" y="712"/>
                  </a:cubicBezTo>
                  <a:cubicBezTo>
                    <a:pt x="353" y="711"/>
                    <a:pt x="354" y="713"/>
                    <a:pt x="355" y="712"/>
                  </a:cubicBezTo>
                  <a:cubicBezTo>
                    <a:pt x="357" y="712"/>
                    <a:pt x="358" y="714"/>
                    <a:pt x="359" y="714"/>
                  </a:cubicBezTo>
                  <a:cubicBezTo>
                    <a:pt x="361" y="715"/>
                    <a:pt x="363" y="714"/>
                    <a:pt x="364" y="714"/>
                  </a:cubicBezTo>
                  <a:cubicBezTo>
                    <a:pt x="365" y="714"/>
                    <a:pt x="370" y="716"/>
                    <a:pt x="371" y="716"/>
                  </a:cubicBezTo>
                  <a:cubicBezTo>
                    <a:pt x="372" y="717"/>
                    <a:pt x="373" y="720"/>
                    <a:pt x="373" y="722"/>
                  </a:cubicBezTo>
                  <a:cubicBezTo>
                    <a:pt x="373" y="724"/>
                    <a:pt x="375" y="727"/>
                    <a:pt x="375" y="728"/>
                  </a:cubicBezTo>
                  <a:cubicBezTo>
                    <a:pt x="375" y="729"/>
                    <a:pt x="378" y="733"/>
                    <a:pt x="379" y="734"/>
                  </a:cubicBezTo>
                  <a:cubicBezTo>
                    <a:pt x="379" y="734"/>
                    <a:pt x="381" y="737"/>
                    <a:pt x="384" y="739"/>
                  </a:cubicBezTo>
                  <a:cubicBezTo>
                    <a:pt x="387" y="742"/>
                    <a:pt x="386" y="741"/>
                    <a:pt x="387" y="741"/>
                  </a:cubicBezTo>
                  <a:cubicBezTo>
                    <a:pt x="388" y="741"/>
                    <a:pt x="390" y="745"/>
                    <a:pt x="392" y="746"/>
                  </a:cubicBezTo>
                  <a:cubicBezTo>
                    <a:pt x="394" y="748"/>
                    <a:pt x="399" y="751"/>
                    <a:pt x="400" y="751"/>
                  </a:cubicBezTo>
                  <a:cubicBezTo>
                    <a:pt x="401" y="752"/>
                    <a:pt x="401" y="756"/>
                    <a:pt x="401" y="756"/>
                  </a:cubicBezTo>
                  <a:cubicBezTo>
                    <a:pt x="401" y="756"/>
                    <a:pt x="409" y="759"/>
                    <a:pt x="411" y="759"/>
                  </a:cubicBezTo>
                  <a:cubicBezTo>
                    <a:pt x="414" y="758"/>
                    <a:pt x="420" y="762"/>
                    <a:pt x="420" y="762"/>
                  </a:cubicBezTo>
                  <a:cubicBezTo>
                    <a:pt x="421" y="763"/>
                    <a:pt x="422" y="766"/>
                    <a:pt x="424" y="769"/>
                  </a:cubicBezTo>
                  <a:cubicBezTo>
                    <a:pt x="426" y="772"/>
                    <a:pt x="428" y="770"/>
                    <a:pt x="430" y="770"/>
                  </a:cubicBezTo>
                  <a:cubicBezTo>
                    <a:pt x="431" y="770"/>
                    <a:pt x="431" y="771"/>
                    <a:pt x="433" y="772"/>
                  </a:cubicBezTo>
                  <a:cubicBezTo>
                    <a:pt x="435" y="773"/>
                    <a:pt x="435" y="775"/>
                    <a:pt x="436" y="777"/>
                  </a:cubicBezTo>
                  <a:cubicBezTo>
                    <a:pt x="437" y="779"/>
                    <a:pt x="439" y="780"/>
                    <a:pt x="441" y="780"/>
                  </a:cubicBezTo>
                  <a:cubicBezTo>
                    <a:pt x="442" y="780"/>
                    <a:pt x="444" y="781"/>
                    <a:pt x="445" y="781"/>
                  </a:cubicBezTo>
                  <a:cubicBezTo>
                    <a:pt x="446" y="781"/>
                    <a:pt x="448" y="785"/>
                    <a:pt x="448" y="786"/>
                  </a:cubicBezTo>
                  <a:cubicBezTo>
                    <a:pt x="449" y="788"/>
                    <a:pt x="450" y="792"/>
                    <a:pt x="451" y="793"/>
                  </a:cubicBezTo>
                  <a:cubicBezTo>
                    <a:pt x="452" y="795"/>
                    <a:pt x="452" y="798"/>
                    <a:pt x="452" y="798"/>
                  </a:cubicBezTo>
                  <a:cubicBezTo>
                    <a:pt x="452" y="798"/>
                    <a:pt x="446" y="811"/>
                    <a:pt x="446" y="812"/>
                  </a:cubicBezTo>
                  <a:cubicBezTo>
                    <a:pt x="446" y="812"/>
                    <a:pt x="451" y="811"/>
                    <a:pt x="451" y="811"/>
                  </a:cubicBezTo>
                  <a:cubicBezTo>
                    <a:pt x="451" y="811"/>
                    <a:pt x="454" y="808"/>
                    <a:pt x="455" y="807"/>
                  </a:cubicBezTo>
                  <a:cubicBezTo>
                    <a:pt x="455" y="806"/>
                    <a:pt x="458" y="803"/>
                    <a:pt x="459" y="802"/>
                  </a:cubicBezTo>
                  <a:cubicBezTo>
                    <a:pt x="460" y="800"/>
                    <a:pt x="462" y="797"/>
                    <a:pt x="464" y="796"/>
                  </a:cubicBezTo>
                  <a:cubicBezTo>
                    <a:pt x="465" y="794"/>
                    <a:pt x="465" y="795"/>
                    <a:pt x="465" y="794"/>
                  </a:cubicBezTo>
                  <a:cubicBezTo>
                    <a:pt x="466" y="793"/>
                    <a:pt x="466" y="792"/>
                    <a:pt x="467" y="790"/>
                  </a:cubicBezTo>
                  <a:cubicBezTo>
                    <a:pt x="467" y="787"/>
                    <a:pt x="465" y="789"/>
                    <a:pt x="464" y="787"/>
                  </a:cubicBezTo>
                  <a:cubicBezTo>
                    <a:pt x="462" y="786"/>
                    <a:pt x="460" y="786"/>
                    <a:pt x="459" y="785"/>
                  </a:cubicBezTo>
                  <a:cubicBezTo>
                    <a:pt x="459" y="784"/>
                    <a:pt x="459" y="784"/>
                    <a:pt x="459" y="782"/>
                  </a:cubicBezTo>
                  <a:cubicBezTo>
                    <a:pt x="459" y="780"/>
                    <a:pt x="460" y="779"/>
                    <a:pt x="460" y="778"/>
                  </a:cubicBezTo>
                  <a:cubicBezTo>
                    <a:pt x="460" y="777"/>
                    <a:pt x="461" y="777"/>
                    <a:pt x="463" y="774"/>
                  </a:cubicBezTo>
                  <a:cubicBezTo>
                    <a:pt x="464" y="772"/>
                    <a:pt x="465" y="775"/>
                    <a:pt x="466" y="774"/>
                  </a:cubicBezTo>
                  <a:cubicBezTo>
                    <a:pt x="467" y="774"/>
                    <a:pt x="470" y="775"/>
                    <a:pt x="470" y="775"/>
                  </a:cubicBezTo>
                  <a:cubicBezTo>
                    <a:pt x="470" y="775"/>
                    <a:pt x="473" y="777"/>
                    <a:pt x="475" y="778"/>
                  </a:cubicBezTo>
                  <a:cubicBezTo>
                    <a:pt x="477" y="780"/>
                    <a:pt x="479" y="781"/>
                    <a:pt x="480" y="781"/>
                  </a:cubicBezTo>
                  <a:cubicBezTo>
                    <a:pt x="481" y="782"/>
                    <a:pt x="482" y="783"/>
                    <a:pt x="483" y="782"/>
                  </a:cubicBezTo>
                  <a:cubicBezTo>
                    <a:pt x="484" y="781"/>
                    <a:pt x="483" y="781"/>
                    <a:pt x="483" y="779"/>
                  </a:cubicBezTo>
                  <a:cubicBezTo>
                    <a:pt x="483" y="777"/>
                    <a:pt x="482" y="777"/>
                    <a:pt x="482" y="776"/>
                  </a:cubicBezTo>
                  <a:cubicBezTo>
                    <a:pt x="481" y="775"/>
                    <a:pt x="480" y="774"/>
                    <a:pt x="479" y="774"/>
                  </a:cubicBezTo>
                  <a:cubicBezTo>
                    <a:pt x="479" y="774"/>
                    <a:pt x="469" y="767"/>
                    <a:pt x="469" y="766"/>
                  </a:cubicBezTo>
                  <a:cubicBezTo>
                    <a:pt x="468" y="766"/>
                    <a:pt x="466" y="765"/>
                    <a:pt x="465" y="764"/>
                  </a:cubicBezTo>
                  <a:cubicBezTo>
                    <a:pt x="464" y="764"/>
                    <a:pt x="461" y="763"/>
                    <a:pt x="458" y="761"/>
                  </a:cubicBezTo>
                  <a:cubicBezTo>
                    <a:pt x="455" y="759"/>
                    <a:pt x="453" y="759"/>
                    <a:pt x="451" y="758"/>
                  </a:cubicBezTo>
                  <a:cubicBezTo>
                    <a:pt x="450" y="757"/>
                    <a:pt x="451" y="755"/>
                    <a:pt x="451" y="754"/>
                  </a:cubicBezTo>
                  <a:cubicBezTo>
                    <a:pt x="452" y="753"/>
                    <a:pt x="453" y="752"/>
                    <a:pt x="453" y="751"/>
                  </a:cubicBezTo>
                  <a:cubicBezTo>
                    <a:pt x="453" y="750"/>
                    <a:pt x="449" y="750"/>
                    <a:pt x="449" y="750"/>
                  </a:cubicBezTo>
                  <a:cubicBezTo>
                    <a:pt x="449" y="750"/>
                    <a:pt x="443" y="750"/>
                    <a:pt x="440" y="749"/>
                  </a:cubicBezTo>
                  <a:cubicBezTo>
                    <a:pt x="438" y="748"/>
                    <a:pt x="437" y="749"/>
                    <a:pt x="437" y="749"/>
                  </a:cubicBezTo>
                  <a:cubicBezTo>
                    <a:pt x="437" y="749"/>
                    <a:pt x="435" y="749"/>
                    <a:pt x="434" y="748"/>
                  </a:cubicBezTo>
                  <a:cubicBezTo>
                    <a:pt x="433" y="747"/>
                    <a:pt x="433" y="747"/>
                    <a:pt x="431" y="745"/>
                  </a:cubicBezTo>
                  <a:cubicBezTo>
                    <a:pt x="430" y="742"/>
                    <a:pt x="427" y="742"/>
                    <a:pt x="427" y="741"/>
                  </a:cubicBezTo>
                  <a:cubicBezTo>
                    <a:pt x="427" y="740"/>
                    <a:pt x="422" y="733"/>
                    <a:pt x="422" y="730"/>
                  </a:cubicBezTo>
                  <a:cubicBezTo>
                    <a:pt x="422" y="728"/>
                    <a:pt x="421" y="729"/>
                    <a:pt x="421" y="727"/>
                  </a:cubicBezTo>
                  <a:cubicBezTo>
                    <a:pt x="421" y="725"/>
                    <a:pt x="420" y="725"/>
                    <a:pt x="417" y="723"/>
                  </a:cubicBezTo>
                  <a:cubicBezTo>
                    <a:pt x="414" y="720"/>
                    <a:pt x="413" y="721"/>
                    <a:pt x="411" y="718"/>
                  </a:cubicBezTo>
                  <a:cubicBezTo>
                    <a:pt x="409" y="716"/>
                    <a:pt x="408" y="717"/>
                    <a:pt x="407" y="716"/>
                  </a:cubicBezTo>
                  <a:cubicBezTo>
                    <a:pt x="406" y="714"/>
                    <a:pt x="407" y="716"/>
                    <a:pt x="406" y="714"/>
                  </a:cubicBezTo>
                  <a:cubicBezTo>
                    <a:pt x="405" y="713"/>
                    <a:pt x="403" y="711"/>
                    <a:pt x="402" y="710"/>
                  </a:cubicBezTo>
                  <a:cubicBezTo>
                    <a:pt x="401" y="709"/>
                    <a:pt x="400" y="707"/>
                    <a:pt x="400" y="706"/>
                  </a:cubicBezTo>
                  <a:cubicBezTo>
                    <a:pt x="400" y="705"/>
                    <a:pt x="401" y="704"/>
                    <a:pt x="402" y="703"/>
                  </a:cubicBezTo>
                  <a:cubicBezTo>
                    <a:pt x="402" y="703"/>
                    <a:pt x="403" y="703"/>
                    <a:pt x="403" y="702"/>
                  </a:cubicBezTo>
                  <a:cubicBezTo>
                    <a:pt x="403" y="700"/>
                    <a:pt x="400" y="699"/>
                    <a:pt x="400" y="697"/>
                  </a:cubicBezTo>
                  <a:cubicBezTo>
                    <a:pt x="400" y="694"/>
                    <a:pt x="401" y="692"/>
                    <a:pt x="401" y="692"/>
                  </a:cubicBezTo>
                  <a:cubicBezTo>
                    <a:pt x="401" y="692"/>
                    <a:pt x="406" y="692"/>
                    <a:pt x="406" y="692"/>
                  </a:cubicBezTo>
                  <a:cubicBezTo>
                    <a:pt x="407" y="692"/>
                    <a:pt x="407" y="691"/>
                    <a:pt x="409" y="689"/>
                  </a:cubicBezTo>
                  <a:cubicBezTo>
                    <a:pt x="411" y="686"/>
                    <a:pt x="414" y="688"/>
                    <a:pt x="415" y="687"/>
                  </a:cubicBezTo>
                  <a:cubicBezTo>
                    <a:pt x="417" y="686"/>
                    <a:pt x="419" y="688"/>
                    <a:pt x="419" y="688"/>
                  </a:cubicBezTo>
                  <a:cubicBezTo>
                    <a:pt x="419" y="688"/>
                    <a:pt x="418" y="690"/>
                    <a:pt x="418" y="692"/>
                  </a:cubicBezTo>
                  <a:cubicBezTo>
                    <a:pt x="418" y="693"/>
                    <a:pt x="418" y="693"/>
                    <a:pt x="418" y="694"/>
                  </a:cubicBezTo>
                  <a:cubicBezTo>
                    <a:pt x="418" y="695"/>
                    <a:pt x="419" y="696"/>
                    <a:pt x="420" y="696"/>
                  </a:cubicBezTo>
                  <a:cubicBezTo>
                    <a:pt x="420" y="697"/>
                    <a:pt x="422" y="700"/>
                    <a:pt x="422" y="700"/>
                  </a:cubicBezTo>
                  <a:cubicBezTo>
                    <a:pt x="422" y="700"/>
                    <a:pt x="423" y="701"/>
                    <a:pt x="423" y="702"/>
                  </a:cubicBezTo>
                  <a:cubicBezTo>
                    <a:pt x="423" y="702"/>
                    <a:pt x="425" y="700"/>
                    <a:pt x="425" y="700"/>
                  </a:cubicBezTo>
                  <a:cubicBezTo>
                    <a:pt x="425" y="699"/>
                    <a:pt x="428" y="698"/>
                    <a:pt x="431" y="697"/>
                  </a:cubicBezTo>
                  <a:cubicBezTo>
                    <a:pt x="432" y="697"/>
                    <a:pt x="434" y="699"/>
                    <a:pt x="434" y="699"/>
                  </a:cubicBezTo>
                  <a:cubicBezTo>
                    <a:pt x="434" y="699"/>
                    <a:pt x="434" y="699"/>
                    <a:pt x="434" y="699"/>
                  </a:cubicBezTo>
                  <a:cubicBezTo>
                    <a:pt x="435" y="700"/>
                    <a:pt x="434" y="703"/>
                    <a:pt x="434" y="703"/>
                  </a:cubicBezTo>
                  <a:cubicBezTo>
                    <a:pt x="434" y="704"/>
                    <a:pt x="436" y="705"/>
                    <a:pt x="437" y="705"/>
                  </a:cubicBezTo>
                  <a:cubicBezTo>
                    <a:pt x="438" y="705"/>
                    <a:pt x="440" y="707"/>
                    <a:pt x="441" y="708"/>
                  </a:cubicBezTo>
                  <a:cubicBezTo>
                    <a:pt x="442" y="709"/>
                    <a:pt x="442" y="710"/>
                    <a:pt x="441" y="711"/>
                  </a:cubicBezTo>
                  <a:cubicBezTo>
                    <a:pt x="441" y="712"/>
                    <a:pt x="441" y="712"/>
                    <a:pt x="441" y="714"/>
                  </a:cubicBezTo>
                  <a:cubicBezTo>
                    <a:pt x="442" y="716"/>
                    <a:pt x="442" y="715"/>
                    <a:pt x="443" y="717"/>
                  </a:cubicBezTo>
                  <a:cubicBezTo>
                    <a:pt x="444" y="718"/>
                    <a:pt x="445" y="719"/>
                    <a:pt x="445" y="719"/>
                  </a:cubicBezTo>
                  <a:cubicBezTo>
                    <a:pt x="446" y="719"/>
                    <a:pt x="447" y="720"/>
                    <a:pt x="449" y="722"/>
                  </a:cubicBezTo>
                  <a:cubicBezTo>
                    <a:pt x="451" y="724"/>
                    <a:pt x="452" y="723"/>
                    <a:pt x="452" y="723"/>
                  </a:cubicBezTo>
                  <a:cubicBezTo>
                    <a:pt x="452" y="723"/>
                    <a:pt x="455" y="724"/>
                    <a:pt x="457" y="723"/>
                  </a:cubicBezTo>
                  <a:cubicBezTo>
                    <a:pt x="459" y="723"/>
                    <a:pt x="459" y="725"/>
                    <a:pt x="460" y="725"/>
                  </a:cubicBezTo>
                  <a:cubicBezTo>
                    <a:pt x="461" y="725"/>
                    <a:pt x="461" y="727"/>
                    <a:pt x="462" y="728"/>
                  </a:cubicBezTo>
                  <a:cubicBezTo>
                    <a:pt x="462" y="729"/>
                    <a:pt x="463" y="729"/>
                    <a:pt x="464" y="730"/>
                  </a:cubicBezTo>
                  <a:cubicBezTo>
                    <a:pt x="464" y="731"/>
                    <a:pt x="465" y="732"/>
                    <a:pt x="466" y="731"/>
                  </a:cubicBezTo>
                  <a:cubicBezTo>
                    <a:pt x="467" y="731"/>
                    <a:pt x="469" y="733"/>
                    <a:pt x="471" y="733"/>
                  </a:cubicBezTo>
                  <a:cubicBezTo>
                    <a:pt x="474" y="733"/>
                    <a:pt x="474" y="734"/>
                    <a:pt x="474" y="735"/>
                  </a:cubicBezTo>
                  <a:cubicBezTo>
                    <a:pt x="475" y="735"/>
                    <a:pt x="478" y="737"/>
                    <a:pt x="478" y="737"/>
                  </a:cubicBezTo>
                  <a:cubicBezTo>
                    <a:pt x="478" y="737"/>
                    <a:pt x="481" y="740"/>
                    <a:pt x="483" y="741"/>
                  </a:cubicBezTo>
                  <a:cubicBezTo>
                    <a:pt x="483" y="742"/>
                    <a:pt x="483" y="742"/>
                    <a:pt x="483" y="742"/>
                  </a:cubicBezTo>
                  <a:cubicBezTo>
                    <a:pt x="484" y="742"/>
                    <a:pt x="483" y="741"/>
                    <a:pt x="484" y="741"/>
                  </a:cubicBezTo>
                  <a:cubicBezTo>
                    <a:pt x="486" y="741"/>
                    <a:pt x="487" y="743"/>
                    <a:pt x="489" y="745"/>
                  </a:cubicBezTo>
                  <a:cubicBezTo>
                    <a:pt x="492" y="747"/>
                    <a:pt x="490" y="747"/>
                    <a:pt x="491" y="748"/>
                  </a:cubicBezTo>
                  <a:cubicBezTo>
                    <a:pt x="492" y="749"/>
                    <a:pt x="493" y="750"/>
                    <a:pt x="493" y="750"/>
                  </a:cubicBezTo>
                  <a:cubicBezTo>
                    <a:pt x="493" y="750"/>
                    <a:pt x="494" y="751"/>
                    <a:pt x="496" y="754"/>
                  </a:cubicBezTo>
                  <a:cubicBezTo>
                    <a:pt x="497" y="755"/>
                    <a:pt x="497" y="755"/>
                    <a:pt x="497" y="755"/>
                  </a:cubicBezTo>
                  <a:cubicBezTo>
                    <a:pt x="499" y="759"/>
                    <a:pt x="497" y="757"/>
                    <a:pt x="497" y="758"/>
                  </a:cubicBezTo>
                  <a:cubicBezTo>
                    <a:pt x="497" y="759"/>
                    <a:pt x="497" y="760"/>
                    <a:pt x="497" y="762"/>
                  </a:cubicBezTo>
                  <a:cubicBezTo>
                    <a:pt x="497" y="763"/>
                    <a:pt x="496" y="766"/>
                    <a:pt x="496" y="767"/>
                  </a:cubicBezTo>
                  <a:cubicBezTo>
                    <a:pt x="496" y="768"/>
                    <a:pt x="496" y="771"/>
                    <a:pt x="496" y="772"/>
                  </a:cubicBezTo>
                  <a:cubicBezTo>
                    <a:pt x="496" y="774"/>
                    <a:pt x="496" y="777"/>
                    <a:pt x="496" y="777"/>
                  </a:cubicBezTo>
                  <a:cubicBezTo>
                    <a:pt x="496" y="777"/>
                    <a:pt x="498" y="779"/>
                    <a:pt x="499" y="779"/>
                  </a:cubicBezTo>
                  <a:cubicBezTo>
                    <a:pt x="500" y="780"/>
                    <a:pt x="501" y="782"/>
                    <a:pt x="501" y="782"/>
                  </a:cubicBezTo>
                  <a:cubicBezTo>
                    <a:pt x="501" y="786"/>
                    <a:pt x="501" y="786"/>
                    <a:pt x="501" y="786"/>
                  </a:cubicBezTo>
                  <a:cubicBezTo>
                    <a:pt x="501" y="786"/>
                    <a:pt x="500" y="788"/>
                    <a:pt x="501" y="788"/>
                  </a:cubicBezTo>
                  <a:cubicBezTo>
                    <a:pt x="501" y="789"/>
                    <a:pt x="503" y="789"/>
                    <a:pt x="503" y="789"/>
                  </a:cubicBezTo>
                  <a:cubicBezTo>
                    <a:pt x="503" y="789"/>
                    <a:pt x="505" y="789"/>
                    <a:pt x="506" y="789"/>
                  </a:cubicBezTo>
                  <a:cubicBezTo>
                    <a:pt x="506" y="789"/>
                    <a:pt x="506" y="789"/>
                    <a:pt x="507" y="790"/>
                  </a:cubicBezTo>
                  <a:cubicBezTo>
                    <a:pt x="507" y="790"/>
                    <a:pt x="508" y="791"/>
                    <a:pt x="509" y="791"/>
                  </a:cubicBezTo>
                  <a:cubicBezTo>
                    <a:pt x="510" y="791"/>
                    <a:pt x="513" y="795"/>
                    <a:pt x="513" y="795"/>
                  </a:cubicBezTo>
                  <a:cubicBezTo>
                    <a:pt x="513" y="795"/>
                    <a:pt x="514" y="797"/>
                    <a:pt x="515" y="798"/>
                  </a:cubicBezTo>
                  <a:cubicBezTo>
                    <a:pt x="517" y="798"/>
                    <a:pt x="517" y="800"/>
                    <a:pt x="518" y="801"/>
                  </a:cubicBezTo>
                  <a:cubicBezTo>
                    <a:pt x="519" y="801"/>
                    <a:pt x="520" y="802"/>
                    <a:pt x="522" y="803"/>
                  </a:cubicBezTo>
                  <a:cubicBezTo>
                    <a:pt x="524" y="803"/>
                    <a:pt x="525" y="805"/>
                    <a:pt x="525" y="805"/>
                  </a:cubicBezTo>
                  <a:cubicBezTo>
                    <a:pt x="525" y="805"/>
                    <a:pt x="525" y="808"/>
                    <a:pt x="524" y="809"/>
                  </a:cubicBezTo>
                  <a:cubicBezTo>
                    <a:pt x="523" y="810"/>
                    <a:pt x="523" y="812"/>
                    <a:pt x="522" y="812"/>
                  </a:cubicBezTo>
                  <a:cubicBezTo>
                    <a:pt x="522" y="813"/>
                    <a:pt x="521" y="815"/>
                    <a:pt x="521" y="816"/>
                  </a:cubicBezTo>
                  <a:cubicBezTo>
                    <a:pt x="521" y="817"/>
                    <a:pt x="527" y="821"/>
                    <a:pt x="527" y="821"/>
                  </a:cubicBezTo>
                  <a:cubicBezTo>
                    <a:pt x="527" y="824"/>
                    <a:pt x="527" y="824"/>
                    <a:pt x="527" y="824"/>
                  </a:cubicBezTo>
                  <a:cubicBezTo>
                    <a:pt x="527" y="824"/>
                    <a:pt x="527" y="827"/>
                    <a:pt x="527" y="828"/>
                  </a:cubicBezTo>
                  <a:cubicBezTo>
                    <a:pt x="527" y="829"/>
                    <a:pt x="529" y="830"/>
                    <a:pt x="530" y="830"/>
                  </a:cubicBezTo>
                  <a:cubicBezTo>
                    <a:pt x="530" y="830"/>
                    <a:pt x="532" y="830"/>
                    <a:pt x="532" y="830"/>
                  </a:cubicBezTo>
                  <a:cubicBezTo>
                    <a:pt x="532" y="830"/>
                    <a:pt x="533" y="831"/>
                    <a:pt x="533" y="832"/>
                  </a:cubicBezTo>
                  <a:cubicBezTo>
                    <a:pt x="533" y="833"/>
                    <a:pt x="539" y="833"/>
                    <a:pt x="539" y="832"/>
                  </a:cubicBezTo>
                  <a:cubicBezTo>
                    <a:pt x="540" y="831"/>
                    <a:pt x="541" y="833"/>
                    <a:pt x="542" y="834"/>
                  </a:cubicBezTo>
                  <a:cubicBezTo>
                    <a:pt x="543" y="834"/>
                    <a:pt x="546" y="836"/>
                    <a:pt x="547" y="835"/>
                  </a:cubicBezTo>
                  <a:cubicBezTo>
                    <a:pt x="548" y="835"/>
                    <a:pt x="548" y="835"/>
                    <a:pt x="549" y="833"/>
                  </a:cubicBezTo>
                  <a:cubicBezTo>
                    <a:pt x="550" y="831"/>
                    <a:pt x="548" y="832"/>
                    <a:pt x="547" y="830"/>
                  </a:cubicBezTo>
                  <a:cubicBezTo>
                    <a:pt x="545" y="828"/>
                    <a:pt x="545" y="828"/>
                    <a:pt x="545" y="827"/>
                  </a:cubicBezTo>
                  <a:cubicBezTo>
                    <a:pt x="544" y="826"/>
                    <a:pt x="541" y="821"/>
                    <a:pt x="542" y="821"/>
                  </a:cubicBezTo>
                  <a:cubicBezTo>
                    <a:pt x="543" y="820"/>
                    <a:pt x="545" y="824"/>
                    <a:pt x="545" y="824"/>
                  </a:cubicBezTo>
                  <a:cubicBezTo>
                    <a:pt x="545" y="824"/>
                    <a:pt x="553" y="822"/>
                    <a:pt x="554" y="821"/>
                  </a:cubicBezTo>
                  <a:cubicBezTo>
                    <a:pt x="555" y="820"/>
                    <a:pt x="552" y="821"/>
                    <a:pt x="550" y="819"/>
                  </a:cubicBezTo>
                  <a:cubicBezTo>
                    <a:pt x="549" y="818"/>
                    <a:pt x="548" y="818"/>
                    <a:pt x="546" y="816"/>
                  </a:cubicBezTo>
                  <a:cubicBezTo>
                    <a:pt x="544" y="814"/>
                    <a:pt x="543" y="814"/>
                    <a:pt x="541" y="813"/>
                  </a:cubicBezTo>
                  <a:cubicBezTo>
                    <a:pt x="539" y="811"/>
                    <a:pt x="541" y="812"/>
                    <a:pt x="541" y="810"/>
                  </a:cubicBezTo>
                  <a:cubicBezTo>
                    <a:pt x="542" y="809"/>
                    <a:pt x="543" y="810"/>
                    <a:pt x="544" y="808"/>
                  </a:cubicBezTo>
                  <a:cubicBezTo>
                    <a:pt x="545" y="806"/>
                    <a:pt x="547" y="809"/>
                    <a:pt x="547" y="809"/>
                  </a:cubicBezTo>
                  <a:cubicBezTo>
                    <a:pt x="551" y="813"/>
                    <a:pt x="551" y="813"/>
                    <a:pt x="551" y="813"/>
                  </a:cubicBezTo>
                  <a:cubicBezTo>
                    <a:pt x="557" y="816"/>
                    <a:pt x="557" y="816"/>
                    <a:pt x="557" y="816"/>
                  </a:cubicBezTo>
                  <a:cubicBezTo>
                    <a:pt x="557" y="816"/>
                    <a:pt x="559" y="816"/>
                    <a:pt x="560" y="815"/>
                  </a:cubicBezTo>
                  <a:cubicBezTo>
                    <a:pt x="560" y="815"/>
                    <a:pt x="559" y="813"/>
                    <a:pt x="558" y="812"/>
                  </a:cubicBezTo>
                  <a:cubicBezTo>
                    <a:pt x="558" y="811"/>
                    <a:pt x="556" y="809"/>
                    <a:pt x="555" y="807"/>
                  </a:cubicBezTo>
                  <a:cubicBezTo>
                    <a:pt x="554" y="806"/>
                    <a:pt x="557" y="807"/>
                    <a:pt x="558" y="807"/>
                  </a:cubicBezTo>
                  <a:cubicBezTo>
                    <a:pt x="559" y="808"/>
                    <a:pt x="559" y="808"/>
                    <a:pt x="560" y="808"/>
                  </a:cubicBezTo>
                  <a:cubicBezTo>
                    <a:pt x="560" y="808"/>
                    <a:pt x="561" y="808"/>
                    <a:pt x="561" y="807"/>
                  </a:cubicBezTo>
                  <a:cubicBezTo>
                    <a:pt x="562" y="806"/>
                    <a:pt x="561" y="805"/>
                    <a:pt x="560" y="804"/>
                  </a:cubicBezTo>
                  <a:cubicBezTo>
                    <a:pt x="560" y="802"/>
                    <a:pt x="559" y="803"/>
                    <a:pt x="558" y="802"/>
                  </a:cubicBezTo>
                  <a:cubicBezTo>
                    <a:pt x="557" y="801"/>
                    <a:pt x="555" y="801"/>
                    <a:pt x="554" y="800"/>
                  </a:cubicBezTo>
                  <a:cubicBezTo>
                    <a:pt x="554" y="799"/>
                    <a:pt x="552" y="798"/>
                    <a:pt x="549" y="792"/>
                  </a:cubicBezTo>
                  <a:cubicBezTo>
                    <a:pt x="548" y="791"/>
                    <a:pt x="549" y="792"/>
                    <a:pt x="549" y="791"/>
                  </a:cubicBezTo>
                  <a:cubicBezTo>
                    <a:pt x="548" y="789"/>
                    <a:pt x="548" y="790"/>
                    <a:pt x="544" y="786"/>
                  </a:cubicBezTo>
                  <a:cubicBezTo>
                    <a:pt x="539" y="782"/>
                    <a:pt x="540" y="779"/>
                    <a:pt x="540" y="777"/>
                  </a:cubicBezTo>
                  <a:cubicBezTo>
                    <a:pt x="541" y="775"/>
                    <a:pt x="543" y="771"/>
                    <a:pt x="543" y="771"/>
                  </a:cubicBezTo>
                  <a:cubicBezTo>
                    <a:pt x="543" y="771"/>
                    <a:pt x="545" y="776"/>
                    <a:pt x="546" y="776"/>
                  </a:cubicBezTo>
                  <a:cubicBezTo>
                    <a:pt x="547" y="777"/>
                    <a:pt x="549" y="778"/>
                    <a:pt x="549" y="779"/>
                  </a:cubicBezTo>
                  <a:cubicBezTo>
                    <a:pt x="550" y="780"/>
                    <a:pt x="552" y="780"/>
                    <a:pt x="555" y="781"/>
                  </a:cubicBezTo>
                  <a:cubicBezTo>
                    <a:pt x="555" y="781"/>
                    <a:pt x="556" y="779"/>
                    <a:pt x="557" y="777"/>
                  </a:cubicBezTo>
                  <a:cubicBezTo>
                    <a:pt x="558" y="776"/>
                    <a:pt x="560" y="779"/>
                    <a:pt x="560" y="779"/>
                  </a:cubicBezTo>
                  <a:cubicBezTo>
                    <a:pt x="560" y="779"/>
                    <a:pt x="562" y="778"/>
                    <a:pt x="563" y="777"/>
                  </a:cubicBezTo>
                  <a:cubicBezTo>
                    <a:pt x="564" y="776"/>
                    <a:pt x="563" y="777"/>
                    <a:pt x="563" y="776"/>
                  </a:cubicBezTo>
                  <a:cubicBezTo>
                    <a:pt x="562" y="775"/>
                    <a:pt x="561" y="775"/>
                    <a:pt x="559" y="774"/>
                  </a:cubicBezTo>
                  <a:cubicBezTo>
                    <a:pt x="558" y="772"/>
                    <a:pt x="557" y="772"/>
                    <a:pt x="558" y="768"/>
                  </a:cubicBezTo>
                  <a:cubicBezTo>
                    <a:pt x="558" y="764"/>
                    <a:pt x="559" y="770"/>
                    <a:pt x="560" y="769"/>
                  </a:cubicBezTo>
                  <a:cubicBezTo>
                    <a:pt x="561" y="768"/>
                    <a:pt x="561" y="770"/>
                    <a:pt x="562" y="768"/>
                  </a:cubicBezTo>
                  <a:cubicBezTo>
                    <a:pt x="563" y="767"/>
                    <a:pt x="564" y="769"/>
                    <a:pt x="564" y="769"/>
                  </a:cubicBezTo>
                  <a:cubicBezTo>
                    <a:pt x="565" y="769"/>
                    <a:pt x="566" y="772"/>
                    <a:pt x="568" y="774"/>
                  </a:cubicBezTo>
                  <a:cubicBezTo>
                    <a:pt x="569" y="775"/>
                    <a:pt x="568" y="769"/>
                    <a:pt x="570" y="768"/>
                  </a:cubicBezTo>
                  <a:cubicBezTo>
                    <a:pt x="570" y="768"/>
                    <a:pt x="572" y="768"/>
                    <a:pt x="574" y="767"/>
                  </a:cubicBezTo>
                  <a:cubicBezTo>
                    <a:pt x="575" y="766"/>
                    <a:pt x="577" y="767"/>
                    <a:pt x="578" y="767"/>
                  </a:cubicBezTo>
                  <a:cubicBezTo>
                    <a:pt x="579" y="767"/>
                    <a:pt x="580" y="768"/>
                    <a:pt x="581" y="768"/>
                  </a:cubicBezTo>
                  <a:cubicBezTo>
                    <a:pt x="582" y="768"/>
                    <a:pt x="585" y="769"/>
                    <a:pt x="586" y="770"/>
                  </a:cubicBezTo>
                  <a:cubicBezTo>
                    <a:pt x="588" y="771"/>
                    <a:pt x="589" y="771"/>
                    <a:pt x="589" y="771"/>
                  </a:cubicBezTo>
                  <a:cubicBezTo>
                    <a:pt x="589" y="771"/>
                    <a:pt x="592" y="771"/>
                    <a:pt x="592" y="771"/>
                  </a:cubicBezTo>
                  <a:cubicBezTo>
                    <a:pt x="593" y="771"/>
                    <a:pt x="597" y="771"/>
                    <a:pt x="598" y="772"/>
                  </a:cubicBezTo>
                  <a:cubicBezTo>
                    <a:pt x="599" y="773"/>
                    <a:pt x="601" y="772"/>
                    <a:pt x="602" y="771"/>
                  </a:cubicBezTo>
                  <a:cubicBezTo>
                    <a:pt x="602" y="770"/>
                    <a:pt x="603" y="771"/>
                    <a:pt x="604" y="770"/>
                  </a:cubicBezTo>
                  <a:cubicBezTo>
                    <a:pt x="605" y="769"/>
                    <a:pt x="605" y="769"/>
                    <a:pt x="606" y="768"/>
                  </a:cubicBezTo>
                  <a:cubicBezTo>
                    <a:pt x="607" y="767"/>
                    <a:pt x="607" y="768"/>
                    <a:pt x="608" y="767"/>
                  </a:cubicBezTo>
                  <a:cubicBezTo>
                    <a:pt x="609" y="766"/>
                    <a:pt x="610" y="766"/>
                    <a:pt x="613" y="765"/>
                  </a:cubicBezTo>
                  <a:cubicBezTo>
                    <a:pt x="614" y="764"/>
                    <a:pt x="616" y="765"/>
                    <a:pt x="618" y="765"/>
                  </a:cubicBezTo>
                  <a:cubicBezTo>
                    <a:pt x="620" y="766"/>
                    <a:pt x="623" y="766"/>
                    <a:pt x="625" y="766"/>
                  </a:cubicBezTo>
                  <a:cubicBezTo>
                    <a:pt x="626" y="766"/>
                    <a:pt x="627" y="765"/>
                    <a:pt x="630" y="764"/>
                  </a:cubicBezTo>
                  <a:cubicBezTo>
                    <a:pt x="633" y="762"/>
                    <a:pt x="630" y="764"/>
                    <a:pt x="630" y="761"/>
                  </a:cubicBezTo>
                  <a:cubicBezTo>
                    <a:pt x="629" y="759"/>
                    <a:pt x="630" y="761"/>
                    <a:pt x="629" y="760"/>
                  </a:cubicBezTo>
                  <a:cubicBezTo>
                    <a:pt x="629" y="759"/>
                    <a:pt x="628" y="760"/>
                    <a:pt x="626" y="760"/>
                  </a:cubicBezTo>
                  <a:cubicBezTo>
                    <a:pt x="624" y="759"/>
                    <a:pt x="624" y="760"/>
                    <a:pt x="623" y="759"/>
                  </a:cubicBezTo>
                  <a:cubicBezTo>
                    <a:pt x="621" y="758"/>
                    <a:pt x="620" y="758"/>
                    <a:pt x="617" y="757"/>
                  </a:cubicBezTo>
                  <a:cubicBezTo>
                    <a:pt x="615" y="755"/>
                    <a:pt x="615" y="756"/>
                    <a:pt x="614" y="755"/>
                  </a:cubicBezTo>
                  <a:cubicBezTo>
                    <a:pt x="613" y="755"/>
                    <a:pt x="614" y="755"/>
                    <a:pt x="615" y="753"/>
                  </a:cubicBezTo>
                  <a:cubicBezTo>
                    <a:pt x="615" y="751"/>
                    <a:pt x="614" y="750"/>
                    <a:pt x="613" y="749"/>
                  </a:cubicBezTo>
                  <a:cubicBezTo>
                    <a:pt x="613" y="748"/>
                    <a:pt x="613" y="748"/>
                    <a:pt x="613" y="748"/>
                  </a:cubicBezTo>
                  <a:cubicBezTo>
                    <a:pt x="612" y="747"/>
                    <a:pt x="610" y="747"/>
                    <a:pt x="609" y="743"/>
                  </a:cubicBezTo>
                  <a:cubicBezTo>
                    <a:pt x="608" y="740"/>
                    <a:pt x="608" y="743"/>
                    <a:pt x="608" y="739"/>
                  </a:cubicBezTo>
                  <a:cubicBezTo>
                    <a:pt x="608" y="734"/>
                    <a:pt x="609" y="735"/>
                    <a:pt x="610" y="733"/>
                  </a:cubicBezTo>
                  <a:cubicBezTo>
                    <a:pt x="611" y="731"/>
                    <a:pt x="612" y="730"/>
                    <a:pt x="614" y="729"/>
                  </a:cubicBezTo>
                  <a:cubicBezTo>
                    <a:pt x="616" y="727"/>
                    <a:pt x="618" y="728"/>
                    <a:pt x="619" y="727"/>
                  </a:cubicBezTo>
                  <a:cubicBezTo>
                    <a:pt x="621" y="725"/>
                    <a:pt x="621" y="723"/>
                    <a:pt x="622" y="722"/>
                  </a:cubicBezTo>
                  <a:cubicBezTo>
                    <a:pt x="622" y="721"/>
                    <a:pt x="622" y="721"/>
                    <a:pt x="622" y="721"/>
                  </a:cubicBezTo>
                  <a:cubicBezTo>
                    <a:pt x="622" y="719"/>
                    <a:pt x="622" y="714"/>
                    <a:pt x="623" y="712"/>
                  </a:cubicBezTo>
                  <a:cubicBezTo>
                    <a:pt x="623" y="711"/>
                    <a:pt x="624" y="712"/>
                    <a:pt x="625" y="710"/>
                  </a:cubicBezTo>
                  <a:cubicBezTo>
                    <a:pt x="626" y="709"/>
                    <a:pt x="625" y="709"/>
                    <a:pt x="626" y="708"/>
                  </a:cubicBezTo>
                  <a:cubicBezTo>
                    <a:pt x="626" y="707"/>
                    <a:pt x="627" y="706"/>
                    <a:pt x="628" y="705"/>
                  </a:cubicBezTo>
                  <a:cubicBezTo>
                    <a:pt x="628" y="703"/>
                    <a:pt x="629" y="703"/>
                    <a:pt x="630" y="703"/>
                  </a:cubicBezTo>
                  <a:cubicBezTo>
                    <a:pt x="631" y="703"/>
                    <a:pt x="632" y="704"/>
                    <a:pt x="633" y="703"/>
                  </a:cubicBezTo>
                  <a:cubicBezTo>
                    <a:pt x="633" y="703"/>
                    <a:pt x="636" y="702"/>
                    <a:pt x="637" y="701"/>
                  </a:cubicBezTo>
                  <a:cubicBezTo>
                    <a:pt x="637" y="700"/>
                    <a:pt x="639" y="698"/>
                    <a:pt x="639" y="697"/>
                  </a:cubicBezTo>
                  <a:cubicBezTo>
                    <a:pt x="638" y="696"/>
                    <a:pt x="638" y="696"/>
                    <a:pt x="637" y="694"/>
                  </a:cubicBezTo>
                  <a:cubicBezTo>
                    <a:pt x="637" y="693"/>
                    <a:pt x="637" y="693"/>
                    <a:pt x="637" y="693"/>
                  </a:cubicBezTo>
                  <a:cubicBezTo>
                    <a:pt x="636" y="691"/>
                    <a:pt x="638" y="691"/>
                    <a:pt x="638" y="689"/>
                  </a:cubicBezTo>
                  <a:cubicBezTo>
                    <a:pt x="638" y="687"/>
                    <a:pt x="642" y="688"/>
                    <a:pt x="642" y="688"/>
                  </a:cubicBezTo>
                  <a:cubicBezTo>
                    <a:pt x="642" y="688"/>
                    <a:pt x="646" y="684"/>
                    <a:pt x="648" y="682"/>
                  </a:cubicBezTo>
                  <a:cubicBezTo>
                    <a:pt x="648" y="682"/>
                    <a:pt x="650" y="680"/>
                    <a:pt x="651" y="678"/>
                  </a:cubicBezTo>
                  <a:cubicBezTo>
                    <a:pt x="651" y="677"/>
                    <a:pt x="652" y="677"/>
                    <a:pt x="653" y="676"/>
                  </a:cubicBezTo>
                  <a:cubicBezTo>
                    <a:pt x="654" y="674"/>
                    <a:pt x="654" y="674"/>
                    <a:pt x="655" y="673"/>
                  </a:cubicBezTo>
                  <a:cubicBezTo>
                    <a:pt x="655" y="673"/>
                    <a:pt x="658" y="673"/>
                    <a:pt x="660" y="672"/>
                  </a:cubicBezTo>
                  <a:cubicBezTo>
                    <a:pt x="661" y="671"/>
                    <a:pt x="663" y="671"/>
                    <a:pt x="665" y="671"/>
                  </a:cubicBezTo>
                  <a:cubicBezTo>
                    <a:pt x="667" y="670"/>
                    <a:pt x="665" y="673"/>
                    <a:pt x="664" y="674"/>
                  </a:cubicBezTo>
                  <a:cubicBezTo>
                    <a:pt x="664" y="674"/>
                    <a:pt x="662" y="676"/>
                    <a:pt x="661" y="677"/>
                  </a:cubicBezTo>
                  <a:cubicBezTo>
                    <a:pt x="660" y="678"/>
                    <a:pt x="663" y="679"/>
                    <a:pt x="664" y="679"/>
                  </a:cubicBezTo>
                  <a:cubicBezTo>
                    <a:pt x="665" y="679"/>
                    <a:pt x="666" y="679"/>
                    <a:pt x="666" y="679"/>
                  </a:cubicBezTo>
                  <a:cubicBezTo>
                    <a:pt x="666" y="679"/>
                    <a:pt x="668" y="680"/>
                    <a:pt x="670" y="681"/>
                  </a:cubicBezTo>
                  <a:cubicBezTo>
                    <a:pt x="671" y="682"/>
                    <a:pt x="674" y="683"/>
                    <a:pt x="675" y="684"/>
                  </a:cubicBezTo>
                  <a:cubicBezTo>
                    <a:pt x="676" y="684"/>
                    <a:pt x="677" y="685"/>
                    <a:pt x="678" y="684"/>
                  </a:cubicBezTo>
                  <a:cubicBezTo>
                    <a:pt x="679" y="683"/>
                    <a:pt x="683" y="682"/>
                    <a:pt x="684" y="681"/>
                  </a:cubicBezTo>
                  <a:cubicBezTo>
                    <a:pt x="685" y="680"/>
                    <a:pt x="686" y="682"/>
                    <a:pt x="686" y="682"/>
                  </a:cubicBezTo>
                  <a:cubicBezTo>
                    <a:pt x="687" y="683"/>
                    <a:pt x="686" y="684"/>
                    <a:pt x="686" y="684"/>
                  </a:cubicBezTo>
                  <a:cubicBezTo>
                    <a:pt x="686" y="684"/>
                    <a:pt x="685" y="685"/>
                    <a:pt x="683" y="686"/>
                  </a:cubicBezTo>
                  <a:cubicBezTo>
                    <a:pt x="681" y="686"/>
                    <a:pt x="679" y="687"/>
                    <a:pt x="678" y="688"/>
                  </a:cubicBezTo>
                  <a:cubicBezTo>
                    <a:pt x="678" y="688"/>
                    <a:pt x="673" y="691"/>
                    <a:pt x="673" y="691"/>
                  </a:cubicBezTo>
                  <a:cubicBezTo>
                    <a:pt x="673" y="691"/>
                    <a:pt x="674" y="694"/>
                    <a:pt x="676" y="695"/>
                  </a:cubicBezTo>
                  <a:cubicBezTo>
                    <a:pt x="677" y="695"/>
                    <a:pt x="680" y="696"/>
                    <a:pt x="681" y="696"/>
                  </a:cubicBezTo>
                  <a:cubicBezTo>
                    <a:pt x="683" y="696"/>
                    <a:pt x="685" y="699"/>
                    <a:pt x="685" y="699"/>
                  </a:cubicBezTo>
                  <a:cubicBezTo>
                    <a:pt x="685" y="705"/>
                    <a:pt x="685" y="705"/>
                    <a:pt x="685" y="705"/>
                  </a:cubicBezTo>
                  <a:cubicBezTo>
                    <a:pt x="685" y="705"/>
                    <a:pt x="682" y="705"/>
                    <a:pt x="682" y="706"/>
                  </a:cubicBezTo>
                  <a:cubicBezTo>
                    <a:pt x="683" y="706"/>
                    <a:pt x="684" y="708"/>
                    <a:pt x="685" y="708"/>
                  </a:cubicBezTo>
                  <a:cubicBezTo>
                    <a:pt x="686" y="708"/>
                    <a:pt x="687" y="711"/>
                    <a:pt x="690" y="710"/>
                  </a:cubicBezTo>
                  <a:cubicBezTo>
                    <a:pt x="694" y="709"/>
                    <a:pt x="694" y="710"/>
                    <a:pt x="694" y="709"/>
                  </a:cubicBezTo>
                  <a:cubicBezTo>
                    <a:pt x="695" y="707"/>
                    <a:pt x="696" y="708"/>
                    <a:pt x="698" y="706"/>
                  </a:cubicBezTo>
                  <a:cubicBezTo>
                    <a:pt x="700" y="704"/>
                    <a:pt x="699" y="705"/>
                    <a:pt x="700" y="704"/>
                  </a:cubicBezTo>
                  <a:cubicBezTo>
                    <a:pt x="701" y="703"/>
                    <a:pt x="704" y="705"/>
                    <a:pt x="704" y="705"/>
                  </a:cubicBezTo>
                  <a:cubicBezTo>
                    <a:pt x="704" y="704"/>
                    <a:pt x="706" y="703"/>
                    <a:pt x="707" y="702"/>
                  </a:cubicBezTo>
                  <a:cubicBezTo>
                    <a:pt x="708" y="702"/>
                    <a:pt x="709" y="700"/>
                    <a:pt x="710" y="698"/>
                  </a:cubicBezTo>
                  <a:cubicBezTo>
                    <a:pt x="712" y="697"/>
                    <a:pt x="712" y="698"/>
                    <a:pt x="713" y="699"/>
                  </a:cubicBezTo>
                  <a:cubicBezTo>
                    <a:pt x="715" y="700"/>
                    <a:pt x="717" y="701"/>
                    <a:pt x="718" y="700"/>
                  </a:cubicBezTo>
                  <a:cubicBezTo>
                    <a:pt x="720" y="699"/>
                    <a:pt x="722" y="699"/>
                    <a:pt x="724" y="699"/>
                  </a:cubicBezTo>
                  <a:cubicBezTo>
                    <a:pt x="726" y="699"/>
                    <a:pt x="728" y="698"/>
                    <a:pt x="729" y="697"/>
                  </a:cubicBezTo>
                  <a:cubicBezTo>
                    <a:pt x="730" y="696"/>
                    <a:pt x="728" y="696"/>
                    <a:pt x="728" y="695"/>
                  </a:cubicBezTo>
                  <a:cubicBezTo>
                    <a:pt x="728" y="694"/>
                    <a:pt x="726" y="694"/>
                    <a:pt x="726" y="693"/>
                  </a:cubicBezTo>
                  <a:cubicBezTo>
                    <a:pt x="725" y="692"/>
                    <a:pt x="725" y="692"/>
                    <a:pt x="723" y="692"/>
                  </a:cubicBezTo>
                  <a:cubicBezTo>
                    <a:pt x="722" y="692"/>
                    <a:pt x="721" y="693"/>
                    <a:pt x="719" y="694"/>
                  </a:cubicBezTo>
                  <a:cubicBezTo>
                    <a:pt x="717" y="695"/>
                    <a:pt x="718" y="693"/>
                    <a:pt x="716" y="693"/>
                  </a:cubicBezTo>
                  <a:cubicBezTo>
                    <a:pt x="715" y="692"/>
                    <a:pt x="715" y="693"/>
                    <a:pt x="714" y="692"/>
                  </a:cubicBezTo>
                  <a:cubicBezTo>
                    <a:pt x="714" y="691"/>
                    <a:pt x="710" y="692"/>
                    <a:pt x="708" y="692"/>
                  </a:cubicBezTo>
                  <a:cubicBezTo>
                    <a:pt x="706" y="692"/>
                    <a:pt x="705" y="690"/>
                    <a:pt x="705" y="689"/>
                  </a:cubicBezTo>
                  <a:cubicBezTo>
                    <a:pt x="705" y="688"/>
                    <a:pt x="702" y="685"/>
                    <a:pt x="702" y="685"/>
                  </a:cubicBezTo>
                  <a:cubicBezTo>
                    <a:pt x="702" y="685"/>
                    <a:pt x="701" y="681"/>
                    <a:pt x="702" y="682"/>
                  </a:cubicBezTo>
                  <a:cubicBezTo>
                    <a:pt x="703" y="682"/>
                    <a:pt x="708" y="680"/>
                    <a:pt x="709" y="680"/>
                  </a:cubicBezTo>
                  <a:cubicBezTo>
                    <a:pt x="709" y="679"/>
                    <a:pt x="716" y="674"/>
                    <a:pt x="718" y="673"/>
                  </a:cubicBezTo>
                  <a:cubicBezTo>
                    <a:pt x="719" y="672"/>
                    <a:pt x="720" y="673"/>
                    <a:pt x="721" y="673"/>
                  </a:cubicBezTo>
                  <a:cubicBezTo>
                    <a:pt x="722" y="672"/>
                    <a:pt x="728" y="671"/>
                    <a:pt x="729" y="670"/>
                  </a:cubicBezTo>
                  <a:cubicBezTo>
                    <a:pt x="729" y="669"/>
                    <a:pt x="729" y="670"/>
                    <a:pt x="731" y="670"/>
                  </a:cubicBezTo>
                  <a:cubicBezTo>
                    <a:pt x="732" y="670"/>
                    <a:pt x="738" y="666"/>
                    <a:pt x="738" y="666"/>
                  </a:cubicBezTo>
                  <a:cubicBezTo>
                    <a:pt x="738" y="666"/>
                    <a:pt x="740" y="666"/>
                    <a:pt x="742" y="664"/>
                  </a:cubicBezTo>
                  <a:cubicBezTo>
                    <a:pt x="743" y="663"/>
                    <a:pt x="745" y="665"/>
                    <a:pt x="745" y="665"/>
                  </a:cubicBezTo>
                  <a:cubicBezTo>
                    <a:pt x="745" y="665"/>
                    <a:pt x="746" y="665"/>
                    <a:pt x="747" y="665"/>
                  </a:cubicBezTo>
                  <a:cubicBezTo>
                    <a:pt x="748" y="664"/>
                    <a:pt x="748" y="664"/>
                    <a:pt x="748" y="664"/>
                  </a:cubicBezTo>
                  <a:cubicBezTo>
                    <a:pt x="749" y="664"/>
                    <a:pt x="750" y="665"/>
                    <a:pt x="752" y="664"/>
                  </a:cubicBezTo>
                  <a:cubicBezTo>
                    <a:pt x="753" y="663"/>
                    <a:pt x="758" y="663"/>
                    <a:pt x="759" y="662"/>
                  </a:cubicBezTo>
                  <a:cubicBezTo>
                    <a:pt x="761" y="661"/>
                    <a:pt x="760" y="664"/>
                    <a:pt x="761" y="664"/>
                  </a:cubicBezTo>
                  <a:cubicBezTo>
                    <a:pt x="761" y="664"/>
                    <a:pt x="761" y="665"/>
                    <a:pt x="760" y="666"/>
                  </a:cubicBezTo>
                  <a:cubicBezTo>
                    <a:pt x="759" y="666"/>
                    <a:pt x="755" y="668"/>
                    <a:pt x="754" y="668"/>
                  </a:cubicBezTo>
                  <a:cubicBezTo>
                    <a:pt x="754" y="668"/>
                    <a:pt x="748" y="671"/>
                    <a:pt x="747" y="671"/>
                  </a:cubicBezTo>
                  <a:cubicBezTo>
                    <a:pt x="746" y="671"/>
                    <a:pt x="745" y="673"/>
                    <a:pt x="745" y="673"/>
                  </a:cubicBezTo>
                  <a:cubicBezTo>
                    <a:pt x="750" y="679"/>
                    <a:pt x="750" y="679"/>
                    <a:pt x="750" y="679"/>
                  </a:cubicBezTo>
                  <a:cubicBezTo>
                    <a:pt x="750" y="679"/>
                    <a:pt x="750" y="680"/>
                    <a:pt x="749" y="681"/>
                  </a:cubicBezTo>
                  <a:cubicBezTo>
                    <a:pt x="748" y="682"/>
                    <a:pt x="748" y="683"/>
                    <a:pt x="746" y="684"/>
                  </a:cubicBezTo>
                  <a:cubicBezTo>
                    <a:pt x="745" y="685"/>
                    <a:pt x="745" y="686"/>
                    <a:pt x="745" y="686"/>
                  </a:cubicBezTo>
                  <a:cubicBezTo>
                    <a:pt x="744" y="687"/>
                    <a:pt x="743" y="689"/>
                    <a:pt x="742" y="690"/>
                  </a:cubicBezTo>
                  <a:cubicBezTo>
                    <a:pt x="740" y="692"/>
                    <a:pt x="740" y="692"/>
                    <a:pt x="739" y="692"/>
                  </a:cubicBezTo>
                  <a:cubicBezTo>
                    <a:pt x="737" y="692"/>
                    <a:pt x="737" y="693"/>
                    <a:pt x="734" y="693"/>
                  </a:cubicBezTo>
                  <a:cubicBezTo>
                    <a:pt x="732" y="692"/>
                    <a:pt x="732" y="694"/>
                    <a:pt x="733" y="698"/>
                  </a:cubicBezTo>
                  <a:cubicBezTo>
                    <a:pt x="733" y="699"/>
                    <a:pt x="735" y="700"/>
                    <a:pt x="738" y="702"/>
                  </a:cubicBezTo>
                  <a:cubicBezTo>
                    <a:pt x="738" y="702"/>
                    <a:pt x="740" y="704"/>
                    <a:pt x="741" y="705"/>
                  </a:cubicBezTo>
                  <a:cubicBezTo>
                    <a:pt x="742" y="706"/>
                    <a:pt x="745" y="707"/>
                    <a:pt x="747" y="706"/>
                  </a:cubicBezTo>
                  <a:cubicBezTo>
                    <a:pt x="748" y="706"/>
                    <a:pt x="750" y="708"/>
                    <a:pt x="750" y="708"/>
                  </a:cubicBezTo>
                  <a:cubicBezTo>
                    <a:pt x="750" y="708"/>
                    <a:pt x="753" y="710"/>
                    <a:pt x="754" y="710"/>
                  </a:cubicBezTo>
                  <a:cubicBezTo>
                    <a:pt x="755" y="710"/>
                    <a:pt x="756" y="712"/>
                    <a:pt x="757" y="712"/>
                  </a:cubicBezTo>
                  <a:cubicBezTo>
                    <a:pt x="757" y="713"/>
                    <a:pt x="760" y="715"/>
                    <a:pt x="762" y="715"/>
                  </a:cubicBezTo>
                  <a:cubicBezTo>
                    <a:pt x="764" y="716"/>
                    <a:pt x="766" y="719"/>
                    <a:pt x="766" y="720"/>
                  </a:cubicBezTo>
                  <a:cubicBezTo>
                    <a:pt x="766" y="720"/>
                    <a:pt x="768" y="723"/>
                    <a:pt x="770" y="725"/>
                  </a:cubicBezTo>
                  <a:cubicBezTo>
                    <a:pt x="770" y="726"/>
                    <a:pt x="771" y="726"/>
                    <a:pt x="771" y="727"/>
                  </a:cubicBezTo>
                  <a:cubicBezTo>
                    <a:pt x="773" y="728"/>
                    <a:pt x="774" y="728"/>
                    <a:pt x="775" y="728"/>
                  </a:cubicBezTo>
                  <a:cubicBezTo>
                    <a:pt x="776" y="728"/>
                    <a:pt x="777" y="730"/>
                    <a:pt x="778" y="731"/>
                  </a:cubicBezTo>
                  <a:cubicBezTo>
                    <a:pt x="779" y="731"/>
                    <a:pt x="780" y="731"/>
                    <a:pt x="783" y="731"/>
                  </a:cubicBezTo>
                  <a:cubicBezTo>
                    <a:pt x="785" y="731"/>
                    <a:pt x="784" y="733"/>
                    <a:pt x="784" y="733"/>
                  </a:cubicBezTo>
                  <a:cubicBezTo>
                    <a:pt x="784" y="733"/>
                    <a:pt x="787" y="734"/>
                    <a:pt x="787" y="735"/>
                  </a:cubicBezTo>
                  <a:cubicBezTo>
                    <a:pt x="788" y="735"/>
                    <a:pt x="790" y="737"/>
                    <a:pt x="791" y="737"/>
                  </a:cubicBezTo>
                  <a:cubicBezTo>
                    <a:pt x="791" y="737"/>
                    <a:pt x="791" y="739"/>
                    <a:pt x="792" y="740"/>
                  </a:cubicBezTo>
                  <a:cubicBezTo>
                    <a:pt x="792" y="741"/>
                    <a:pt x="792" y="742"/>
                    <a:pt x="792" y="742"/>
                  </a:cubicBezTo>
                  <a:cubicBezTo>
                    <a:pt x="793" y="744"/>
                    <a:pt x="793" y="744"/>
                    <a:pt x="793" y="744"/>
                  </a:cubicBezTo>
                  <a:cubicBezTo>
                    <a:pt x="793" y="744"/>
                    <a:pt x="794" y="745"/>
                    <a:pt x="794" y="746"/>
                  </a:cubicBezTo>
                  <a:cubicBezTo>
                    <a:pt x="795" y="747"/>
                    <a:pt x="796" y="748"/>
                    <a:pt x="797" y="749"/>
                  </a:cubicBezTo>
                  <a:cubicBezTo>
                    <a:pt x="797" y="751"/>
                    <a:pt x="797" y="751"/>
                    <a:pt x="797" y="751"/>
                  </a:cubicBezTo>
                  <a:cubicBezTo>
                    <a:pt x="797" y="751"/>
                    <a:pt x="796" y="753"/>
                    <a:pt x="795" y="754"/>
                  </a:cubicBezTo>
                  <a:cubicBezTo>
                    <a:pt x="795" y="754"/>
                    <a:pt x="795" y="755"/>
                    <a:pt x="794" y="755"/>
                  </a:cubicBezTo>
                  <a:cubicBezTo>
                    <a:pt x="794" y="756"/>
                    <a:pt x="793" y="756"/>
                    <a:pt x="793" y="756"/>
                  </a:cubicBezTo>
                  <a:cubicBezTo>
                    <a:pt x="792" y="757"/>
                    <a:pt x="791" y="757"/>
                    <a:pt x="791" y="758"/>
                  </a:cubicBezTo>
                  <a:cubicBezTo>
                    <a:pt x="790" y="758"/>
                    <a:pt x="787" y="760"/>
                    <a:pt x="785" y="761"/>
                  </a:cubicBezTo>
                  <a:cubicBezTo>
                    <a:pt x="784" y="761"/>
                    <a:pt x="782" y="763"/>
                    <a:pt x="781" y="764"/>
                  </a:cubicBezTo>
                  <a:cubicBezTo>
                    <a:pt x="779" y="764"/>
                    <a:pt x="778" y="765"/>
                    <a:pt x="777" y="764"/>
                  </a:cubicBezTo>
                  <a:cubicBezTo>
                    <a:pt x="776" y="763"/>
                    <a:pt x="775" y="765"/>
                    <a:pt x="773" y="764"/>
                  </a:cubicBezTo>
                  <a:cubicBezTo>
                    <a:pt x="771" y="762"/>
                    <a:pt x="770" y="762"/>
                    <a:pt x="769" y="762"/>
                  </a:cubicBezTo>
                  <a:cubicBezTo>
                    <a:pt x="768" y="762"/>
                    <a:pt x="767" y="764"/>
                    <a:pt x="766" y="764"/>
                  </a:cubicBezTo>
                  <a:cubicBezTo>
                    <a:pt x="764" y="765"/>
                    <a:pt x="764" y="765"/>
                    <a:pt x="761" y="764"/>
                  </a:cubicBezTo>
                  <a:cubicBezTo>
                    <a:pt x="759" y="764"/>
                    <a:pt x="759" y="764"/>
                    <a:pt x="757" y="764"/>
                  </a:cubicBezTo>
                  <a:cubicBezTo>
                    <a:pt x="754" y="764"/>
                    <a:pt x="755" y="765"/>
                    <a:pt x="753" y="765"/>
                  </a:cubicBezTo>
                  <a:cubicBezTo>
                    <a:pt x="751" y="766"/>
                    <a:pt x="751" y="765"/>
                    <a:pt x="751" y="765"/>
                  </a:cubicBezTo>
                  <a:cubicBezTo>
                    <a:pt x="751" y="765"/>
                    <a:pt x="736" y="764"/>
                    <a:pt x="734" y="762"/>
                  </a:cubicBezTo>
                  <a:cubicBezTo>
                    <a:pt x="732" y="761"/>
                    <a:pt x="728" y="761"/>
                    <a:pt x="728" y="761"/>
                  </a:cubicBezTo>
                  <a:cubicBezTo>
                    <a:pt x="728" y="761"/>
                    <a:pt x="726" y="759"/>
                    <a:pt x="726" y="758"/>
                  </a:cubicBezTo>
                  <a:cubicBezTo>
                    <a:pt x="726" y="756"/>
                    <a:pt x="724" y="757"/>
                    <a:pt x="723" y="756"/>
                  </a:cubicBezTo>
                  <a:cubicBezTo>
                    <a:pt x="723" y="755"/>
                    <a:pt x="721" y="755"/>
                    <a:pt x="720" y="755"/>
                  </a:cubicBezTo>
                  <a:cubicBezTo>
                    <a:pt x="719" y="755"/>
                    <a:pt x="716" y="755"/>
                    <a:pt x="716" y="754"/>
                  </a:cubicBezTo>
                  <a:cubicBezTo>
                    <a:pt x="715" y="753"/>
                    <a:pt x="712" y="753"/>
                    <a:pt x="711" y="752"/>
                  </a:cubicBezTo>
                  <a:cubicBezTo>
                    <a:pt x="711" y="751"/>
                    <a:pt x="711" y="750"/>
                    <a:pt x="711" y="750"/>
                  </a:cubicBezTo>
                  <a:cubicBezTo>
                    <a:pt x="711" y="749"/>
                    <a:pt x="704" y="750"/>
                    <a:pt x="704" y="750"/>
                  </a:cubicBezTo>
                  <a:cubicBezTo>
                    <a:pt x="704" y="750"/>
                    <a:pt x="701" y="751"/>
                    <a:pt x="699" y="750"/>
                  </a:cubicBezTo>
                  <a:cubicBezTo>
                    <a:pt x="697" y="748"/>
                    <a:pt x="695" y="750"/>
                    <a:pt x="694" y="749"/>
                  </a:cubicBezTo>
                  <a:cubicBezTo>
                    <a:pt x="693" y="748"/>
                    <a:pt x="689" y="749"/>
                    <a:pt x="688" y="748"/>
                  </a:cubicBezTo>
                  <a:cubicBezTo>
                    <a:pt x="687" y="747"/>
                    <a:pt x="684" y="749"/>
                    <a:pt x="684" y="749"/>
                  </a:cubicBezTo>
                  <a:cubicBezTo>
                    <a:pt x="678" y="750"/>
                    <a:pt x="678" y="750"/>
                    <a:pt x="678" y="750"/>
                  </a:cubicBezTo>
                  <a:cubicBezTo>
                    <a:pt x="678" y="750"/>
                    <a:pt x="663" y="759"/>
                    <a:pt x="662" y="760"/>
                  </a:cubicBezTo>
                  <a:cubicBezTo>
                    <a:pt x="661" y="761"/>
                    <a:pt x="657" y="763"/>
                    <a:pt x="656" y="763"/>
                  </a:cubicBezTo>
                  <a:cubicBezTo>
                    <a:pt x="656" y="763"/>
                    <a:pt x="654" y="764"/>
                    <a:pt x="653" y="763"/>
                  </a:cubicBezTo>
                  <a:cubicBezTo>
                    <a:pt x="652" y="763"/>
                    <a:pt x="651" y="764"/>
                    <a:pt x="651" y="764"/>
                  </a:cubicBezTo>
                  <a:cubicBezTo>
                    <a:pt x="651" y="764"/>
                    <a:pt x="647" y="764"/>
                    <a:pt x="646" y="763"/>
                  </a:cubicBezTo>
                  <a:cubicBezTo>
                    <a:pt x="644" y="761"/>
                    <a:pt x="643" y="763"/>
                    <a:pt x="638" y="764"/>
                  </a:cubicBezTo>
                  <a:cubicBezTo>
                    <a:pt x="634" y="765"/>
                    <a:pt x="636" y="765"/>
                    <a:pt x="636" y="765"/>
                  </a:cubicBezTo>
                  <a:cubicBezTo>
                    <a:pt x="635" y="766"/>
                    <a:pt x="633" y="767"/>
                    <a:pt x="630" y="767"/>
                  </a:cubicBezTo>
                  <a:cubicBezTo>
                    <a:pt x="630" y="767"/>
                    <a:pt x="627" y="769"/>
                    <a:pt x="626" y="769"/>
                  </a:cubicBezTo>
                  <a:cubicBezTo>
                    <a:pt x="625" y="770"/>
                    <a:pt x="626" y="771"/>
                    <a:pt x="625" y="771"/>
                  </a:cubicBezTo>
                  <a:cubicBezTo>
                    <a:pt x="625" y="772"/>
                    <a:pt x="623" y="773"/>
                    <a:pt x="623" y="773"/>
                  </a:cubicBezTo>
                  <a:cubicBezTo>
                    <a:pt x="621" y="774"/>
                    <a:pt x="621" y="774"/>
                    <a:pt x="621" y="774"/>
                  </a:cubicBezTo>
                  <a:cubicBezTo>
                    <a:pt x="621" y="774"/>
                    <a:pt x="618" y="776"/>
                    <a:pt x="617" y="776"/>
                  </a:cubicBezTo>
                  <a:cubicBezTo>
                    <a:pt x="616" y="776"/>
                    <a:pt x="607" y="775"/>
                    <a:pt x="603" y="774"/>
                  </a:cubicBezTo>
                  <a:cubicBezTo>
                    <a:pt x="598" y="773"/>
                    <a:pt x="598" y="774"/>
                    <a:pt x="597" y="773"/>
                  </a:cubicBezTo>
                  <a:cubicBezTo>
                    <a:pt x="595" y="773"/>
                    <a:pt x="595" y="774"/>
                    <a:pt x="594" y="775"/>
                  </a:cubicBezTo>
                  <a:cubicBezTo>
                    <a:pt x="592" y="776"/>
                    <a:pt x="593" y="777"/>
                    <a:pt x="592" y="778"/>
                  </a:cubicBezTo>
                  <a:cubicBezTo>
                    <a:pt x="591" y="779"/>
                    <a:pt x="590" y="780"/>
                    <a:pt x="588" y="781"/>
                  </a:cubicBezTo>
                  <a:cubicBezTo>
                    <a:pt x="587" y="783"/>
                    <a:pt x="588" y="785"/>
                    <a:pt x="589" y="788"/>
                  </a:cubicBezTo>
                  <a:cubicBezTo>
                    <a:pt x="589" y="790"/>
                    <a:pt x="592" y="787"/>
                    <a:pt x="592" y="787"/>
                  </a:cubicBezTo>
                  <a:cubicBezTo>
                    <a:pt x="593" y="787"/>
                    <a:pt x="597" y="789"/>
                    <a:pt x="597" y="790"/>
                  </a:cubicBezTo>
                  <a:cubicBezTo>
                    <a:pt x="596" y="791"/>
                    <a:pt x="594" y="793"/>
                    <a:pt x="598" y="797"/>
                  </a:cubicBezTo>
                  <a:cubicBezTo>
                    <a:pt x="601" y="802"/>
                    <a:pt x="598" y="799"/>
                    <a:pt x="600" y="802"/>
                  </a:cubicBezTo>
                  <a:cubicBezTo>
                    <a:pt x="600" y="802"/>
                    <a:pt x="601" y="804"/>
                    <a:pt x="601" y="804"/>
                  </a:cubicBezTo>
                  <a:cubicBezTo>
                    <a:pt x="601" y="804"/>
                    <a:pt x="599" y="806"/>
                    <a:pt x="597" y="808"/>
                  </a:cubicBezTo>
                  <a:cubicBezTo>
                    <a:pt x="595" y="809"/>
                    <a:pt x="595" y="809"/>
                    <a:pt x="595" y="809"/>
                  </a:cubicBezTo>
                  <a:cubicBezTo>
                    <a:pt x="595" y="809"/>
                    <a:pt x="596" y="811"/>
                    <a:pt x="597" y="811"/>
                  </a:cubicBezTo>
                  <a:cubicBezTo>
                    <a:pt x="599" y="811"/>
                    <a:pt x="600" y="813"/>
                    <a:pt x="602" y="813"/>
                  </a:cubicBezTo>
                  <a:cubicBezTo>
                    <a:pt x="603" y="813"/>
                    <a:pt x="603" y="815"/>
                    <a:pt x="601" y="816"/>
                  </a:cubicBezTo>
                  <a:cubicBezTo>
                    <a:pt x="599" y="816"/>
                    <a:pt x="597" y="817"/>
                    <a:pt x="596" y="818"/>
                  </a:cubicBezTo>
                  <a:cubicBezTo>
                    <a:pt x="595" y="818"/>
                    <a:pt x="598" y="820"/>
                    <a:pt x="599" y="820"/>
                  </a:cubicBezTo>
                  <a:cubicBezTo>
                    <a:pt x="601" y="821"/>
                    <a:pt x="601" y="822"/>
                    <a:pt x="601" y="822"/>
                  </a:cubicBezTo>
                  <a:cubicBezTo>
                    <a:pt x="601" y="822"/>
                    <a:pt x="603" y="825"/>
                    <a:pt x="603" y="825"/>
                  </a:cubicBezTo>
                  <a:cubicBezTo>
                    <a:pt x="604" y="826"/>
                    <a:pt x="606" y="827"/>
                    <a:pt x="609" y="827"/>
                  </a:cubicBezTo>
                  <a:cubicBezTo>
                    <a:pt x="612" y="827"/>
                    <a:pt x="611" y="828"/>
                    <a:pt x="611" y="829"/>
                  </a:cubicBezTo>
                  <a:cubicBezTo>
                    <a:pt x="612" y="830"/>
                    <a:pt x="613" y="832"/>
                    <a:pt x="614" y="832"/>
                  </a:cubicBezTo>
                  <a:cubicBezTo>
                    <a:pt x="615" y="832"/>
                    <a:pt x="615" y="833"/>
                    <a:pt x="616" y="834"/>
                  </a:cubicBezTo>
                  <a:cubicBezTo>
                    <a:pt x="616" y="834"/>
                    <a:pt x="616" y="834"/>
                    <a:pt x="617" y="833"/>
                  </a:cubicBezTo>
                  <a:cubicBezTo>
                    <a:pt x="617" y="831"/>
                    <a:pt x="617" y="832"/>
                    <a:pt x="619" y="832"/>
                  </a:cubicBezTo>
                  <a:cubicBezTo>
                    <a:pt x="620" y="831"/>
                    <a:pt x="621" y="832"/>
                    <a:pt x="624" y="834"/>
                  </a:cubicBezTo>
                  <a:cubicBezTo>
                    <a:pt x="624" y="834"/>
                    <a:pt x="627" y="837"/>
                    <a:pt x="630" y="838"/>
                  </a:cubicBezTo>
                  <a:cubicBezTo>
                    <a:pt x="632" y="839"/>
                    <a:pt x="631" y="840"/>
                    <a:pt x="632" y="841"/>
                  </a:cubicBezTo>
                  <a:cubicBezTo>
                    <a:pt x="633" y="842"/>
                    <a:pt x="638" y="842"/>
                    <a:pt x="640" y="841"/>
                  </a:cubicBezTo>
                  <a:cubicBezTo>
                    <a:pt x="642" y="840"/>
                    <a:pt x="644" y="841"/>
                    <a:pt x="644" y="840"/>
                  </a:cubicBezTo>
                  <a:cubicBezTo>
                    <a:pt x="645" y="840"/>
                    <a:pt x="648" y="842"/>
                    <a:pt x="648" y="837"/>
                  </a:cubicBezTo>
                  <a:cubicBezTo>
                    <a:pt x="649" y="833"/>
                    <a:pt x="649" y="836"/>
                    <a:pt x="650" y="833"/>
                  </a:cubicBezTo>
                  <a:cubicBezTo>
                    <a:pt x="650" y="832"/>
                    <a:pt x="650" y="832"/>
                    <a:pt x="650" y="832"/>
                  </a:cubicBezTo>
                  <a:cubicBezTo>
                    <a:pt x="650" y="831"/>
                    <a:pt x="651" y="831"/>
                    <a:pt x="650" y="832"/>
                  </a:cubicBezTo>
                  <a:cubicBezTo>
                    <a:pt x="650" y="832"/>
                    <a:pt x="650" y="833"/>
                    <a:pt x="651" y="832"/>
                  </a:cubicBezTo>
                  <a:cubicBezTo>
                    <a:pt x="652" y="831"/>
                    <a:pt x="651" y="832"/>
                    <a:pt x="656" y="831"/>
                  </a:cubicBezTo>
                  <a:cubicBezTo>
                    <a:pt x="661" y="830"/>
                    <a:pt x="659" y="832"/>
                    <a:pt x="661" y="832"/>
                  </a:cubicBezTo>
                  <a:cubicBezTo>
                    <a:pt x="663" y="831"/>
                    <a:pt x="662" y="833"/>
                    <a:pt x="663" y="834"/>
                  </a:cubicBezTo>
                  <a:cubicBezTo>
                    <a:pt x="664" y="834"/>
                    <a:pt x="665" y="836"/>
                    <a:pt x="667" y="837"/>
                  </a:cubicBezTo>
                  <a:cubicBezTo>
                    <a:pt x="669" y="838"/>
                    <a:pt x="669" y="839"/>
                    <a:pt x="670" y="840"/>
                  </a:cubicBezTo>
                  <a:cubicBezTo>
                    <a:pt x="671" y="840"/>
                    <a:pt x="671" y="842"/>
                    <a:pt x="672" y="842"/>
                  </a:cubicBezTo>
                  <a:cubicBezTo>
                    <a:pt x="674" y="843"/>
                    <a:pt x="674" y="844"/>
                    <a:pt x="676" y="844"/>
                  </a:cubicBezTo>
                  <a:cubicBezTo>
                    <a:pt x="676" y="844"/>
                    <a:pt x="678" y="844"/>
                    <a:pt x="680" y="843"/>
                  </a:cubicBezTo>
                  <a:cubicBezTo>
                    <a:pt x="682" y="843"/>
                    <a:pt x="684" y="841"/>
                    <a:pt x="685" y="841"/>
                  </a:cubicBezTo>
                  <a:cubicBezTo>
                    <a:pt x="686" y="840"/>
                    <a:pt x="688" y="842"/>
                    <a:pt x="689" y="841"/>
                  </a:cubicBezTo>
                  <a:cubicBezTo>
                    <a:pt x="691" y="840"/>
                    <a:pt x="692" y="839"/>
                    <a:pt x="693" y="837"/>
                  </a:cubicBezTo>
                  <a:cubicBezTo>
                    <a:pt x="695" y="836"/>
                    <a:pt x="696" y="836"/>
                    <a:pt x="696" y="835"/>
                  </a:cubicBezTo>
                  <a:cubicBezTo>
                    <a:pt x="697" y="835"/>
                    <a:pt x="698" y="833"/>
                    <a:pt x="700" y="831"/>
                  </a:cubicBezTo>
                  <a:cubicBezTo>
                    <a:pt x="702" y="829"/>
                    <a:pt x="701" y="831"/>
                    <a:pt x="703" y="832"/>
                  </a:cubicBezTo>
                  <a:cubicBezTo>
                    <a:pt x="703" y="832"/>
                    <a:pt x="705" y="834"/>
                    <a:pt x="708" y="834"/>
                  </a:cubicBezTo>
                  <a:cubicBezTo>
                    <a:pt x="710" y="833"/>
                    <a:pt x="713" y="834"/>
                    <a:pt x="715" y="832"/>
                  </a:cubicBezTo>
                  <a:cubicBezTo>
                    <a:pt x="716" y="831"/>
                    <a:pt x="718" y="832"/>
                    <a:pt x="719" y="830"/>
                  </a:cubicBezTo>
                  <a:cubicBezTo>
                    <a:pt x="721" y="829"/>
                    <a:pt x="720" y="832"/>
                    <a:pt x="718" y="839"/>
                  </a:cubicBezTo>
                  <a:cubicBezTo>
                    <a:pt x="717" y="847"/>
                    <a:pt x="718" y="843"/>
                    <a:pt x="717" y="844"/>
                  </a:cubicBezTo>
                  <a:cubicBezTo>
                    <a:pt x="716" y="845"/>
                    <a:pt x="716" y="845"/>
                    <a:pt x="716" y="846"/>
                  </a:cubicBezTo>
                  <a:cubicBezTo>
                    <a:pt x="716" y="846"/>
                    <a:pt x="716" y="846"/>
                    <a:pt x="716" y="846"/>
                  </a:cubicBezTo>
                  <a:cubicBezTo>
                    <a:pt x="716" y="848"/>
                    <a:pt x="718" y="850"/>
                    <a:pt x="718" y="851"/>
                  </a:cubicBezTo>
                  <a:cubicBezTo>
                    <a:pt x="718" y="852"/>
                    <a:pt x="716" y="854"/>
                    <a:pt x="717" y="860"/>
                  </a:cubicBezTo>
                  <a:cubicBezTo>
                    <a:pt x="717" y="865"/>
                    <a:pt x="717" y="861"/>
                    <a:pt x="717" y="863"/>
                  </a:cubicBezTo>
                  <a:cubicBezTo>
                    <a:pt x="717" y="863"/>
                    <a:pt x="717" y="863"/>
                    <a:pt x="717" y="863"/>
                  </a:cubicBezTo>
                  <a:cubicBezTo>
                    <a:pt x="717" y="864"/>
                    <a:pt x="717" y="864"/>
                    <a:pt x="717" y="866"/>
                  </a:cubicBezTo>
                  <a:cubicBezTo>
                    <a:pt x="716" y="869"/>
                    <a:pt x="716" y="868"/>
                    <a:pt x="715" y="870"/>
                  </a:cubicBezTo>
                  <a:cubicBezTo>
                    <a:pt x="715" y="871"/>
                    <a:pt x="714" y="872"/>
                    <a:pt x="713" y="874"/>
                  </a:cubicBezTo>
                  <a:cubicBezTo>
                    <a:pt x="711" y="875"/>
                    <a:pt x="711" y="877"/>
                    <a:pt x="710" y="879"/>
                  </a:cubicBezTo>
                  <a:cubicBezTo>
                    <a:pt x="709" y="882"/>
                    <a:pt x="708" y="883"/>
                    <a:pt x="708" y="883"/>
                  </a:cubicBezTo>
                  <a:cubicBezTo>
                    <a:pt x="708" y="884"/>
                    <a:pt x="707" y="886"/>
                    <a:pt x="706" y="887"/>
                  </a:cubicBezTo>
                  <a:cubicBezTo>
                    <a:pt x="705" y="888"/>
                    <a:pt x="705" y="889"/>
                    <a:pt x="705" y="889"/>
                  </a:cubicBezTo>
                  <a:cubicBezTo>
                    <a:pt x="705" y="889"/>
                    <a:pt x="705" y="892"/>
                    <a:pt x="705" y="894"/>
                  </a:cubicBezTo>
                  <a:cubicBezTo>
                    <a:pt x="705" y="897"/>
                    <a:pt x="705" y="897"/>
                    <a:pt x="704" y="898"/>
                  </a:cubicBezTo>
                  <a:cubicBezTo>
                    <a:pt x="704" y="899"/>
                    <a:pt x="704" y="899"/>
                    <a:pt x="703" y="901"/>
                  </a:cubicBezTo>
                  <a:cubicBezTo>
                    <a:pt x="701" y="904"/>
                    <a:pt x="702" y="904"/>
                    <a:pt x="700" y="905"/>
                  </a:cubicBezTo>
                  <a:cubicBezTo>
                    <a:pt x="699" y="907"/>
                    <a:pt x="699" y="908"/>
                    <a:pt x="698" y="909"/>
                  </a:cubicBezTo>
                  <a:cubicBezTo>
                    <a:pt x="698" y="910"/>
                    <a:pt x="697" y="911"/>
                    <a:pt x="695" y="913"/>
                  </a:cubicBezTo>
                  <a:cubicBezTo>
                    <a:pt x="695" y="913"/>
                    <a:pt x="694" y="914"/>
                    <a:pt x="693" y="914"/>
                  </a:cubicBezTo>
                  <a:cubicBezTo>
                    <a:pt x="691" y="916"/>
                    <a:pt x="692" y="916"/>
                    <a:pt x="691" y="916"/>
                  </a:cubicBezTo>
                  <a:cubicBezTo>
                    <a:pt x="691" y="917"/>
                    <a:pt x="680" y="916"/>
                    <a:pt x="676" y="917"/>
                  </a:cubicBezTo>
                  <a:cubicBezTo>
                    <a:pt x="673" y="917"/>
                    <a:pt x="673" y="917"/>
                    <a:pt x="672" y="916"/>
                  </a:cubicBezTo>
                  <a:cubicBezTo>
                    <a:pt x="671" y="915"/>
                    <a:pt x="670" y="915"/>
                    <a:pt x="669" y="914"/>
                  </a:cubicBezTo>
                  <a:cubicBezTo>
                    <a:pt x="668" y="912"/>
                    <a:pt x="666" y="913"/>
                    <a:pt x="666" y="912"/>
                  </a:cubicBezTo>
                  <a:cubicBezTo>
                    <a:pt x="665" y="912"/>
                    <a:pt x="662" y="911"/>
                    <a:pt x="661" y="911"/>
                  </a:cubicBezTo>
                  <a:cubicBezTo>
                    <a:pt x="661" y="910"/>
                    <a:pt x="650" y="911"/>
                    <a:pt x="647" y="911"/>
                  </a:cubicBezTo>
                  <a:cubicBezTo>
                    <a:pt x="644" y="912"/>
                    <a:pt x="645" y="913"/>
                    <a:pt x="645" y="913"/>
                  </a:cubicBezTo>
                  <a:cubicBezTo>
                    <a:pt x="645" y="913"/>
                    <a:pt x="641" y="915"/>
                    <a:pt x="638" y="917"/>
                  </a:cubicBezTo>
                  <a:cubicBezTo>
                    <a:pt x="636" y="919"/>
                    <a:pt x="634" y="921"/>
                    <a:pt x="632" y="921"/>
                  </a:cubicBezTo>
                  <a:cubicBezTo>
                    <a:pt x="630" y="921"/>
                    <a:pt x="630" y="921"/>
                    <a:pt x="630" y="921"/>
                  </a:cubicBezTo>
                  <a:cubicBezTo>
                    <a:pt x="629" y="920"/>
                    <a:pt x="628" y="921"/>
                    <a:pt x="626" y="919"/>
                  </a:cubicBezTo>
                  <a:cubicBezTo>
                    <a:pt x="625" y="918"/>
                    <a:pt x="624" y="919"/>
                    <a:pt x="622" y="918"/>
                  </a:cubicBezTo>
                  <a:cubicBezTo>
                    <a:pt x="620" y="918"/>
                    <a:pt x="617" y="918"/>
                    <a:pt x="617" y="917"/>
                  </a:cubicBezTo>
                  <a:cubicBezTo>
                    <a:pt x="616" y="917"/>
                    <a:pt x="613" y="916"/>
                    <a:pt x="612" y="916"/>
                  </a:cubicBezTo>
                  <a:cubicBezTo>
                    <a:pt x="612" y="916"/>
                    <a:pt x="608" y="916"/>
                    <a:pt x="608" y="916"/>
                  </a:cubicBezTo>
                  <a:cubicBezTo>
                    <a:pt x="608" y="916"/>
                    <a:pt x="597" y="912"/>
                    <a:pt x="596" y="912"/>
                  </a:cubicBezTo>
                  <a:cubicBezTo>
                    <a:pt x="596" y="911"/>
                    <a:pt x="587" y="910"/>
                    <a:pt x="587" y="910"/>
                  </a:cubicBezTo>
                  <a:cubicBezTo>
                    <a:pt x="587" y="910"/>
                    <a:pt x="583" y="911"/>
                    <a:pt x="583" y="910"/>
                  </a:cubicBezTo>
                  <a:cubicBezTo>
                    <a:pt x="582" y="910"/>
                    <a:pt x="580" y="911"/>
                    <a:pt x="577" y="909"/>
                  </a:cubicBezTo>
                  <a:cubicBezTo>
                    <a:pt x="576" y="909"/>
                    <a:pt x="576" y="908"/>
                    <a:pt x="575" y="908"/>
                  </a:cubicBezTo>
                  <a:cubicBezTo>
                    <a:pt x="575" y="907"/>
                    <a:pt x="574" y="907"/>
                    <a:pt x="573" y="905"/>
                  </a:cubicBezTo>
                  <a:cubicBezTo>
                    <a:pt x="571" y="904"/>
                    <a:pt x="572" y="905"/>
                    <a:pt x="572" y="904"/>
                  </a:cubicBezTo>
                  <a:cubicBezTo>
                    <a:pt x="571" y="902"/>
                    <a:pt x="571" y="903"/>
                    <a:pt x="569" y="902"/>
                  </a:cubicBezTo>
                  <a:cubicBezTo>
                    <a:pt x="567" y="902"/>
                    <a:pt x="565" y="903"/>
                    <a:pt x="564" y="903"/>
                  </a:cubicBezTo>
                  <a:cubicBezTo>
                    <a:pt x="563" y="903"/>
                    <a:pt x="560" y="903"/>
                    <a:pt x="560" y="903"/>
                  </a:cubicBezTo>
                  <a:cubicBezTo>
                    <a:pt x="560" y="903"/>
                    <a:pt x="550" y="902"/>
                    <a:pt x="549" y="901"/>
                  </a:cubicBezTo>
                  <a:cubicBezTo>
                    <a:pt x="548" y="900"/>
                    <a:pt x="547" y="901"/>
                    <a:pt x="547" y="900"/>
                  </a:cubicBezTo>
                  <a:cubicBezTo>
                    <a:pt x="547" y="898"/>
                    <a:pt x="545" y="898"/>
                    <a:pt x="545" y="897"/>
                  </a:cubicBezTo>
                  <a:cubicBezTo>
                    <a:pt x="544" y="895"/>
                    <a:pt x="543" y="895"/>
                    <a:pt x="541" y="894"/>
                  </a:cubicBezTo>
                  <a:cubicBezTo>
                    <a:pt x="540" y="892"/>
                    <a:pt x="539" y="893"/>
                    <a:pt x="538" y="893"/>
                  </a:cubicBezTo>
                  <a:cubicBezTo>
                    <a:pt x="538" y="892"/>
                    <a:pt x="536" y="893"/>
                    <a:pt x="534" y="891"/>
                  </a:cubicBezTo>
                  <a:cubicBezTo>
                    <a:pt x="532" y="890"/>
                    <a:pt x="532" y="891"/>
                    <a:pt x="531" y="890"/>
                  </a:cubicBezTo>
                  <a:cubicBezTo>
                    <a:pt x="530" y="890"/>
                    <a:pt x="526" y="891"/>
                    <a:pt x="523" y="892"/>
                  </a:cubicBezTo>
                  <a:cubicBezTo>
                    <a:pt x="520" y="892"/>
                    <a:pt x="521" y="892"/>
                    <a:pt x="521" y="893"/>
                  </a:cubicBezTo>
                  <a:cubicBezTo>
                    <a:pt x="520" y="894"/>
                    <a:pt x="516" y="896"/>
                    <a:pt x="514" y="896"/>
                  </a:cubicBezTo>
                  <a:cubicBezTo>
                    <a:pt x="513" y="895"/>
                    <a:pt x="512" y="898"/>
                    <a:pt x="510" y="898"/>
                  </a:cubicBezTo>
                  <a:cubicBezTo>
                    <a:pt x="509" y="899"/>
                    <a:pt x="507" y="901"/>
                    <a:pt x="506" y="902"/>
                  </a:cubicBezTo>
                  <a:cubicBezTo>
                    <a:pt x="504" y="903"/>
                    <a:pt x="503" y="907"/>
                    <a:pt x="503" y="907"/>
                  </a:cubicBezTo>
                  <a:cubicBezTo>
                    <a:pt x="503" y="907"/>
                    <a:pt x="505" y="911"/>
                    <a:pt x="506" y="912"/>
                  </a:cubicBezTo>
                  <a:cubicBezTo>
                    <a:pt x="506" y="912"/>
                    <a:pt x="507" y="916"/>
                    <a:pt x="507" y="917"/>
                  </a:cubicBezTo>
                  <a:cubicBezTo>
                    <a:pt x="507" y="917"/>
                    <a:pt x="504" y="923"/>
                    <a:pt x="504" y="923"/>
                  </a:cubicBezTo>
                  <a:cubicBezTo>
                    <a:pt x="499" y="926"/>
                    <a:pt x="499" y="926"/>
                    <a:pt x="499" y="926"/>
                  </a:cubicBezTo>
                  <a:cubicBezTo>
                    <a:pt x="499" y="926"/>
                    <a:pt x="495" y="928"/>
                    <a:pt x="494" y="928"/>
                  </a:cubicBezTo>
                  <a:cubicBezTo>
                    <a:pt x="492" y="928"/>
                    <a:pt x="491" y="928"/>
                    <a:pt x="490" y="929"/>
                  </a:cubicBezTo>
                  <a:cubicBezTo>
                    <a:pt x="489" y="929"/>
                    <a:pt x="487" y="926"/>
                    <a:pt x="486" y="925"/>
                  </a:cubicBezTo>
                  <a:cubicBezTo>
                    <a:pt x="484" y="924"/>
                    <a:pt x="482" y="923"/>
                    <a:pt x="481" y="922"/>
                  </a:cubicBezTo>
                  <a:cubicBezTo>
                    <a:pt x="480" y="921"/>
                    <a:pt x="479" y="922"/>
                    <a:pt x="477" y="920"/>
                  </a:cubicBezTo>
                  <a:cubicBezTo>
                    <a:pt x="476" y="918"/>
                    <a:pt x="472" y="918"/>
                    <a:pt x="472" y="918"/>
                  </a:cubicBezTo>
                  <a:cubicBezTo>
                    <a:pt x="471" y="917"/>
                    <a:pt x="468" y="917"/>
                    <a:pt x="468" y="917"/>
                  </a:cubicBezTo>
                  <a:cubicBezTo>
                    <a:pt x="468" y="917"/>
                    <a:pt x="458" y="915"/>
                    <a:pt x="458" y="914"/>
                  </a:cubicBezTo>
                  <a:cubicBezTo>
                    <a:pt x="458" y="914"/>
                    <a:pt x="455" y="915"/>
                    <a:pt x="452" y="915"/>
                  </a:cubicBezTo>
                  <a:cubicBezTo>
                    <a:pt x="450" y="915"/>
                    <a:pt x="451" y="915"/>
                    <a:pt x="450" y="914"/>
                  </a:cubicBezTo>
                  <a:cubicBezTo>
                    <a:pt x="450" y="912"/>
                    <a:pt x="447" y="913"/>
                    <a:pt x="446" y="913"/>
                  </a:cubicBezTo>
                  <a:cubicBezTo>
                    <a:pt x="444" y="912"/>
                    <a:pt x="445" y="911"/>
                    <a:pt x="445" y="909"/>
                  </a:cubicBezTo>
                  <a:cubicBezTo>
                    <a:pt x="445" y="907"/>
                    <a:pt x="443" y="905"/>
                    <a:pt x="442" y="903"/>
                  </a:cubicBezTo>
                  <a:cubicBezTo>
                    <a:pt x="441" y="901"/>
                    <a:pt x="441" y="900"/>
                    <a:pt x="441" y="899"/>
                  </a:cubicBezTo>
                  <a:cubicBezTo>
                    <a:pt x="440" y="899"/>
                    <a:pt x="439" y="898"/>
                    <a:pt x="438" y="897"/>
                  </a:cubicBezTo>
                  <a:cubicBezTo>
                    <a:pt x="437" y="897"/>
                    <a:pt x="434" y="898"/>
                    <a:pt x="433" y="898"/>
                  </a:cubicBezTo>
                  <a:cubicBezTo>
                    <a:pt x="432" y="897"/>
                    <a:pt x="424" y="892"/>
                    <a:pt x="424" y="892"/>
                  </a:cubicBezTo>
                  <a:cubicBezTo>
                    <a:pt x="416" y="890"/>
                    <a:pt x="416" y="890"/>
                    <a:pt x="416" y="890"/>
                  </a:cubicBezTo>
                  <a:cubicBezTo>
                    <a:pt x="416" y="890"/>
                    <a:pt x="408" y="892"/>
                    <a:pt x="407" y="891"/>
                  </a:cubicBezTo>
                  <a:cubicBezTo>
                    <a:pt x="407" y="890"/>
                    <a:pt x="404" y="892"/>
                    <a:pt x="403" y="892"/>
                  </a:cubicBezTo>
                  <a:cubicBezTo>
                    <a:pt x="401" y="892"/>
                    <a:pt x="400" y="891"/>
                    <a:pt x="400" y="891"/>
                  </a:cubicBezTo>
                  <a:cubicBezTo>
                    <a:pt x="400" y="891"/>
                    <a:pt x="398" y="890"/>
                    <a:pt x="397" y="889"/>
                  </a:cubicBezTo>
                  <a:cubicBezTo>
                    <a:pt x="396" y="887"/>
                    <a:pt x="395" y="888"/>
                    <a:pt x="393" y="887"/>
                  </a:cubicBezTo>
                  <a:cubicBezTo>
                    <a:pt x="393" y="887"/>
                    <a:pt x="391" y="886"/>
                    <a:pt x="390" y="885"/>
                  </a:cubicBezTo>
                  <a:cubicBezTo>
                    <a:pt x="390" y="885"/>
                    <a:pt x="389" y="885"/>
                    <a:pt x="389" y="884"/>
                  </a:cubicBezTo>
                  <a:cubicBezTo>
                    <a:pt x="387" y="883"/>
                    <a:pt x="386" y="882"/>
                    <a:pt x="385" y="881"/>
                  </a:cubicBezTo>
                  <a:cubicBezTo>
                    <a:pt x="385" y="880"/>
                    <a:pt x="384" y="878"/>
                    <a:pt x="383" y="877"/>
                  </a:cubicBezTo>
                  <a:cubicBezTo>
                    <a:pt x="382" y="876"/>
                    <a:pt x="379" y="877"/>
                    <a:pt x="379" y="877"/>
                  </a:cubicBezTo>
                  <a:cubicBezTo>
                    <a:pt x="379" y="877"/>
                    <a:pt x="378" y="879"/>
                    <a:pt x="377" y="879"/>
                  </a:cubicBezTo>
                  <a:cubicBezTo>
                    <a:pt x="376" y="878"/>
                    <a:pt x="375" y="878"/>
                    <a:pt x="373" y="876"/>
                  </a:cubicBezTo>
                  <a:cubicBezTo>
                    <a:pt x="372" y="875"/>
                    <a:pt x="371" y="875"/>
                    <a:pt x="370" y="873"/>
                  </a:cubicBezTo>
                  <a:cubicBezTo>
                    <a:pt x="370" y="871"/>
                    <a:pt x="371" y="872"/>
                    <a:pt x="372" y="871"/>
                  </a:cubicBezTo>
                  <a:cubicBezTo>
                    <a:pt x="373" y="870"/>
                    <a:pt x="374" y="869"/>
                    <a:pt x="374" y="868"/>
                  </a:cubicBezTo>
                  <a:cubicBezTo>
                    <a:pt x="375" y="867"/>
                    <a:pt x="377" y="867"/>
                    <a:pt x="378" y="866"/>
                  </a:cubicBezTo>
                  <a:cubicBezTo>
                    <a:pt x="378" y="865"/>
                    <a:pt x="380" y="864"/>
                    <a:pt x="382" y="863"/>
                  </a:cubicBezTo>
                  <a:cubicBezTo>
                    <a:pt x="383" y="862"/>
                    <a:pt x="384" y="860"/>
                    <a:pt x="384" y="859"/>
                  </a:cubicBezTo>
                  <a:cubicBezTo>
                    <a:pt x="385" y="857"/>
                    <a:pt x="385" y="857"/>
                    <a:pt x="385" y="856"/>
                  </a:cubicBezTo>
                  <a:cubicBezTo>
                    <a:pt x="385" y="854"/>
                    <a:pt x="385" y="853"/>
                    <a:pt x="385" y="852"/>
                  </a:cubicBezTo>
                  <a:cubicBezTo>
                    <a:pt x="385" y="852"/>
                    <a:pt x="380" y="845"/>
                    <a:pt x="379" y="844"/>
                  </a:cubicBezTo>
                  <a:cubicBezTo>
                    <a:pt x="378" y="843"/>
                    <a:pt x="377" y="842"/>
                    <a:pt x="377" y="841"/>
                  </a:cubicBezTo>
                  <a:cubicBezTo>
                    <a:pt x="377" y="839"/>
                    <a:pt x="378" y="840"/>
                    <a:pt x="379" y="838"/>
                  </a:cubicBezTo>
                  <a:cubicBezTo>
                    <a:pt x="379" y="837"/>
                    <a:pt x="380" y="836"/>
                    <a:pt x="381" y="834"/>
                  </a:cubicBezTo>
                  <a:cubicBezTo>
                    <a:pt x="382" y="833"/>
                    <a:pt x="383" y="832"/>
                    <a:pt x="384" y="829"/>
                  </a:cubicBezTo>
                  <a:cubicBezTo>
                    <a:pt x="384" y="829"/>
                    <a:pt x="382" y="827"/>
                    <a:pt x="382" y="827"/>
                  </a:cubicBezTo>
                  <a:cubicBezTo>
                    <a:pt x="381" y="827"/>
                    <a:pt x="377" y="831"/>
                    <a:pt x="375" y="832"/>
                  </a:cubicBezTo>
                  <a:cubicBezTo>
                    <a:pt x="372" y="832"/>
                    <a:pt x="375" y="832"/>
                    <a:pt x="375" y="830"/>
                  </a:cubicBezTo>
                  <a:cubicBezTo>
                    <a:pt x="375" y="829"/>
                    <a:pt x="374" y="826"/>
                    <a:pt x="374" y="825"/>
                  </a:cubicBezTo>
                  <a:cubicBezTo>
                    <a:pt x="374" y="823"/>
                    <a:pt x="371" y="824"/>
                    <a:pt x="369" y="822"/>
                  </a:cubicBezTo>
                  <a:cubicBezTo>
                    <a:pt x="367" y="820"/>
                    <a:pt x="367" y="822"/>
                    <a:pt x="366" y="822"/>
                  </a:cubicBezTo>
                  <a:cubicBezTo>
                    <a:pt x="366" y="821"/>
                    <a:pt x="363" y="824"/>
                    <a:pt x="362" y="824"/>
                  </a:cubicBezTo>
                  <a:cubicBezTo>
                    <a:pt x="361" y="824"/>
                    <a:pt x="359" y="826"/>
                    <a:pt x="359" y="826"/>
                  </a:cubicBezTo>
                  <a:cubicBezTo>
                    <a:pt x="359" y="826"/>
                    <a:pt x="351" y="829"/>
                    <a:pt x="348" y="829"/>
                  </a:cubicBezTo>
                  <a:cubicBezTo>
                    <a:pt x="348" y="829"/>
                    <a:pt x="347" y="829"/>
                    <a:pt x="347" y="829"/>
                  </a:cubicBezTo>
                  <a:cubicBezTo>
                    <a:pt x="346" y="829"/>
                    <a:pt x="344" y="831"/>
                    <a:pt x="342" y="830"/>
                  </a:cubicBezTo>
                  <a:cubicBezTo>
                    <a:pt x="341" y="829"/>
                    <a:pt x="340" y="830"/>
                    <a:pt x="338" y="827"/>
                  </a:cubicBezTo>
                  <a:cubicBezTo>
                    <a:pt x="337" y="825"/>
                    <a:pt x="336" y="828"/>
                    <a:pt x="335" y="827"/>
                  </a:cubicBezTo>
                  <a:cubicBezTo>
                    <a:pt x="335" y="826"/>
                    <a:pt x="334" y="828"/>
                    <a:pt x="333" y="827"/>
                  </a:cubicBezTo>
                  <a:cubicBezTo>
                    <a:pt x="332" y="827"/>
                    <a:pt x="329" y="829"/>
                    <a:pt x="328" y="828"/>
                  </a:cubicBezTo>
                  <a:cubicBezTo>
                    <a:pt x="328" y="827"/>
                    <a:pt x="327" y="828"/>
                    <a:pt x="326" y="827"/>
                  </a:cubicBezTo>
                  <a:cubicBezTo>
                    <a:pt x="325" y="827"/>
                    <a:pt x="322" y="826"/>
                    <a:pt x="321" y="826"/>
                  </a:cubicBezTo>
                  <a:cubicBezTo>
                    <a:pt x="321" y="826"/>
                    <a:pt x="319" y="828"/>
                    <a:pt x="318" y="828"/>
                  </a:cubicBezTo>
                  <a:cubicBezTo>
                    <a:pt x="317" y="828"/>
                    <a:pt x="315" y="830"/>
                    <a:pt x="315" y="830"/>
                  </a:cubicBezTo>
                  <a:cubicBezTo>
                    <a:pt x="315" y="830"/>
                    <a:pt x="310" y="834"/>
                    <a:pt x="307" y="834"/>
                  </a:cubicBezTo>
                  <a:cubicBezTo>
                    <a:pt x="306" y="834"/>
                    <a:pt x="304" y="832"/>
                    <a:pt x="304" y="832"/>
                  </a:cubicBezTo>
                  <a:cubicBezTo>
                    <a:pt x="302" y="830"/>
                    <a:pt x="302" y="830"/>
                    <a:pt x="302" y="830"/>
                  </a:cubicBezTo>
                  <a:cubicBezTo>
                    <a:pt x="290" y="829"/>
                    <a:pt x="290" y="829"/>
                    <a:pt x="290" y="829"/>
                  </a:cubicBezTo>
                  <a:cubicBezTo>
                    <a:pt x="290" y="829"/>
                    <a:pt x="285" y="830"/>
                    <a:pt x="285" y="829"/>
                  </a:cubicBezTo>
                  <a:cubicBezTo>
                    <a:pt x="284" y="829"/>
                    <a:pt x="281" y="829"/>
                    <a:pt x="278" y="830"/>
                  </a:cubicBezTo>
                  <a:cubicBezTo>
                    <a:pt x="276" y="830"/>
                    <a:pt x="277" y="830"/>
                    <a:pt x="276" y="830"/>
                  </a:cubicBezTo>
                  <a:cubicBezTo>
                    <a:pt x="275" y="830"/>
                    <a:pt x="273" y="832"/>
                    <a:pt x="272" y="832"/>
                  </a:cubicBezTo>
                  <a:cubicBezTo>
                    <a:pt x="270" y="832"/>
                    <a:pt x="266" y="834"/>
                    <a:pt x="265" y="834"/>
                  </a:cubicBezTo>
                  <a:cubicBezTo>
                    <a:pt x="264" y="834"/>
                    <a:pt x="254" y="836"/>
                    <a:pt x="251" y="835"/>
                  </a:cubicBezTo>
                  <a:cubicBezTo>
                    <a:pt x="248" y="835"/>
                    <a:pt x="247" y="837"/>
                    <a:pt x="246" y="837"/>
                  </a:cubicBezTo>
                  <a:cubicBezTo>
                    <a:pt x="245" y="837"/>
                    <a:pt x="244" y="839"/>
                    <a:pt x="243" y="840"/>
                  </a:cubicBezTo>
                  <a:cubicBezTo>
                    <a:pt x="242" y="840"/>
                    <a:pt x="241" y="842"/>
                    <a:pt x="239" y="842"/>
                  </a:cubicBezTo>
                  <a:cubicBezTo>
                    <a:pt x="238" y="843"/>
                    <a:pt x="235" y="846"/>
                    <a:pt x="234" y="845"/>
                  </a:cubicBezTo>
                  <a:cubicBezTo>
                    <a:pt x="233" y="845"/>
                    <a:pt x="233" y="844"/>
                    <a:pt x="233" y="844"/>
                  </a:cubicBezTo>
                  <a:cubicBezTo>
                    <a:pt x="233" y="844"/>
                    <a:pt x="223" y="847"/>
                    <a:pt x="222" y="847"/>
                  </a:cubicBezTo>
                  <a:cubicBezTo>
                    <a:pt x="222" y="847"/>
                    <a:pt x="220" y="849"/>
                    <a:pt x="219" y="849"/>
                  </a:cubicBezTo>
                  <a:cubicBezTo>
                    <a:pt x="219" y="850"/>
                    <a:pt x="217" y="851"/>
                    <a:pt x="216" y="852"/>
                  </a:cubicBezTo>
                  <a:cubicBezTo>
                    <a:pt x="216" y="853"/>
                    <a:pt x="214" y="855"/>
                    <a:pt x="214" y="855"/>
                  </a:cubicBezTo>
                  <a:cubicBezTo>
                    <a:pt x="211" y="858"/>
                    <a:pt x="211" y="858"/>
                    <a:pt x="211" y="858"/>
                  </a:cubicBezTo>
                  <a:cubicBezTo>
                    <a:pt x="211" y="858"/>
                    <a:pt x="208" y="859"/>
                    <a:pt x="208" y="858"/>
                  </a:cubicBezTo>
                  <a:cubicBezTo>
                    <a:pt x="207" y="858"/>
                    <a:pt x="206" y="859"/>
                    <a:pt x="204" y="858"/>
                  </a:cubicBezTo>
                  <a:cubicBezTo>
                    <a:pt x="202" y="857"/>
                    <a:pt x="202" y="859"/>
                    <a:pt x="201" y="857"/>
                  </a:cubicBezTo>
                  <a:cubicBezTo>
                    <a:pt x="201" y="856"/>
                    <a:pt x="200" y="856"/>
                    <a:pt x="199" y="856"/>
                  </a:cubicBezTo>
                  <a:cubicBezTo>
                    <a:pt x="199" y="855"/>
                    <a:pt x="195" y="857"/>
                    <a:pt x="195" y="856"/>
                  </a:cubicBezTo>
                  <a:cubicBezTo>
                    <a:pt x="194" y="854"/>
                    <a:pt x="194" y="855"/>
                    <a:pt x="193" y="853"/>
                  </a:cubicBezTo>
                  <a:cubicBezTo>
                    <a:pt x="192" y="852"/>
                    <a:pt x="191" y="854"/>
                    <a:pt x="190" y="853"/>
                  </a:cubicBezTo>
                  <a:cubicBezTo>
                    <a:pt x="188" y="853"/>
                    <a:pt x="186" y="854"/>
                    <a:pt x="186" y="854"/>
                  </a:cubicBezTo>
                  <a:cubicBezTo>
                    <a:pt x="184" y="855"/>
                    <a:pt x="184" y="855"/>
                    <a:pt x="184" y="855"/>
                  </a:cubicBezTo>
                  <a:cubicBezTo>
                    <a:pt x="184" y="855"/>
                    <a:pt x="179" y="856"/>
                    <a:pt x="178" y="856"/>
                  </a:cubicBezTo>
                  <a:cubicBezTo>
                    <a:pt x="177" y="856"/>
                    <a:pt x="174" y="855"/>
                    <a:pt x="174" y="854"/>
                  </a:cubicBezTo>
                  <a:cubicBezTo>
                    <a:pt x="174" y="853"/>
                    <a:pt x="169" y="855"/>
                    <a:pt x="168" y="853"/>
                  </a:cubicBezTo>
                  <a:cubicBezTo>
                    <a:pt x="168" y="851"/>
                    <a:pt x="161" y="851"/>
                    <a:pt x="161" y="849"/>
                  </a:cubicBezTo>
                  <a:cubicBezTo>
                    <a:pt x="161" y="848"/>
                    <a:pt x="160" y="848"/>
                    <a:pt x="159" y="847"/>
                  </a:cubicBezTo>
                  <a:cubicBezTo>
                    <a:pt x="159" y="845"/>
                    <a:pt x="157" y="845"/>
                    <a:pt x="157" y="845"/>
                  </a:cubicBezTo>
                  <a:cubicBezTo>
                    <a:pt x="157" y="844"/>
                    <a:pt x="155" y="846"/>
                    <a:pt x="155" y="846"/>
                  </a:cubicBezTo>
                  <a:cubicBezTo>
                    <a:pt x="154" y="847"/>
                    <a:pt x="153" y="848"/>
                    <a:pt x="152" y="850"/>
                  </a:cubicBezTo>
                  <a:cubicBezTo>
                    <a:pt x="151" y="852"/>
                    <a:pt x="152" y="852"/>
                    <a:pt x="152" y="854"/>
                  </a:cubicBezTo>
                  <a:cubicBezTo>
                    <a:pt x="151" y="855"/>
                    <a:pt x="148" y="861"/>
                    <a:pt x="148" y="861"/>
                  </a:cubicBezTo>
                  <a:cubicBezTo>
                    <a:pt x="148" y="861"/>
                    <a:pt x="147" y="863"/>
                    <a:pt x="147" y="864"/>
                  </a:cubicBezTo>
                  <a:cubicBezTo>
                    <a:pt x="146" y="865"/>
                    <a:pt x="145" y="867"/>
                    <a:pt x="145" y="868"/>
                  </a:cubicBezTo>
                  <a:cubicBezTo>
                    <a:pt x="145" y="868"/>
                    <a:pt x="144" y="871"/>
                    <a:pt x="143" y="871"/>
                  </a:cubicBezTo>
                  <a:cubicBezTo>
                    <a:pt x="143" y="871"/>
                    <a:pt x="141" y="874"/>
                    <a:pt x="140" y="874"/>
                  </a:cubicBezTo>
                  <a:cubicBezTo>
                    <a:pt x="139" y="873"/>
                    <a:pt x="137" y="877"/>
                    <a:pt x="137" y="877"/>
                  </a:cubicBezTo>
                  <a:cubicBezTo>
                    <a:pt x="130" y="879"/>
                    <a:pt x="130" y="879"/>
                    <a:pt x="130" y="879"/>
                  </a:cubicBezTo>
                  <a:cubicBezTo>
                    <a:pt x="130" y="879"/>
                    <a:pt x="126" y="881"/>
                    <a:pt x="125" y="881"/>
                  </a:cubicBezTo>
                  <a:cubicBezTo>
                    <a:pt x="124" y="880"/>
                    <a:pt x="122" y="883"/>
                    <a:pt x="121" y="883"/>
                  </a:cubicBezTo>
                  <a:cubicBezTo>
                    <a:pt x="121" y="883"/>
                    <a:pt x="119" y="885"/>
                    <a:pt x="117" y="887"/>
                  </a:cubicBezTo>
                  <a:cubicBezTo>
                    <a:pt x="114" y="890"/>
                    <a:pt x="114" y="891"/>
                    <a:pt x="113" y="892"/>
                  </a:cubicBezTo>
                  <a:cubicBezTo>
                    <a:pt x="111" y="893"/>
                    <a:pt x="110" y="896"/>
                    <a:pt x="109" y="896"/>
                  </a:cubicBezTo>
                  <a:cubicBezTo>
                    <a:pt x="109" y="897"/>
                    <a:pt x="107" y="901"/>
                    <a:pt x="106" y="901"/>
                  </a:cubicBezTo>
                  <a:cubicBezTo>
                    <a:pt x="105" y="902"/>
                    <a:pt x="106" y="905"/>
                    <a:pt x="106" y="905"/>
                  </a:cubicBezTo>
                  <a:cubicBezTo>
                    <a:pt x="106" y="905"/>
                    <a:pt x="102" y="921"/>
                    <a:pt x="102" y="922"/>
                  </a:cubicBezTo>
                  <a:cubicBezTo>
                    <a:pt x="102" y="924"/>
                    <a:pt x="102" y="926"/>
                    <a:pt x="103" y="926"/>
                  </a:cubicBezTo>
                  <a:cubicBezTo>
                    <a:pt x="104" y="926"/>
                    <a:pt x="103" y="930"/>
                    <a:pt x="103" y="931"/>
                  </a:cubicBezTo>
                  <a:cubicBezTo>
                    <a:pt x="104" y="932"/>
                    <a:pt x="103" y="933"/>
                    <a:pt x="102" y="934"/>
                  </a:cubicBezTo>
                  <a:cubicBezTo>
                    <a:pt x="102" y="935"/>
                    <a:pt x="100" y="938"/>
                    <a:pt x="99" y="938"/>
                  </a:cubicBezTo>
                  <a:cubicBezTo>
                    <a:pt x="99" y="939"/>
                    <a:pt x="97" y="941"/>
                    <a:pt x="96" y="942"/>
                  </a:cubicBezTo>
                  <a:cubicBezTo>
                    <a:pt x="96" y="943"/>
                    <a:pt x="95" y="944"/>
                    <a:pt x="94" y="945"/>
                  </a:cubicBezTo>
                  <a:cubicBezTo>
                    <a:pt x="92" y="947"/>
                    <a:pt x="91" y="947"/>
                    <a:pt x="89" y="947"/>
                  </a:cubicBezTo>
                  <a:cubicBezTo>
                    <a:pt x="88" y="948"/>
                    <a:pt x="88" y="950"/>
                    <a:pt x="88" y="950"/>
                  </a:cubicBezTo>
                  <a:cubicBezTo>
                    <a:pt x="86" y="952"/>
                    <a:pt x="86" y="952"/>
                    <a:pt x="86" y="952"/>
                  </a:cubicBezTo>
                  <a:cubicBezTo>
                    <a:pt x="86" y="952"/>
                    <a:pt x="84" y="954"/>
                    <a:pt x="83" y="955"/>
                  </a:cubicBezTo>
                  <a:cubicBezTo>
                    <a:pt x="82" y="956"/>
                    <a:pt x="81" y="957"/>
                    <a:pt x="79" y="958"/>
                  </a:cubicBezTo>
                  <a:cubicBezTo>
                    <a:pt x="78" y="959"/>
                    <a:pt x="75" y="960"/>
                    <a:pt x="74" y="960"/>
                  </a:cubicBezTo>
                  <a:cubicBezTo>
                    <a:pt x="73" y="960"/>
                    <a:pt x="60" y="965"/>
                    <a:pt x="59" y="965"/>
                  </a:cubicBezTo>
                  <a:cubicBezTo>
                    <a:pt x="58" y="966"/>
                    <a:pt x="56" y="969"/>
                    <a:pt x="55" y="970"/>
                  </a:cubicBezTo>
                  <a:cubicBezTo>
                    <a:pt x="54" y="971"/>
                    <a:pt x="53" y="977"/>
                    <a:pt x="53" y="977"/>
                  </a:cubicBezTo>
                  <a:cubicBezTo>
                    <a:pt x="51" y="981"/>
                    <a:pt x="51" y="981"/>
                    <a:pt x="51" y="981"/>
                  </a:cubicBezTo>
                  <a:cubicBezTo>
                    <a:pt x="51" y="981"/>
                    <a:pt x="47" y="985"/>
                    <a:pt x="46" y="985"/>
                  </a:cubicBezTo>
                  <a:cubicBezTo>
                    <a:pt x="46" y="985"/>
                    <a:pt x="42" y="988"/>
                    <a:pt x="42" y="988"/>
                  </a:cubicBezTo>
                  <a:cubicBezTo>
                    <a:pt x="42" y="988"/>
                    <a:pt x="38" y="991"/>
                    <a:pt x="37" y="991"/>
                  </a:cubicBezTo>
                  <a:cubicBezTo>
                    <a:pt x="37" y="992"/>
                    <a:pt x="36" y="996"/>
                    <a:pt x="36" y="996"/>
                  </a:cubicBezTo>
                  <a:cubicBezTo>
                    <a:pt x="36" y="996"/>
                    <a:pt x="35" y="1001"/>
                    <a:pt x="35" y="1001"/>
                  </a:cubicBezTo>
                  <a:cubicBezTo>
                    <a:pt x="34" y="1002"/>
                    <a:pt x="32" y="1007"/>
                    <a:pt x="32" y="1007"/>
                  </a:cubicBezTo>
                  <a:cubicBezTo>
                    <a:pt x="32" y="1007"/>
                    <a:pt x="29" y="1011"/>
                    <a:pt x="28" y="1012"/>
                  </a:cubicBezTo>
                  <a:cubicBezTo>
                    <a:pt x="28" y="1012"/>
                    <a:pt x="26" y="1015"/>
                    <a:pt x="25" y="1016"/>
                  </a:cubicBezTo>
                  <a:cubicBezTo>
                    <a:pt x="24" y="1016"/>
                    <a:pt x="23" y="1018"/>
                    <a:pt x="22" y="1019"/>
                  </a:cubicBezTo>
                  <a:cubicBezTo>
                    <a:pt x="21" y="1019"/>
                    <a:pt x="20" y="1022"/>
                    <a:pt x="19" y="1023"/>
                  </a:cubicBezTo>
                  <a:cubicBezTo>
                    <a:pt x="19" y="1024"/>
                    <a:pt x="19" y="1025"/>
                    <a:pt x="19" y="1027"/>
                  </a:cubicBezTo>
                  <a:cubicBezTo>
                    <a:pt x="18" y="1029"/>
                    <a:pt x="18" y="1031"/>
                    <a:pt x="17" y="1032"/>
                  </a:cubicBezTo>
                  <a:cubicBezTo>
                    <a:pt x="16" y="1034"/>
                    <a:pt x="14" y="1041"/>
                    <a:pt x="11" y="1043"/>
                  </a:cubicBezTo>
                  <a:cubicBezTo>
                    <a:pt x="9" y="1045"/>
                    <a:pt x="8" y="1046"/>
                    <a:pt x="7" y="1048"/>
                  </a:cubicBezTo>
                  <a:cubicBezTo>
                    <a:pt x="6" y="1049"/>
                    <a:pt x="5" y="1050"/>
                    <a:pt x="5" y="1051"/>
                  </a:cubicBezTo>
                  <a:cubicBezTo>
                    <a:pt x="5" y="1052"/>
                    <a:pt x="4" y="1056"/>
                    <a:pt x="3" y="1059"/>
                  </a:cubicBezTo>
                  <a:cubicBezTo>
                    <a:pt x="3" y="1059"/>
                    <a:pt x="3" y="1060"/>
                    <a:pt x="3" y="1061"/>
                  </a:cubicBezTo>
                  <a:cubicBezTo>
                    <a:pt x="1" y="1064"/>
                    <a:pt x="2" y="1066"/>
                    <a:pt x="3" y="1066"/>
                  </a:cubicBezTo>
                  <a:cubicBezTo>
                    <a:pt x="3" y="1067"/>
                    <a:pt x="4" y="1067"/>
                    <a:pt x="6" y="1065"/>
                  </a:cubicBezTo>
                  <a:cubicBezTo>
                    <a:pt x="8" y="1064"/>
                    <a:pt x="11" y="1071"/>
                    <a:pt x="12" y="1071"/>
                  </a:cubicBezTo>
                  <a:cubicBezTo>
                    <a:pt x="12" y="1071"/>
                    <a:pt x="16" y="1080"/>
                    <a:pt x="16" y="1080"/>
                  </a:cubicBezTo>
                  <a:cubicBezTo>
                    <a:pt x="16" y="1081"/>
                    <a:pt x="15" y="1083"/>
                    <a:pt x="13" y="1084"/>
                  </a:cubicBezTo>
                  <a:cubicBezTo>
                    <a:pt x="12" y="1086"/>
                    <a:pt x="12" y="1088"/>
                    <a:pt x="12" y="1088"/>
                  </a:cubicBezTo>
                  <a:cubicBezTo>
                    <a:pt x="12" y="1088"/>
                    <a:pt x="13" y="1090"/>
                    <a:pt x="14" y="1091"/>
                  </a:cubicBezTo>
                  <a:cubicBezTo>
                    <a:pt x="15" y="1092"/>
                    <a:pt x="15" y="1094"/>
                    <a:pt x="15" y="1094"/>
                  </a:cubicBezTo>
                  <a:cubicBezTo>
                    <a:pt x="17" y="1100"/>
                    <a:pt x="17" y="1100"/>
                    <a:pt x="17" y="1100"/>
                  </a:cubicBezTo>
                  <a:cubicBezTo>
                    <a:pt x="17" y="1100"/>
                    <a:pt x="19" y="1107"/>
                    <a:pt x="19" y="1107"/>
                  </a:cubicBezTo>
                  <a:cubicBezTo>
                    <a:pt x="19" y="1108"/>
                    <a:pt x="16" y="1111"/>
                    <a:pt x="16" y="1111"/>
                  </a:cubicBezTo>
                  <a:cubicBezTo>
                    <a:pt x="16" y="1111"/>
                    <a:pt x="13" y="1115"/>
                    <a:pt x="13" y="1119"/>
                  </a:cubicBezTo>
                  <a:cubicBezTo>
                    <a:pt x="13" y="1124"/>
                    <a:pt x="13" y="1125"/>
                    <a:pt x="12" y="1126"/>
                  </a:cubicBezTo>
                  <a:cubicBezTo>
                    <a:pt x="12" y="1126"/>
                    <a:pt x="12" y="1126"/>
                    <a:pt x="11" y="1127"/>
                  </a:cubicBezTo>
                  <a:cubicBezTo>
                    <a:pt x="11" y="1128"/>
                    <a:pt x="11" y="1130"/>
                    <a:pt x="11" y="1130"/>
                  </a:cubicBezTo>
                  <a:cubicBezTo>
                    <a:pt x="11" y="1130"/>
                    <a:pt x="10" y="1136"/>
                    <a:pt x="9" y="1137"/>
                  </a:cubicBezTo>
                  <a:cubicBezTo>
                    <a:pt x="7" y="1138"/>
                    <a:pt x="8" y="1140"/>
                    <a:pt x="8" y="1141"/>
                  </a:cubicBezTo>
                  <a:cubicBezTo>
                    <a:pt x="7" y="1141"/>
                    <a:pt x="4" y="1145"/>
                    <a:pt x="2" y="1146"/>
                  </a:cubicBezTo>
                  <a:cubicBezTo>
                    <a:pt x="1" y="1147"/>
                    <a:pt x="0" y="1150"/>
                    <a:pt x="1" y="1150"/>
                  </a:cubicBezTo>
                  <a:cubicBezTo>
                    <a:pt x="2" y="1150"/>
                    <a:pt x="3" y="1154"/>
                    <a:pt x="4" y="1155"/>
                  </a:cubicBezTo>
                  <a:cubicBezTo>
                    <a:pt x="5" y="1155"/>
                    <a:pt x="5" y="1158"/>
                    <a:pt x="6" y="1158"/>
                  </a:cubicBezTo>
                  <a:cubicBezTo>
                    <a:pt x="7" y="1158"/>
                    <a:pt x="10" y="1162"/>
                    <a:pt x="10" y="1162"/>
                  </a:cubicBezTo>
                  <a:cubicBezTo>
                    <a:pt x="10" y="1162"/>
                    <a:pt x="10" y="1167"/>
                    <a:pt x="10" y="1167"/>
                  </a:cubicBezTo>
                  <a:cubicBezTo>
                    <a:pt x="11" y="1167"/>
                    <a:pt x="10" y="1168"/>
                    <a:pt x="9" y="1169"/>
                  </a:cubicBezTo>
                  <a:cubicBezTo>
                    <a:pt x="8" y="1171"/>
                    <a:pt x="8" y="1172"/>
                    <a:pt x="7" y="1173"/>
                  </a:cubicBezTo>
                  <a:cubicBezTo>
                    <a:pt x="7" y="1174"/>
                    <a:pt x="8" y="1176"/>
                    <a:pt x="8" y="1176"/>
                  </a:cubicBezTo>
                  <a:cubicBezTo>
                    <a:pt x="8" y="1180"/>
                    <a:pt x="8" y="1180"/>
                    <a:pt x="8" y="1180"/>
                  </a:cubicBezTo>
                  <a:cubicBezTo>
                    <a:pt x="8" y="1180"/>
                    <a:pt x="8" y="1182"/>
                    <a:pt x="8" y="1183"/>
                  </a:cubicBezTo>
                  <a:cubicBezTo>
                    <a:pt x="8" y="1183"/>
                    <a:pt x="8" y="1183"/>
                    <a:pt x="9" y="1184"/>
                  </a:cubicBezTo>
                  <a:cubicBezTo>
                    <a:pt x="9" y="1185"/>
                    <a:pt x="10" y="1186"/>
                    <a:pt x="10" y="1186"/>
                  </a:cubicBezTo>
                  <a:cubicBezTo>
                    <a:pt x="10" y="1186"/>
                    <a:pt x="12" y="1187"/>
                    <a:pt x="13" y="1187"/>
                  </a:cubicBezTo>
                  <a:cubicBezTo>
                    <a:pt x="13" y="1187"/>
                    <a:pt x="13" y="1189"/>
                    <a:pt x="13" y="1189"/>
                  </a:cubicBezTo>
                  <a:cubicBezTo>
                    <a:pt x="14" y="1190"/>
                    <a:pt x="16" y="1191"/>
                    <a:pt x="17" y="1191"/>
                  </a:cubicBezTo>
                  <a:cubicBezTo>
                    <a:pt x="17" y="1190"/>
                    <a:pt x="18" y="1191"/>
                    <a:pt x="19" y="1190"/>
                  </a:cubicBezTo>
                  <a:cubicBezTo>
                    <a:pt x="20" y="1189"/>
                    <a:pt x="23" y="1191"/>
                    <a:pt x="24" y="1190"/>
                  </a:cubicBezTo>
                  <a:cubicBezTo>
                    <a:pt x="25" y="1190"/>
                    <a:pt x="27" y="1193"/>
                    <a:pt x="27" y="1193"/>
                  </a:cubicBezTo>
                  <a:cubicBezTo>
                    <a:pt x="27" y="1196"/>
                    <a:pt x="27" y="1196"/>
                    <a:pt x="27" y="1196"/>
                  </a:cubicBezTo>
                  <a:cubicBezTo>
                    <a:pt x="27" y="1196"/>
                    <a:pt x="27" y="1199"/>
                    <a:pt x="27" y="1199"/>
                  </a:cubicBezTo>
                  <a:cubicBezTo>
                    <a:pt x="27" y="1200"/>
                    <a:pt x="28" y="1201"/>
                    <a:pt x="29" y="1201"/>
                  </a:cubicBezTo>
                  <a:cubicBezTo>
                    <a:pt x="29" y="1201"/>
                    <a:pt x="30" y="1203"/>
                    <a:pt x="32" y="1204"/>
                  </a:cubicBezTo>
                  <a:cubicBezTo>
                    <a:pt x="32" y="1205"/>
                    <a:pt x="33" y="1205"/>
                    <a:pt x="33" y="1205"/>
                  </a:cubicBezTo>
                  <a:cubicBezTo>
                    <a:pt x="33" y="1205"/>
                    <a:pt x="34" y="1208"/>
                    <a:pt x="35" y="1209"/>
                  </a:cubicBezTo>
                  <a:cubicBezTo>
                    <a:pt x="36" y="1210"/>
                    <a:pt x="38" y="1212"/>
                    <a:pt x="39" y="1213"/>
                  </a:cubicBezTo>
                  <a:cubicBezTo>
                    <a:pt x="40" y="1213"/>
                    <a:pt x="42" y="1214"/>
                    <a:pt x="42" y="1214"/>
                  </a:cubicBezTo>
                  <a:cubicBezTo>
                    <a:pt x="42" y="1214"/>
                    <a:pt x="47" y="1219"/>
                    <a:pt x="53" y="1227"/>
                  </a:cubicBezTo>
                  <a:cubicBezTo>
                    <a:pt x="54" y="1229"/>
                    <a:pt x="55" y="1231"/>
                    <a:pt x="55" y="1231"/>
                  </a:cubicBezTo>
                  <a:cubicBezTo>
                    <a:pt x="55" y="1231"/>
                    <a:pt x="55" y="1231"/>
                    <a:pt x="55" y="1231"/>
                  </a:cubicBezTo>
                  <a:cubicBezTo>
                    <a:pt x="56" y="1232"/>
                    <a:pt x="58" y="1235"/>
                    <a:pt x="58" y="1236"/>
                  </a:cubicBezTo>
                  <a:cubicBezTo>
                    <a:pt x="59" y="1236"/>
                    <a:pt x="61" y="1241"/>
                    <a:pt x="61" y="1243"/>
                  </a:cubicBezTo>
                  <a:cubicBezTo>
                    <a:pt x="61" y="1244"/>
                    <a:pt x="61" y="1247"/>
                    <a:pt x="61" y="1247"/>
                  </a:cubicBezTo>
                  <a:cubicBezTo>
                    <a:pt x="62" y="1249"/>
                    <a:pt x="62" y="1249"/>
                    <a:pt x="62" y="1249"/>
                  </a:cubicBezTo>
                  <a:cubicBezTo>
                    <a:pt x="62" y="1249"/>
                    <a:pt x="65" y="1249"/>
                    <a:pt x="66" y="1249"/>
                  </a:cubicBezTo>
                  <a:cubicBezTo>
                    <a:pt x="67" y="1249"/>
                    <a:pt x="67" y="1251"/>
                    <a:pt x="68" y="1252"/>
                  </a:cubicBezTo>
                  <a:cubicBezTo>
                    <a:pt x="68" y="1252"/>
                    <a:pt x="72" y="1254"/>
                    <a:pt x="73" y="1254"/>
                  </a:cubicBezTo>
                  <a:cubicBezTo>
                    <a:pt x="73" y="1254"/>
                    <a:pt x="74" y="1258"/>
                    <a:pt x="76" y="1260"/>
                  </a:cubicBezTo>
                  <a:cubicBezTo>
                    <a:pt x="77" y="1260"/>
                    <a:pt x="77" y="1260"/>
                    <a:pt x="77" y="1260"/>
                  </a:cubicBezTo>
                  <a:cubicBezTo>
                    <a:pt x="79" y="1261"/>
                    <a:pt x="82" y="1262"/>
                    <a:pt x="82" y="1262"/>
                  </a:cubicBezTo>
                  <a:cubicBezTo>
                    <a:pt x="82" y="1262"/>
                    <a:pt x="89" y="1264"/>
                    <a:pt x="91" y="1267"/>
                  </a:cubicBezTo>
                  <a:cubicBezTo>
                    <a:pt x="92" y="1270"/>
                    <a:pt x="95" y="1272"/>
                    <a:pt x="96" y="1273"/>
                  </a:cubicBezTo>
                  <a:cubicBezTo>
                    <a:pt x="98" y="1274"/>
                    <a:pt x="100" y="1276"/>
                    <a:pt x="100" y="1277"/>
                  </a:cubicBezTo>
                  <a:cubicBezTo>
                    <a:pt x="101" y="1278"/>
                    <a:pt x="104" y="1279"/>
                    <a:pt x="104" y="1279"/>
                  </a:cubicBezTo>
                  <a:cubicBezTo>
                    <a:pt x="104" y="1279"/>
                    <a:pt x="108" y="1281"/>
                    <a:pt x="108" y="1282"/>
                  </a:cubicBezTo>
                  <a:cubicBezTo>
                    <a:pt x="108" y="1283"/>
                    <a:pt x="111" y="1285"/>
                    <a:pt x="111" y="1285"/>
                  </a:cubicBezTo>
                  <a:cubicBezTo>
                    <a:pt x="112" y="1285"/>
                    <a:pt x="115" y="1288"/>
                    <a:pt x="116" y="1288"/>
                  </a:cubicBezTo>
                  <a:cubicBezTo>
                    <a:pt x="116" y="1289"/>
                    <a:pt x="120" y="1290"/>
                    <a:pt x="122" y="1290"/>
                  </a:cubicBezTo>
                  <a:cubicBezTo>
                    <a:pt x="123" y="1291"/>
                    <a:pt x="128" y="1293"/>
                    <a:pt x="129" y="1293"/>
                  </a:cubicBezTo>
                  <a:cubicBezTo>
                    <a:pt x="130" y="1293"/>
                    <a:pt x="134" y="1294"/>
                    <a:pt x="134" y="1294"/>
                  </a:cubicBezTo>
                  <a:cubicBezTo>
                    <a:pt x="134" y="1294"/>
                    <a:pt x="134" y="1294"/>
                    <a:pt x="134" y="1294"/>
                  </a:cubicBezTo>
                  <a:cubicBezTo>
                    <a:pt x="139" y="1291"/>
                    <a:pt x="141" y="1290"/>
                    <a:pt x="144" y="1288"/>
                  </a:cubicBezTo>
                  <a:cubicBezTo>
                    <a:pt x="146" y="1285"/>
                    <a:pt x="146" y="1287"/>
                    <a:pt x="147" y="1286"/>
                  </a:cubicBezTo>
                  <a:cubicBezTo>
                    <a:pt x="149" y="1286"/>
                    <a:pt x="152" y="1286"/>
                    <a:pt x="155" y="1284"/>
                  </a:cubicBezTo>
                  <a:cubicBezTo>
                    <a:pt x="158" y="1282"/>
                    <a:pt x="159" y="1283"/>
                    <a:pt x="163" y="1282"/>
                  </a:cubicBezTo>
                  <a:cubicBezTo>
                    <a:pt x="167" y="1281"/>
                    <a:pt x="169" y="1282"/>
                    <a:pt x="171" y="1282"/>
                  </a:cubicBezTo>
                  <a:cubicBezTo>
                    <a:pt x="173" y="1281"/>
                    <a:pt x="181" y="1282"/>
                    <a:pt x="185" y="1281"/>
                  </a:cubicBezTo>
                  <a:cubicBezTo>
                    <a:pt x="188" y="1280"/>
                    <a:pt x="189" y="1281"/>
                    <a:pt x="191" y="1281"/>
                  </a:cubicBezTo>
                  <a:cubicBezTo>
                    <a:pt x="191" y="1282"/>
                    <a:pt x="192" y="1282"/>
                    <a:pt x="193" y="1282"/>
                  </a:cubicBezTo>
                  <a:cubicBezTo>
                    <a:pt x="195" y="1282"/>
                    <a:pt x="197" y="1283"/>
                    <a:pt x="200" y="1283"/>
                  </a:cubicBezTo>
                  <a:cubicBezTo>
                    <a:pt x="204" y="1284"/>
                    <a:pt x="204" y="1288"/>
                    <a:pt x="205" y="1289"/>
                  </a:cubicBezTo>
                  <a:cubicBezTo>
                    <a:pt x="206" y="1290"/>
                    <a:pt x="207" y="1289"/>
                    <a:pt x="207" y="1289"/>
                  </a:cubicBezTo>
                  <a:cubicBezTo>
                    <a:pt x="207" y="1289"/>
                    <a:pt x="211" y="1286"/>
                    <a:pt x="215" y="1284"/>
                  </a:cubicBezTo>
                  <a:cubicBezTo>
                    <a:pt x="218" y="1283"/>
                    <a:pt x="220" y="1282"/>
                    <a:pt x="222" y="1281"/>
                  </a:cubicBezTo>
                  <a:cubicBezTo>
                    <a:pt x="224" y="1279"/>
                    <a:pt x="224" y="1278"/>
                    <a:pt x="225" y="1278"/>
                  </a:cubicBezTo>
                  <a:cubicBezTo>
                    <a:pt x="226" y="1278"/>
                    <a:pt x="227" y="1278"/>
                    <a:pt x="231" y="1278"/>
                  </a:cubicBezTo>
                  <a:cubicBezTo>
                    <a:pt x="234" y="1277"/>
                    <a:pt x="234" y="1277"/>
                    <a:pt x="236" y="1277"/>
                  </a:cubicBezTo>
                  <a:cubicBezTo>
                    <a:pt x="237" y="1276"/>
                    <a:pt x="238" y="1275"/>
                    <a:pt x="240" y="1274"/>
                  </a:cubicBezTo>
                  <a:cubicBezTo>
                    <a:pt x="241" y="1274"/>
                    <a:pt x="241" y="1274"/>
                    <a:pt x="241" y="1274"/>
                  </a:cubicBezTo>
                  <a:cubicBezTo>
                    <a:pt x="242" y="1273"/>
                    <a:pt x="243" y="1272"/>
                    <a:pt x="245" y="1272"/>
                  </a:cubicBezTo>
                  <a:cubicBezTo>
                    <a:pt x="247" y="1272"/>
                    <a:pt x="250" y="1270"/>
                    <a:pt x="252" y="1269"/>
                  </a:cubicBezTo>
                  <a:cubicBezTo>
                    <a:pt x="254" y="1268"/>
                    <a:pt x="254" y="1268"/>
                    <a:pt x="256" y="1268"/>
                  </a:cubicBezTo>
                  <a:cubicBezTo>
                    <a:pt x="257" y="1268"/>
                    <a:pt x="257" y="1268"/>
                    <a:pt x="257" y="1268"/>
                  </a:cubicBezTo>
                  <a:cubicBezTo>
                    <a:pt x="259" y="1267"/>
                    <a:pt x="260" y="1267"/>
                    <a:pt x="260" y="1267"/>
                  </a:cubicBezTo>
                  <a:cubicBezTo>
                    <a:pt x="260" y="1267"/>
                    <a:pt x="269" y="1266"/>
                    <a:pt x="272" y="1264"/>
                  </a:cubicBezTo>
                  <a:cubicBezTo>
                    <a:pt x="274" y="1261"/>
                    <a:pt x="275" y="1265"/>
                    <a:pt x="275" y="1265"/>
                  </a:cubicBezTo>
                  <a:cubicBezTo>
                    <a:pt x="275" y="1265"/>
                    <a:pt x="276" y="1265"/>
                    <a:pt x="277" y="1265"/>
                  </a:cubicBezTo>
                  <a:cubicBezTo>
                    <a:pt x="278" y="1264"/>
                    <a:pt x="280" y="1264"/>
                    <a:pt x="281" y="1264"/>
                  </a:cubicBezTo>
                  <a:cubicBezTo>
                    <a:pt x="285" y="1264"/>
                    <a:pt x="288" y="1263"/>
                    <a:pt x="291" y="1264"/>
                  </a:cubicBezTo>
                  <a:cubicBezTo>
                    <a:pt x="295" y="1265"/>
                    <a:pt x="294" y="1268"/>
                    <a:pt x="296" y="1268"/>
                  </a:cubicBezTo>
                  <a:cubicBezTo>
                    <a:pt x="298" y="1269"/>
                    <a:pt x="299" y="1272"/>
                    <a:pt x="302" y="1272"/>
                  </a:cubicBezTo>
                  <a:cubicBezTo>
                    <a:pt x="305" y="1271"/>
                    <a:pt x="305" y="1276"/>
                    <a:pt x="306" y="1276"/>
                  </a:cubicBezTo>
                  <a:cubicBezTo>
                    <a:pt x="308" y="1277"/>
                    <a:pt x="306" y="1281"/>
                    <a:pt x="307" y="1283"/>
                  </a:cubicBezTo>
                  <a:cubicBezTo>
                    <a:pt x="307" y="1285"/>
                    <a:pt x="308" y="1288"/>
                    <a:pt x="311" y="1289"/>
                  </a:cubicBezTo>
                  <a:cubicBezTo>
                    <a:pt x="313" y="1290"/>
                    <a:pt x="314" y="1292"/>
                    <a:pt x="315" y="1291"/>
                  </a:cubicBezTo>
                  <a:cubicBezTo>
                    <a:pt x="316" y="1291"/>
                    <a:pt x="325" y="1291"/>
                    <a:pt x="328" y="1292"/>
                  </a:cubicBezTo>
                  <a:cubicBezTo>
                    <a:pt x="331" y="1292"/>
                    <a:pt x="333" y="1292"/>
                    <a:pt x="334" y="1291"/>
                  </a:cubicBezTo>
                  <a:cubicBezTo>
                    <a:pt x="336" y="1291"/>
                    <a:pt x="339" y="1290"/>
                    <a:pt x="341" y="1289"/>
                  </a:cubicBezTo>
                  <a:cubicBezTo>
                    <a:pt x="342" y="1288"/>
                    <a:pt x="346" y="1286"/>
                    <a:pt x="349" y="1286"/>
                  </a:cubicBezTo>
                  <a:cubicBezTo>
                    <a:pt x="351" y="1285"/>
                    <a:pt x="348" y="1287"/>
                    <a:pt x="348" y="1289"/>
                  </a:cubicBezTo>
                  <a:cubicBezTo>
                    <a:pt x="348" y="1290"/>
                    <a:pt x="348" y="1290"/>
                    <a:pt x="348" y="1291"/>
                  </a:cubicBezTo>
                  <a:cubicBezTo>
                    <a:pt x="348" y="1292"/>
                    <a:pt x="349" y="1293"/>
                    <a:pt x="350" y="1294"/>
                  </a:cubicBezTo>
                  <a:cubicBezTo>
                    <a:pt x="351" y="1295"/>
                    <a:pt x="352" y="1297"/>
                    <a:pt x="353" y="1298"/>
                  </a:cubicBezTo>
                  <a:cubicBezTo>
                    <a:pt x="355" y="1298"/>
                    <a:pt x="357" y="1296"/>
                    <a:pt x="358" y="1295"/>
                  </a:cubicBezTo>
                  <a:cubicBezTo>
                    <a:pt x="360" y="1295"/>
                    <a:pt x="361" y="1299"/>
                    <a:pt x="362" y="1299"/>
                  </a:cubicBezTo>
                  <a:cubicBezTo>
                    <a:pt x="363" y="1300"/>
                    <a:pt x="365" y="1307"/>
                    <a:pt x="366" y="1307"/>
                  </a:cubicBezTo>
                  <a:cubicBezTo>
                    <a:pt x="367" y="1308"/>
                    <a:pt x="366" y="1317"/>
                    <a:pt x="366" y="1317"/>
                  </a:cubicBezTo>
                  <a:cubicBezTo>
                    <a:pt x="367" y="1317"/>
                    <a:pt x="365" y="1321"/>
                    <a:pt x="363" y="1322"/>
                  </a:cubicBezTo>
                  <a:cubicBezTo>
                    <a:pt x="363" y="1323"/>
                    <a:pt x="363" y="1323"/>
                    <a:pt x="363" y="1323"/>
                  </a:cubicBezTo>
                  <a:cubicBezTo>
                    <a:pt x="362" y="1324"/>
                    <a:pt x="361" y="1326"/>
                    <a:pt x="362" y="1328"/>
                  </a:cubicBezTo>
                  <a:cubicBezTo>
                    <a:pt x="363" y="1330"/>
                    <a:pt x="362" y="1332"/>
                    <a:pt x="362" y="1335"/>
                  </a:cubicBezTo>
                  <a:cubicBezTo>
                    <a:pt x="363" y="1339"/>
                    <a:pt x="362" y="1340"/>
                    <a:pt x="362" y="1344"/>
                  </a:cubicBezTo>
                  <a:cubicBezTo>
                    <a:pt x="363" y="1348"/>
                    <a:pt x="359" y="1348"/>
                    <a:pt x="357" y="1350"/>
                  </a:cubicBezTo>
                  <a:cubicBezTo>
                    <a:pt x="356" y="1352"/>
                    <a:pt x="356" y="1357"/>
                    <a:pt x="356" y="1360"/>
                  </a:cubicBezTo>
                  <a:cubicBezTo>
                    <a:pt x="356" y="1362"/>
                    <a:pt x="356" y="1367"/>
                    <a:pt x="356" y="1368"/>
                  </a:cubicBezTo>
                  <a:cubicBezTo>
                    <a:pt x="356" y="1370"/>
                    <a:pt x="359" y="1377"/>
                    <a:pt x="361" y="1377"/>
                  </a:cubicBezTo>
                  <a:cubicBezTo>
                    <a:pt x="363" y="1377"/>
                    <a:pt x="364" y="1383"/>
                    <a:pt x="365" y="1382"/>
                  </a:cubicBezTo>
                  <a:cubicBezTo>
                    <a:pt x="366" y="1382"/>
                    <a:pt x="374" y="1391"/>
                    <a:pt x="379" y="1399"/>
                  </a:cubicBezTo>
                  <a:cubicBezTo>
                    <a:pt x="381" y="1402"/>
                    <a:pt x="383" y="1405"/>
                    <a:pt x="384" y="1406"/>
                  </a:cubicBezTo>
                  <a:cubicBezTo>
                    <a:pt x="385" y="1408"/>
                    <a:pt x="386" y="1408"/>
                    <a:pt x="387" y="1408"/>
                  </a:cubicBezTo>
                  <a:cubicBezTo>
                    <a:pt x="389" y="1409"/>
                    <a:pt x="392" y="1415"/>
                    <a:pt x="395" y="1418"/>
                  </a:cubicBezTo>
                  <a:cubicBezTo>
                    <a:pt x="396" y="1419"/>
                    <a:pt x="396" y="1419"/>
                    <a:pt x="396" y="1419"/>
                  </a:cubicBezTo>
                  <a:cubicBezTo>
                    <a:pt x="399" y="1422"/>
                    <a:pt x="399" y="1427"/>
                    <a:pt x="399" y="1428"/>
                  </a:cubicBezTo>
                  <a:cubicBezTo>
                    <a:pt x="399" y="1429"/>
                    <a:pt x="399" y="1430"/>
                    <a:pt x="399" y="1431"/>
                  </a:cubicBezTo>
                  <a:cubicBezTo>
                    <a:pt x="399" y="1433"/>
                    <a:pt x="399" y="1434"/>
                    <a:pt x="399" y="1435"/>
                  </a:cubicBezTo>
                  <a:cubicBezTo>
                    <a:pt x="399" y="1437"/>
                    <a:pt x="401" y="1440"/>
                    <a:pt x="403" y="1443"/>
                  </a:cubicBezTo>
                  <a:cubicBezTo>
                    <a:pt x="405" y="1445"/>
                    <a:pt x="406" y="1450"/>
                    <a:pt x="409" y="1453"/>
                  </a:cubicBezTo>
                  <a:cubicBezTo>
                    <a:pt x="411" y="1455"/>
                    <a:pt x="411" y="1459"/>
                    <a:pt x="414" y="1461"/>
                  </a:cubicBezTo>
                  <a:cubicBezTo>
                    <a:pt x="416" y="1463"/>
                    <a:pt x="413" y="1466"/>
                    <a:pt x="412" y="1468"/>
                  </a:cubicBezTo>
                  <a:cubicBezTo>
                    <a:pt x="411" y="1470"/>
                    <a:pt x="408" y="1473"/>
                    <a:pt x="408" y="1474"/>
                  </a:cubicBezTo>
                  <a:cubicBezTo>
                    <a:pt x="408" y="1474"/>
                    <a:pt x="410" y="1479"/>
                    <a:pt x="413" y="1484"/>
                  </a:cubicBezTo>
                  <a:cubicBezTo>
                    <a:pt x="415" y="1488"/>
                    <a:pt x="416" y="1494"/>
                    <a:pt x="418" y="1497"/>
                  </a:cubicBezTo>
                  <a:cubicBezTo>
                    <a:pt x="421" y="1500"/>
                    <a:pt x="419" y="1503"/>
                    <a:pt x="419" y="1504"/>
                  </a:cubicBezTo>
                  <a:cubicBezTo>
                    <a:pt x="419" y="1505"/>
                    <a:pt x="420" y="1508"/>
                    <a:pt x="420" y="1510"/>
                  </a:cubicBezTo>
                  <a:cubicBezTo>
                    <a:pt x="420" y="1511"/>
                    <a:pt x="418" y="1516"/>
                    <a:pt x="418" y="1516"/>
                  </a:cubicBezTo>
                  <a:cubicBezTo>
                    <a:pt x="418" y="1516"/>
                    <a:pt x="416" y="1519"/>
                    <a:pt x="416" y="1520"/>
                  </a:cubicBezTo>
                  <a:cubicBezTo>
                    <a:pt x="415" y="1521"/>
                    <a:pt x="413" y="1522"/>
                    <a:pt x="411" y="1523"/>
                  </a:cubicBezTo>
                  <a:cubicBezTo>
                    <a:pt x="409" y="1524"/>
                    <a:pt x="407" y="1526"/>
                    <a:pt x="406" y="1528"/>
                  </a:cubicBezTo>
                  <a:cubicBezTo>
                    <a:pt x="404" y="1530"/>
                    <a:pt x="403" y="1533"/>
                    <a:pt x="404" y="1535"/>
                  </a:cubicBezTo>
                  <a:cubicBezTo>
                    <a:pt x="404" y="1536"/>
                    <a:pt x="401" y="1539"/>
                    <a:pt x="401" y="1540"/>
                  </a:cubicBezTo>
                  <a:cubicBezTo>
                    <a:pt x="400" y="1540"/>
                    <a:pt x="398" y="1547"/>
                    <a:pt x="398" y="1549"/>
                  </a:cubicBezTo>
                  <a:cubicBezTo>
                    <a:pt x="399" y="1551"/>
                    <a:pt x="397" y="1556"/>
                    <a:pt x="397" y="1557"/>
                  </a:cubicBezTo>
                  <a:cubicBezTo>
                    <a:pt x="397" y="1557"/>
                    <a:pt x="395" y="1563"/>
                    <a:pt x="395" y="1564"/>
                  </a:cubicBezTo>
                  <a:cubicBezTo>
                    <a:pt x="394" y="1564"/>
                    <a:pt x="394" y="1566"/>
                    <a:pt x="393" y="1568"/>
                  </a:cubicBezTo>
                  <a:cubicBezTo>
                    <a:pt x="393" y="1570"/>
                    <a:pt x="392" y="1574"/>
                    <a:pt x="392" y="1574"/>
                  </a:cubicBezTo>
                  <a:cubicBezTo>
                    <a:pt x="392" y="1584"/>
                    <a:pt x="392" y="1584"/>
                    <a:pt x="392" y="1584"/>
                  </a:cubicBezTo>
                  <a:cubicBezTo>
                    <a:pt x="392" y="1584"/>
                    <a:pt x="391" y="1585"/>
                    <a:pt x="391" y="1586"/>
                  </a:cubicBezTo>
                  <a:cubicBezTo>
                    <a:pt x="391" y="1590"/>
                    <a:pt x="390" y="1599"/>
                    <a:pt x="392" y="1602"/>
                  </a:cubicBezTo>
                  <a:cubicBezTo>
                    <a:pt x="394" y="1605"/>
                    <a:pt x="393" y="1606"/>
                    <a:pt x="394" y="1607"/>
                  </a:cubicBezTo>
                  <a:cubicBezTo>
                    <a:pt x="395" y="1608"/>
                    <a:pt x="396" y="1610"/>
                    <a:pt x="398" y="1610"/>
                  </a:cubicBezTo>
                  <a:cubicBezTo>
                    <a:pt x="400" y="1610"/>
                    <a:pt x="400" y="1614"/>
                    <a:pt x="401" y="1614"/>
                  </a:cubicBezTo>
                  <a:cubicBezTo>
                    <a:pt x="403" y="1615"/>
                    <a:pt x="405" y="1619"/>
                    <a:pt x="406" y="1620"/>
                  </a:cubicBezTo>
                  <a:cubicBezTo>
                    <a:pt x="407" y="1620"/>
                    <a:pt x="408" y="1626"/>
                    <a:pt x="408" y="1626"/>
                  </a:cubicBezTo>
                  <a:cubicBezTo>
                    <a:pt x="408" y="1626"/>
                    <a:pt x="410" y="1631"/>
                    <a:pt x="411" y="1631"/>
                  </a:cubicBezTo>
                  <a:cubicBezTo>
                    <a:pt x="412" y="1631"/>
                    <a:pt x="415" y="1641"/>
                    <a:pt x="415" y="1641"/>
                  </a:cubicBezTo>
                  <a:cubicBezTo>
                    <a:pt x="416" y="1645"/>
                    <a:pt x="416" y="1645"/>
                    <a:pt x="416" y="1645"/>
                  </a:cubicBezTo>
                  <a:cubicBezTo>
                    <a:pt x="416" y="1645"/>
                    <a:pt x="418" y="1646"/>
                    <a:pt x="418" y="1647"/>
                  </a:cubicBezTo>
                  <a:cubicBezTo>
                    <a:pt x="419" y="1648"/>
                    <a:pt x="419" y="1649"/>
                    <a:pt x="420" y="1650"/>
                  </a:cubicBezTo>
                  <a:cubicBezTo>
                    <a:pt x="422" y="1650"/>
                    <a:pt x="422" y="1652"/>
                    <a:pt x="425" y="1655"/>
                  </a:cubicBezTo>
                  <a:cubicBezTo>
                    <a:pt x="428" y="1658"/>
                    <a:pt x="428" y="1659"/>
                    <a:pt x="428" y="1660"/>
                  </a:cubicBezTo>
                  <a:cubicBezTo>
                    <a:pt x="429" y="1662"/>
                    <a:pt x="429" y="1665"/>
                    <a:pt x="429" y="1666"/>
                  </a:cubicBezTo>
                  <a:cubicBezTo>
                    <a:pt x="429" y="1667"/>
                    <a:pt x="430" y="1671"/>
                    <a:pt x="430" y="1671"/>
                  </a:cubicBezTo>
                  <a:cubicBezTo>
                    <a:pt x="430" y="1671"/>
                    <a:pt x="427" y="1680"/>
                    <a:pt x="427" y="1681"/>
                  </a:cubicBezTo>
                  <a:cubicBezTo>
                    <a:pt x="426" y="1682"/>
                    <a:pt x="427" y="1684"/>
                    <a:pt x="428" y="1685"/>
                  </a:cubicBezTo>
                  <a:cubicBezTo>
                    <a:pt x="429" y="1686"/>
                    <a:pt x="429" y="1689"/>
                    <a:pt x="430" y="1689"/>
                  </a:cubicBezTo>
                  <a:cubicBezTo>
                    <a:pt x="431" y="1690"/>
                    <a:pt x="431" y="1693"/>
                    <a:pt x="432" y="1693"/>
                  </a:cubicBezTo>
                  <a:cubicBezTo>
                    <a:pt x="433" y="1693"/>
                    <a:pt x="433" y="1699"/>
                    <a:pt x="434" y="1702"/>
                  </a:cubicBezTo>
                  <a:cubicBezTo>
                    <a:pt x="434" y="1705"/>
                    <a:pt x="433" y="1706"/>
                    <a:pt x="432" y="1706"/>
                  </a:cubicBezTo>
                  <a:cubicBezTo>
                    <a:pt x="432" y="1707"/>
                    <a:pt x="432" y="1708"/>
                    <a:pt x="432" y="1710"/>
                  </a:cubicBezTo>
                  <a:cubicBezTo>
                    <a:pt x="433" y="1712"/>
                    <a:pt x="433" y="1713"/>
                    <a:pt x="435" y="1720"/>
                  </a:cubicBezTo>
                  <a:cubicBezTo>
                    <a:pt x="437" y="1727"/>
                    <a:pt x="437" y="1726"/>
                    <a:pt x="438" y="1727"/>
                  </a:cubicBezTo>
                  <a:cubicBezTo>
                    <a:pt x="440" y="1728"/>
                    <a:pt x="439" y="1733"/>
                    <a:pt x="440" y="1732"/>
                  </a:cubicBezTo>
                  <a:cubicBezTo>
                    <a:pt x="441" y="1732"/>
                    <a:pt x="447" y="1743"/>
                    <a:pt x="450" y="1748"/>
                  </a:cubicBezTo>
                  <a:cubicBezTo>
                    <a:pt x="453" y="1752"/>
                    <a:pt x="453" y="1751"/>
                    <a:pt x="454" y="1752"/>
                  </a:cubicBezTo>
                  <a:cubicBezTo>
                    <a:pt x="454" y="1753"/>
                    <a:pt x="454" y="1753"/>
                    <a:pt x="454" y="1753"/>
                  </a:cubicBezTo>
                  <a:cubicBezTo>
                    <a:pt x="456" y="1754"/>
                    <a:pt x="457" y="1757"/>
                    <a:pt x="458" y="1758"/>
                  </a:cubicBezTo>
                  <a:cubicBezTo>
                    <a:pt x="460" y="1760"/>
                    <a:pt x="461" y="1762"/>
                    <a:pt x="463" y="1762"/>
                  </a:cubicBezTo>
                  <a:cubicBezTo>
                    <a:pt x="465" y="1762"/>
                    <a:pt x="464" y="1767"/>
                    <a:pt x="464" y="1768"/>
                  </a:cubicBezTo>
                  <a:cubicBezTo>
                    <a:pt x="464" y="1770"/>
                    <a:pt x="465" y="1773"/>
                    <a:pt x="466" y="1774"/>
                  </a:cubicBezTo>
                  <a:cubicBezTo>
                    <a:pt x="466" y="1775"/>
                    <a:pt x="467" y="1779"/>
                    <a:pt x="466" y="1780"/>
                  </a:cubicBezTo>
                  <a:cubicBezTo>
                    <a:pt x="466" y="1781"/>
                    <a:pt x="468" y="1784"/>
                    <a:pt x="470" y="1786"/>
                  </a:cubicBezTo>
                  <a:cubicBezTo>
                    <a:pt x="472" y="1789"/>
                    <a:pt x="474" y="1789"/>
                    <a:pt x="475" y="1790"/>
                  </a:cubicBezTo>
                  <a:cubicBezTo>
                    <a:pt x="476" y="1791"/>
                    <a:pt x="476" y="1795"/>
                    <a:pt x="477" y="1796"/>
                  </a:cubicBezTo>
                  <a:cubicBezTo>
                    <a:pt x="478" y="1796"/>
                    <a:pt x="480" y="1799"/>
                    <a:pt x="480" y="1800"/>
                  </a:cubicBezTo>
                  <a:cubicBezTo>
                    <a:pt x="480" y="1801"/>
                    <a:pt x="480" y="1808"/>
                    <a:pt x="479" y="1810"/>
                  </a:cubicBezTo>
                  <a:cubicBezTo>
                    <a:pt x="479" y="1813"/>
                    <a:pt x="479" y="1810"/>
                    <a:pt x="477" y="1813"/>
                  </a:cubicBezTo>
                  <a:cubicBezTo>
                    <a:pt x="474" y="1815"/>
                    <a:pt x="474" y="1814"/>
                    <a:pt x="474" y="1814"/>
                  </a:cubicBezTo>
                  <a:cubicBezTo>
                    <a:pt x="474" y="1817"/>
                    <a:pt x="474" y="1817"/>
                    <a:pt x="474" y="1817"/>
                  </a:cubicBezTo>
                  <a:cubicBezTo>
                    <a:pt x="474" y="1817"/>
                    <a:pt x="476" y="1821"/>
                    <a:pt x="477" y="1820"/>
                  </a:cubicBezTo>
                  <a:cubicBezTo>
                    <a:pt x="478" y="1820"/>
                    <a:pt x="480" y="1826"/>
                    <a:pt x="480" y="1827"/>
                  </a:cubicBezTo>
                  <a:cubicBezTo>
                    <a:pt x="481" y="1828"/>
                    <a:pt x="480" y="1829"/>
                    <a:pt x="480" y="1829"/>
                  </a:cubicBezTo>
                  <a:cubicBezTo>
                    <a:pt x="480" y="1829"/>
                    <a:pt x="480" y="1832"/>
                    <a:pt x="480" y="1833"/>
                  </a:cubicBezTo>
                  <a:cubicBezTo>
                    <a:pt x="480" y="1835"/>
                    <a:pt x="482" y="1834"/>
                    <a:pt x="483" y="1834"/>
                  </a:cubicBezTo>
                  <a:cubicBezTo>
                    <a:pt x="483" y="1833"/>
                    <a:pt x="485" y="1835"/>
                    <a:pt x="486" y="1835"/>
                  </a:cubicBezTo>
                  <a:cubicBezTo>
                    <a:pt x="487" y="1836"/>
                    <a:pt x="488" y="1837"/>
                    <a:pt x="489" y="1837"/>
                  </a:cubicBezTo>
                  <a:cubicBezTo>
                    <a:pt x="490" y="1837"/>
                    <a:pt x="490" y="1839"/>
                    <a:pt x="490" y="1839"/>
                  </a:cubicBezTo>
                  <a:cubicBezTo>
                    <a:pt x="490" y="1839"/>
                    <a:pt x="492" y="1841"/>
                    <a:pt x="492" y="1841"/>
                  </a:cubicBezTo>
                  <a:cubicBezTo>
                    <a:pt x="493" y="1841"/>
                    <a:pt x="494" y="1843"/>
                    <a:pt x="497" y="1842"/>
                  </a:cubicBezTo>
                  <a:cubicBezTo>
                    <a:pt x="500" y="1841"/>
                    <a:pt x="501" y="1843"/>
                    <a:pt x="505" y="1844"/>
                  </a:cubicBezTo>
                  <a:cubicBezTo>
                    <a:pt x="507" y="1845"/>
                    <a:pt x="508" y="1842"/>
                    <a:pt x="509" y="1841"/>
                  </a:cubicBezTo>
                  <a:cubicBezTo>
                    <a:pt x="510" y="1840"/>
                    <a:pt x="511" y="1840"/>
                    <a:pt x="511" y="1840"/>
                  </a:cubicBezTo>
                  <a:cubicBezTo>
                    <a:pt x="516" y="1838"/>
                    <a:pt x="516" y="1838"/>
                    <a:pt x="516" y="1838"/>
                  </a:cubicBezTo>
                  <a:cubicBezTo>
                    <a:pt x="516" y="1838"/>
                    <a:pt x="518" y="1838"/>
                    <a:pt x="523" y="1838"/>
                  </a:cubicBezTo>
                  <a:cubicBezTo>
                    <a:pt x="527" y="1839"/>
                    <a:pt x="525" y="1837"/>
                    <a:pt x="526" y="1836"/>
                  </a:cubicBezTo>
                  <a:cubicBezTo>
                    <a:pt x="528" y="1835"/>
                    <a:pt x="528" y="1838"/>
                    <a:pt x="531" y="1836"/>
                  </a:cubicBezTo>
                  <a:cubicBezTo>
                    <a:pt x="533" y="1835"/>
                    <a:pt x="531" y="1836"/>
                    <a:pt x="534" y="1835"/>
                  </a:cubicBezTo>
                  <a:cubicBezTo>
                    <a:pt x="535" y="1834"/>
                    <a:pt x="534" y="1833"/>
                    <a:pt x="536" y="1832"/>
                  </a:cubicBezTo>
                  <a:cubicBezTo>
                    <a:pt x="538" y="1830"/>
                    <a:pt x="537" y="1832"/>
                    <a:pt x="540" y="1831"/>
                  </a:cubicBezTo>
                  <a:cubicBezTo>
                    <a:pt x="540" y="1831"/>
                    <a:pt x="541" y="1832"/>
                    <a:pt x="544" y="1833"/>
                  </a:cubicBezTo>
                  <a:cubicBezTo>
                    <a:pt x="544" y="1833"/>
                    <a:pt x="546" y="1833"/>
                    <a:pt x="548" y="1833"/>
                  </a:cubicBezTo>
                  <a:cubicBezTo>
                    <a:pt x="550" y="1832"/>
                    <a:pt x="550" y="1833"/>
                    <a:pt x="550" y="1832"/>
                  </a:cubicBezTo>
                  <a:cubicBezTo>
                    <a:pt x="551" y="1831"/>
                    <a:pt x="552" y="1832"/>
                    <a:pt x="553" y="1832"/>
                  </a:cubicBezTo>
                  <a:cubicBezTo>
                    <a:pt x="554" y="1832"/>
                    <a:pt x="555" y="1833"/>
                    <a:pt x="556" y="1833"/>
                  </a:cubicBezTo>
                  <a:cubicBezTo>
                    <a:pt x="558" y="1833"/>
                    <a:pt x="559" y="1833"/>
                    <a:pt x="561" y="1835"/>
                  </a:cubicBezTo>
                  <a:cubicBezTo>
                    <a:pt x="561" y="1835"/>
                    <a:pt x="566" y="1837"/>
                    <a:pt x="569" y="1836"/>
                  </a:cubicBezTo>
                  <a:cubicBezTo>
                    <a:pt x="569" y="1835"/>
                    <a:pt x="570" y="1834"/>
                    <a:pt x="570" y="1833"/>
                  </a:cubicBezTo>
                  <a:cubicBezTo>
                    <a:pt x="571" y="1832"/>
                    <a:pt x="572" y="1833"/>
                    <a:pt x="573" y="1832"/>
                  </a:cubicBezTo>
                  <a:cubicBezTo>
                    <a:pt x="573" y="1831"/>
                    <a:pt x="575" y="1833"/>
                    <a:pt x="575" y="1833"/>
                  </a:cubicBezTo>
                  <a:cubicBezTo>
                    <a:pt x="578" y="1834"/>
                    <a:pt x="578" y="1834"/>
                    <a:pt x="578" y="1834"/>
                  </a:cubicBezTo>
                  <a:cubicBezTo>
                    <a:pt x="578" y="1834"/>
                    <a:pt x="579" y="1833"/>
                    <a:pt x="581" y="1832"/>
                  </a:cubicBezTo>
                  <a:cubicBezTo>
                    <a:pt x="582" y="1831"/>
                    <a:pt x="582" y="1831"/>
                    <a:pt x="584" y="1828"/>
                  </a:cubicBezTo>
                  <a:cubicBezTo>
                    <a:pt x="584" y="1827"/>
                    <a:pt x="587" y="1828"/>
                    <a:pt x="589" y="1828"/>
                  </a:cubicBezTo>
                  <a:cubicBezTo>
                    <a:pt x="591" y="1828"/>
                    <a:pt x="591" y="1828"/>
                    <a:pt x="591" y="1828"/>
                  </a:cubicBezTo>
                  <a:cubicBezTo>
                    <a:pt x="591" y="1828"/>
                    <a:pt x="593" y="1828"/>
                    <a:pt x="595" y="1827"/>
                  </a:cubicBezTo>
                  <a:cubicBezTo>
                    <a:pt x="596" y="1826"/>
                    <a:pt x="597" y="1827"/>
                    <a:pt x="598" y="1826"/>
                  </a:cubicBezTo>
                  <a:cubicBezTo>
                    <a:pt x="600" y="1825"/>
                    <a:pt x="600" y="1825"/>
                    <a:pt x="601" y="1825"/>
                  </a:cubicBezTo>
                  <a:cubicBezTo>
                    <a:pt x="602" y="1824"/>
                    <a:pt x="604" y="1822"/>
                    <a:pt x="604" y="1822"/>
                  </a:cubicBezTo>
                  <a:cubicBezTo>
                    <a:pt x="604" y="1822"/>
                    <a:pt x="608" y="1820"/>
                    <a:pt x="611" y="1817"/>
                  </a:cubicBezTo>
                  <a:cubicBezTo>
                    <a:pt x="612" y="1817"/>
                    <a:pt x="613" y="1816"/>
                    <a:pt x="615" y="1813"/>
                  </a:cubicBezTo>
                  <a:cubicBezTo>
                    <a:pt x="618" y="1810"/>
                    <a:pt x="617" y="1812"/>
                    <a:pt x="618" y="1810"/>
                  </a:cubicBezTo>
                  <a:cubicBezTo>
                    <a:pt x="619" y="1809"/>
                    <a:pt x="619" y="1810"/>
                    <a:pt x="620" y="1808"/>
                  </a:cubicBezTo>
                  <a:cubicBezTo>
                    <a:pt x="620" y="1807"/>
                    <a:pt x="622" y="1807"/>
                    <a:pt x="623" y="1805"/>
                  </a:cubicBezTo>
                  <a:cubicBezTo>
                    <a:pt x="624" y="1803"/>
                    <a:pt x="625" y="1803"/>
                    <a:pt x="627" y="1801"/>
                  </a:cubicBezTo>
                  <a:cubicBezTo>
                    <a:pt x="630" y="1799"/>
                    <a:pt x="630" y="1799"/>
                    <a:pt x="631" y="1797"/>
                  </a:cubicBezTo>
                  <a:cubicBezTo>
                    <a:pt x="632" y="1796"/>
                    <a:pt x="634" y="1795"/>
                    <a:pt x="637" y="1791"/>
                  </a:cubicBezTo>
                  <a:cubicBezTo>
                    <a:pt x="641" y="1787"/>
                    <a:pt x="637" y="1791"/>
                    <a:pt x="637" y="1790"/>
                  </a:cubicBezTo>
                  <a:cubicBezTo>
                    <a:pt x="637" y="1790"/>
                    <a:pt x="641" y="1788"/>
                    <a:pt x="641" y="1788"/>
                  </a:cubicBezTo>
                  <a:cubicBezTo>
                    <a:pt x="642" y="1787"/>
                    <a:pt x="644" y="1784"/>
                    <a:pt x="645" y="1782"/>
                  </a:cubicBezTo>
                  <a:cubicBezTo>
                    <a:pt x="646" y="1781"/>
                    <a:pt x="645" y="1781"/>
                    <a:pt x="646" y="1780"/>
                  </a:cubicBezTo>
                  <a:cubicBezTo>
                    <a:pt x="647" y="1778"/>
                    <a:pt x="648" y="1777"/>
                    <a:pt x="649" y="1775"/>
                  </a:cubicBezTo>
                  <a:cubicBezTo>
                    <a:pt x="650" y="1773"/>
                    <a:pt x="651" y="1773"/>
                    <a:pt x="652" y="1772"/>
                  </a:cubicBezTo>
                  <a:cubicBezTo>
                    <a:pt x="652" y="1771"/>
                    <a:pt x="654" y="1770"/>
                    <a:pt x="654" y="1770"/>
                  </a:cubicBezTo>
                  <a:cubicBezTo>
                    <a:pt x="654" y="1770"/>
                    <a:pt x="656" y="1768"/>
                    <a:pt x="656" y="1767"/>
                  </a:cubicBezTo>
                  <a:cubicBezTo>
                    <a:pt x="656" y="1766"/>
                    <a:pt x="659" y="1763"/>
                    <a:pt x="659" y="1762"/>
                  </a:cubicBezTo>
                  <a:cubicBezTo>
                    <a:pt x="660" y="1761"/>
                    <a:pt x="661" y="1761"/>
                    <a:pt x="661" y="1760"/>
                  </a:cubicBezTo>
                  <a:cubicBezTo>
                    <a:pt x="661" y="1759"/>
                    <a:pt x="663" y="1759"/>
                    <a:pt x="663" y="1758"/>
                  </a:cubicBezTo>
                  <a:cubicBezTo>
                    <a:pt x="664" y="1757"/>
                    <a:pt x="667" y="1754"/>
                    <a:pt x="668" y="1753"/>
                  </a:cubicBezTo>
                  <a:cubicBezTo>
                    <a:pt x="668" y="1752"/>
                    <a:pt x="669" y="1751"/>
                    <a:pt x="671" y="1749"/>
                  </a:cubicBezTo>
                  <a:cubicBezTo>
                    <a:pt x="672" y="1746"/>
                    <a:pt x="671" y="1747"/>
                    <a:pt x="672" y="1745"/>
                  </a:cubicBezTo>
                  <a:cubicBezTo>
                    <a:pt x="673" y="1743"/>
                    <a:pt x="673" y="1742"/>
                    <a:pt x="674" y="1741"/>
                  </a:cubicBezTo>
                  <a:cubicBezTo>
                    <a:pt x="674" y="1740"/>
                    <a:pt x="676" y="1738"/>
                    <a:pt x="676" y="1736"/>
                  </a:cubicBezTo>
                  <a:cubicBezTo>
                    <a:pt x="676" y="1734"/>
                    <a:pt x="675" y="1734"/>
                    <a:pt x="677" y="1731"/>
                  </a:cubicBezTo>
                  <a:cubicBezTo>
                    <a:pt x="677" y="1729"/>
                    <a:pt x="678" y="1729"/>
                    <a:pt x="678" y="1728"/>
                  </a:cubicBezTo>
                  <a:cubicBezTo>
                    <a:pt x="678" y="1727"/>
                    <a:pt x="678" y="1727"/>
                    <a:pt x="678" y="1726"/>
                  </a:cubicBezTo>
                  <a:cubicBezTo>
                    <a:pt x="678" y="1725"/>
                    <a:pt x="678" y="1724"/>
                    <a:pt x="678" y="1723"/>
                  </a:cubicBezTo>
                  <a:cubicBezTo>
                    <a:pt x="678" y="1721"/>
                    <a:pt x="679" y="1721"/>
                    <a:pt x="680" y="1720"/>
                  </a:cubicBezTo>
                  <a:cubicBezTo>
                    <a:pt x="681" y="1719"/>
                    <a:pt x="680" y="1718"/>
                    <a:pt x="680" y="1717"/>
                  </a:cubicBezTo>
                  <a:cubicBezTo>
                    <a:pt x="679" y="1715"/>
                    <a:pt x="678" y="1714"/>
                    <a:pt x="678" y="1714"/>
                  </a:cubicBezTo>
                  <a:cubicBezTo>
                    <a:pt x="678" y="1714"/>
                    <a:pt x="677" y="1716"/>
                    <a:pt x="675" y="1714"/>
                  </a:cubicBezTo>
                  <a:cubicBezTo>
                    <a:pt x="674" y="1713"/>
                    <a:pt x="675" y="1714"/>
                    <a:pt x="674" y="1713"/>
                  </a:cubicBezTo>
                  <a:cubicBezTo>
                    <a:pt x="673" y="1711"/>
                    <a:pt x="674" y="1713"/>
                    <a:pt x="674" y="1710"/>
                  </a:cubicBezTo>
                  <a:cubicBezTo>
                    <a:pt x="674" y="1706"/>
                    <a:pt x="675" y="1709"/>
                    <a:pt x="676" y="1707"/>
                  </a:cubicBezTo>
                  <a:cubicBezTo>
                    <a:pt x="678" y="1705"/>
                    <a:pt x="678" y="1706"/>
                    <a:pt x="679" y="1705"/>
                  </a:cubicBezTo>
                  <a:cubicBezTo>
                    <a:pt x="680" y="1703"/>
                    <a:pt x="681" y="1703"/>
                    <a:pt x="683" y="1702"/>
                  </a:cubicBezTo>
                  <a:cubicBezTo>
                    <a:pt x="685" y="1700"/>
                    <a:pt x="686" y="1701"/>
                    <a:pt x="688" y="1699"/>
                  </a:cubicBezTo>
                  <a:cubicBezTo>
                    <a:pt x="689" y="1698"/>
                    <a:pt x="691" y="1699"/>
                    <a:pt x="692" y="1698"/>
                  </a:cubicBezTo>
                  <a:cubicBezTo>
                    <a:pt x="693" y="1698"/>
                    <a:pt x="698" y="1696"/>
                    <a:pt x="698" y="1696"/>
                  </a:cubicBezTo>
                  <a:cubicBezTo>
                    <a:pt x="698" y="1696"/>
                    <a:pt x="701" y="1696"/>
                    <a:pt x="702" y="1695"/>
                  </a:cubicBezTo>
                  <a:cubicBezTo>
                    <a:pt x="702" y="1694"/>
                    <a:pt x="705" y="1693"/>
                    <a:pt x="706" y="1692"/>
                  </a:cubicBezTo>
                  <a:cubicBezTo>
                    <a:pt x="707" y="1692"/>
                    <a:pt x="710" y="1691"/>
                    <a:pt x="710" y="1691"/>
                  </a:cubicBezTo>
                  <a:cubicBezTo>
                    <a:pt x="710" y="1691"/>
                    <a:pt x="711" y="1686"/>
                    <a:pt x="711" y="1685"/>
                  </a:cubicBezTo>
                  <a:cubicBezTo>
                    <a:pt x="711" y="1683"/>
                    <a:pt x="712" y="1683"/>
                    <a:pt x="712" y="1680"/>
                  </a:cubicBezTo>
                  <a:cubicBezTo>
                    <a:pt x="713" y="1677"/>
                    <a:pt x="712" y="1679"/>
                    <a:pt x="713" y="1677"/>
                  </a:cubicBezTo>
                  <a:cubicBezTo>
                    <a:pt x="713" y="1675"/>
                    <a:pt x="713" y="1673"/>
                    <a:pt x="713" y="1673"/>
                  </a:cubicBezTo>
                  <a:cubicBezTo>
                    <a:pt x="713" y="1673"/>
                    <a:pt x="714" y="1672"/>
                    <a:pt x="714" y="1670"/>
                  </a:cubicBezTo>
                  <a:cubicBezTo>
                    <a:pt x="714" y="1668"/>
                    <a:pt x="714" y="1666"/>
                    <a:pt x="714" y="1665"/>
                  </a:cubicBezTo>
                  <a:cubicBezTo>
                    <a:pt x="714" y="1665"/>
                    <a:pt x="713" y="1664"/>
                    <a:pt x="714" y="1662"/>
                  </a:cubicBezTo>
                  <a:cubicBezTo>
                    <a:pt x="714" y="1659"/>
                    <a:pt x="712" y="1660"/>
                    <a:pt x="712" y="1658"/>
                  </a:cubicBezTo>
                  <a:cubicBezTo>
                    <a:pt x="712" y="1656"/>
                    <a:pt x="712" y="1657"/>
                    <a:pt x="712" y="1655"/>
                  </a:cubicBezTo>
                  <a:cubicBezTo>
                    <a:pt x="713" y="1654"/>
                    <a:pt x="712" y="1654"/>
                    <a:pt x="711" y="1653"/>
                  </a:cubicBezTo>
                  <a:cubicBezTo>
                    <a:pt x="711" y="1651"/>
                    <a:pt x="710" y="1651"/>
                    <a:pt x="709" y="1649"/>
                  </a:cubicBezTo>
                  <a:cubicBezTo>
                    <a:pt x="708" y="1648"/>
                    <a:pt x="708" y="1648"/>
                    <a:pt x="708" y="1647"/>
                  </a:cubicBezTo>
                  <a:cubicBezTo>
                    <a:pt x="708" y="1645"/>
                    <a:pt x="709" y="1645"/>
                    <a:pt x="709" y="1642"/>
                  </a:cubicBezTo>
                  <a:cubicBezTo>
                    <a:pt x="709" y="1640"/>
                    <a:pt x="709" y="1641"/>
                    <a:pt x="709" y="1639"/>
                  </a:cubicBezTo>
                  <a:cubicBezTo>
                    <a:pt x="709" y="1637"/>
                    <a:pt x="708" y="1637"/>
                    <a:pt x="707" y="1636"/>
                  </a:cubicBezTo>
                  <a:cubicBezTo>
                    <a:pt x="706" y="1634"/>
                    <a:pt x="705" y="1635"/>
                    <a:pt x="703" y="1632"/>
                  </a:cubicBezTo>
                  <a:cubicBezTo>
                    <a:pt x="701" y="1630"/>
                    <a:pt x="703" y="1632"/>
                    <a:pt x="703" y="1630"/>
                  </a:cubicBezTo>
                  <a:cubicBezTo>
                    <a:pt x="703" y="1628"/>
                    <a:pt x="704" y="1629"/>
                    <a:pt x="704" y="1628"/>
                  </a:cubicBezTo>
                  <a:cubicBezTo>
                    <a:pt x="704" y="1627"/>
                    <a:pt x="704" y="1626"/>
                    <a:pt x="703" y="1625"/>
                  </a:cubicBezTo>
                  <a:cubicBezTo>
                    <a:pt x="702" y="1623"/>
                    <a:pt x="702" y="1622"/>
                    <a:pt x="702" y="1622"/>
                  </a:cubicBezTo>
                  <a:cubicBezTo>
                    <a:pt x="703" y="1621"/>
                    <a:pt x="704" y="1624"/>
                    <a:pt x="704" y="1624"/>
                  </a:cubicBezTo>
                  <a:cubicBezTo>
                    <a:pt x="704" y="1624"/>
                    <a:pt x="706" y="1624"/>
                    <a:pt x="707" y="1622"/>
                  </a:cubicBezTo>
                  <a:cubicBezTo>
                    <a:pt x="708" y="1619"/>
                    <a:pt x="709" y="1620"/>
                    <a:pt x="711" y="1618"/>
                  </a:cubicBezTo>
                  <a:cubicBezTo>
                    <a:pt x="712" y="1616"/>
                    <a:pt x="712" y="1618"/>
                    <a:pt x="713" y="1617"/>
                  </a:cubicBezTo>
                  <a:cubicBezTo>
                    <a:pt x="714" y="1617"/>
                    <a:pt x="715" y="1617"/>
                    <a:pt x="715" y="1616"/>
                  </a:cubicBezTo>
                  <a:cubicBezTo>
                    <a:pt x="716" y="1615"/>
                    <a:pt x="718" y="1614"/>
                    <a:pt x="720" y="1612"/>
                  </a:cubicBezTo>
                  <a:cubicBezTo>
                    <a:pt x="722" y="1609"/>
                    <a:pt x="722" y="1610"/>
                    <a:pt x="723" y="1610"/>
                  </a:cubicBezTo>
                  <a:cubicBezTo>
                    <a:pt x="723" y="1609"/>
                    <a:pt x="725" y="1606"/>
                    <a:pt x="725" y="1606"/>
                  </a:cubicBezTo>
                  <a:cubicBezTo>
                    <a:pt x="725" y="1605"/>
                    <a:pt x="726" y="1604"/>
                    <a:pt x="726" y="1604"/>
                  </a:cubicBezTo>
                  <a:cubicBezTo>
                    <a:pt x="726" y="1604"/>
                    <a:pt x="728" y="1603"/>
                    <a:pt x="730" y="1601"/>
                  </a:cubicBezTo>
                  <a:cubicBezTo>
                    <a:pt x="732" y="1599"/>
                    <a:pt x="733" y="1598"/>
                    <a:pt x="734" y="1596"/>
                  </a:cubicBezTo>
                  <a:cubicBezTo>
                    <a:pt x="736" y="1595"/>
                    <a:pt x="736" y="1595"/>
                    <a:pt x="737" y="1594"/>
                  </a:cubicBezTo>
                  <a:cubicBezTo>
                    <a:pt x="738" y="1593"/>
                    <a:pt x="738" y="1594"/>
                    <a:pt x="740" y="1593"/>
                  </a:cubicBezTo>
                  <a:cubicBezTo>
                    <a:pt x="742" y="1592"/>
                    <a:pt x="742" y="1592"/>
                    <a:pt x="744" y="1591"/>
                  </a:cubicBezTo>
                  <a:cubicBezTo>
                    <a:pt x="745" y="1591"/>
                    <a:pt x="745" y="1591"/>
                    <a:pt x="747" y="1589"/>
                  </a:cubicBezTo>
                  <a:cubicBezTo>
                    <a:pt x="749" y="1588"/>
                    <a:pt x="750" y="1588"/>
                    <a:pt x="753" y="1586"/>
                  </a:cubicBezTo>
                  <a:cubicBezTo>
                    <a:pt x="754" y="1586"/>
                    <a:pt x="759" y="1584"/>
                    <a:pt x="759" y="1584"/>
                  </a:cubicBezTo>
                  <a:cubicBezTo>
                    <a:pt x="759" y="1584"/>
                    <a:pt x="763" y="1582"/>
                    <a:pt x="764" y="1582"/>
                  </a:cubicBezTo>
                  <a:cubicBezTo>
                    <a:pt x="765" y="1583"/>
                    <a:pt x="772" y="1574"/>
                    <a:pt x="776" y="1570"/>
                  </a:cubicBezTo>
                  <a:cubicBezTo>
                    <a:pt x="780" y="1566"/>
                    <a:pt x="778" y="1568"/>
                    <a:pt x="779" y="1567"/>
                  </a:cubicBezTo>
                  <a:cubicBezTo>
                    <a:pt x="780" y="1565"/>
                    <a:pt x="780" y="1565"/>
                    <a:pt x="781" y="1564"/>
                  </a:cubicBezTo>
                  <a:cubicBezTo>
                    <a:pt x="781" y="1563"/>
                    <a:pt x="782" y="1556"/>
                    <a:pt x="783" y="1555"/>
                  </a:cubicBezTo>
                  <a:cubicBezTo>
                    <a:pt x="783" y="1554"/>
                    <a:pt x="783" y="1553"/>
                    <a:pt x="783" y="1551"/>
                  </a:cubicBezTo>
                  <a:cubicBezTo>
                    <a:pt x="783" y="1550"/>
                    <a:pt x="783" y="1548"/>
                    <a:pt x="783" y="1546"/>
                  </a:cubicBezTo>
                  <a:cubicBezTo>
                    <a:pt x="783" y="1545"/>
                    <a:pt x="782" y="1542"/>
                    <a:pt x="783" y="1540"/>
                  </a:cubicBezTo>
                  <a:cubicBezTo>
                    <a:pt x="784" y="1538"/>
                    <a:pt x="781" y="1537"/>
                    <a:pt x="781" y="1535"/>
                  </a:cubicBezTo>
                  <a:cubicBezTo>
                    <a:pt x="781" y="1532"/>
                    <a:pt x="782" y="1532"/>
                    <a:pt x="782" y="1531"/>
                  </a:cubicBezTo>
                  <a:cubicBezTo>
                    <a:pt x="782" y="1529"/>
                    <a:pt x="781" y="1527"/>
                    <a:pt x="781" y="1525"/>
                  </a:cubicBezTo>
                  <a:cubicBezTo>
                    <a:pt x="781" y="1522"/>
                    <a:pt x="780" y="1522"/>
                    <a:pt x="780" y="1520"/>
                  </a:cubicBezTo>
                  <a:cubicBezTo>
                    <a:pt x="780" y="1519"/>
                    <a:pt x="780" y="1519"/>
                    <a:pt x="780" y="1515"/>
                  </a:cubicBezTo>
                  <a:cubicBezTo>
                    <a:pt x="779" y="1510"/>
                    <a:pt x="780" y="1511"/>
                    <a:pt x="780" y="1509"/>
                  </a:cubicBezTo>
                  <a:cubicBezTo>
                    <a:pt x="780" y="1508"/>
                    <a:pt x="781" y="1507"/>
                    <a:pt x="781" y="1506"/>
                  </a:cubicBezTo>
                  <a:cubicBezTo>
                    <a:pt x="782" y="1505"/>
                    <a:pt x="781" y="1497"/>
                    <a:pt x="781" y="1495"/>
                  </a:cubicBezTo>
                  <a:cubicBezTo>
                    <a:pt x="781" y="1495"/>
                    <a:pt x="780" y="1494"/>
                    <a:pt x="780" y="1493"/>
                  </a:cubicBezTo>
                  <a:cubicBezTo>
                    <a:pt x="779" y="1492"/>
                    <a:pt x="779" y="1491"/>
                    <a:pt x="778" y="1491"/>
                  </a:cubicBezTo>
                  <a:cubicBezTo>
                    <a:pt x="778" y="1490"/>
                    <a:pt x="777" y="1489"/>
                    <a:pt x="777" y="1488"/>
                  </a:cubicBezTo>
                  <a:cubicBezTo>
                    <a:pt x="776" y="1488"/>
                    <a:pt x="775" y="1487"/>
                    <a:pt x="774" y="1486"/>
                  </a:cubicBezTo>
                  <a:cubicBezTo>
                    <a:pt x="774" y="1485"/>
                    <a:pt x="773" y="1484"/>
                    <a:pt x="773" y="1483"/>
                  </a:cubicBezTo>
                  <a:cubicBezTo>
                    <a:pt x="773" y="1481"/>
                    <a:pt x="770" y="1481"/>
                    <a:pt x="769" y="1481"/>
                  </a:cubicBezTo>
                  <a:cubicBezTo>
                    <a:pt x="769" y="1480"/>
                    <a:pt x="769" y="1478"/>
                    <a:pt x="768" y="1476"/>
                  </a:cubicBezTo>
                  <a:cubicBezTo>
                    <a:pt x="768" y="1475"/>
                    <a:pt x="767" y="1475"/>
                    <a:pt x="766" y="1473"/>
                  </a:cubicBezTo>
                  <a:cubicBezTo>
                    <a:pt x="765" y="1470"/>
                    <a:pt x="765" y="1470"/>
                    <a:pt x="764" y="1467"/>
                  </a:cubicBezTo>
                  <a:cubicBezTo>
                    <a:pt x="763" y="1464"/>
                    <a:pt x="763" y="1466"/>
                    <a:pt x="764" y="1464"/>
                  </a:cubicBezTo>
                  <a:cubicBezTo>
                    <a:pt x="764" y="1463"/>
                    <a:pt x="765" y="1463"/>
                    <a:pt x="765" y="1462"/>
                  </a:cubicBezTo>
                  <a:cubicBezTo>
                    <a:pt x="766" y="1460"/>
                    <a:pt x="767" y="1460"/>
                    <a:pt x="765" y="1458"/>
                  </a:cubicBezTo>
                  <a:cubicBezTo>
                    <a:pt x="765" y="1458"/>
                    <a:pt x="764" y="1456"/>
                    <a:pt x="764" y="1455"/>
                  </a:cubicBezTo>
                  <a:cubicBezTo>
                    <a:pt x="764" y="1454"/>
                    <a:pt x="765" y="1453"/>
                    <a:pt x="765" y="1453"/>
                  </a:cubicBezTo>
                  <a:cubicBezTo>
                    <a:pt x="767" y="1451"/>
                    <a:pt x="767" y="1451"/>
                    <a:pt x="767" y="1451"/>
                  </a:cubicBezTo>
                  <a:cubicBezTo>
                    <a:pt x="767" y="1451"/>
                    <a:pt x="768" y="1447"/>
                    <a:pt x="768" y="1446"/>
                  </a:cubicBezTo>
                  <a:cubicBezTo>
                    <a:pt x="768" y="1446"/>
                    <a:pt x="767" y="1446"/>
                    <a:pt x="764" y="1442"/>
                  </a:cubicBezTo>
                  <a:cubicBezTo>
                    <a:pt x="762" y="1439"/>
                    <a:pt x="763" y="1440"/>
                    <a:pt x="761" y="1439"/>
                  </a:cubicBezTo>
                  <a:cubicBezTo>
                    <a:pt x="760" y="1438"/>
                    <a:pt x="760" y="1437"/>
                    <a:pt x="759" y="1436"/>
                  </a:cubicBezTo>
                  <a:cubicBezTo>
                    <a:pt x="759" y="1435"/>
                    <a:pt x="759" y="1435"/>
                    <a:pt x="759" y="1433"/>
                  </a:cubicBezTo>
                  <a:cubicBezTo>
                    <a:pt x="759" y="1431"/>
                    <a:pt x="759" y="1430"/>
                    <a:pt x="759" y="1428"/>
                  </a:cubicBezTo>
                  <a:cubicBezTo>
                    <a:pt x="759" y="1427"/>
                    <a:pt x="759" y="1427"/>
                    <a:pt x="759" y="1426"/>
                  </a:cubicBezTo>
                  <a:cubicBezTo>
                    <a:pt x="760" y="1424"/>
                    <a:pt x="759" y="1426"/>
                    <a:pt x="761" y="1423"/>
                  </a:cubicBezTo>
                  <a:cubicBezTo>
                    <a:pt x="762" y="1422"/>
                    <a:pt x="762" y="1420"/>
                    <a:pt x="763" y="1418"/>
                  </a:cubicBezTo>
                  <a:cubicBezTo>
                    <a:pt x="764" y="1418"/>
                    <a:pt x="764" y="1417"/>
                    <a:pt x="764" y="1416"/>
                  </a:cubicBezTo>
                  <a:cubicBezTo>
                    <a:pt x="766" y="1413"/>
                    <a:pt x="765" y="1415"/>
                    <a:pt x="766" y="1413"/>
                  </a:cubicBezTo>
                  <a:cubicBezTo>
                    <a:pt x="766" y="1411"/>
                    <a:pt x="767" y="1411"/>
                    <a:pt x="768" y="1408"/>
                  </a:cubicBezTo>
                  <a:cubicBezTo>
                    <a:pt x="769" y="1405"/>
                    <a:pt x="770" y="1405"/>
                    <a:pt x="771" y="1403"/>
                  </a:cubicBezTo>
                  <a:cubicBezTo>
                    <a:pt x="773" y="1400"/>
                    <a:pt x="773" y="1398"/>
                    <a:pt x="773" y="1395"/>
                  </a:cubicBezTo>
                  <a:cubicBezTo>
                    <a:pt x="774" y="1392"/>
                    <a:pt x="775" y="1391"/>
                    <a:pt x="776" y="1391"/>
                  </a:cubicBezTo>
                  <a:cubicBezTo>
                    <a:pt x="776" y="1390"/>
                    <a:pt x="777" y="1390"/>
                    <a:pt x="778" y="1389"/>
                  </a:cubicBezTo>
                  <a:cubicBezTo>
                    <a:pt x="780" y="1388"/>
                    <a:pt x="781" y="1387"/>
                    <a:pt x="782" y="1385"/>
                  </a:cubicBezTo>
                  <a:cubicBezTo>
                    <a:pt x="783" y="1383"/>
                    <a:pt x="785" y="1381"/>
                    <a:pt x="785" y="1380"/>
                  </a:cubicBezTo>
                  <a:cubicBezTo>
                    <a:pt x="786" y="1379"/>
                    <a:pt x="789" y="1379"/>
                    <a:pt x="789" y="1379"/>
                  </a:cubicBezTo>
                  <a:cubicBezTo>
                    <a:pt x="789" y="1379"/>
                    <a:pt x="792" y="1378"/>
                    <a:pt x="793" y="1376"/>
                  </a:cubicBezTo>
                  <a:cubicBezTo>
                    <a:pt x="793" y="1375"/>
                    <a:pt x="794" y="1374"/>
                    <a:pt x="794" y="1374"/>
                  </a:cubicBezTo>
                  <a:cubicBezTo>
                    <a:pt x="795" y="1373"/>
                    <a:pt x="796" y="1373"/>
                    <a:pt x="797" y="1372"/>
                  </a:cubicBezTo>
                  <a:cubicBezTo>
                    <a:pt x="798" y="1370"/>
                    <a:pt x="798" y="1369"/>
                    <a:pt x="800" y="1368"/>
                  </a:cubicBezTo>
                  <a:cubicBezTo>
                    <a:pt x="801" y="1366"/>
                    <a:pt x="801" y="1366"/>
                    <a:pt x="802" y="1364"/>
                  </a:cubicBezTo>
                  <a:cubicBezTo>
                    <a:pt x="803" y="1361"/>
                    <a:pt x="802" y="1363"/>
                    <a:pt x="804" y="1361"/>
                  </a:cubicBezTo>
                  <a:cubicBezTo>
                    <a:pt x="805" y="1360"/>
                    <a:pt x="807" y="1359"/>
                    <a:pt x="809" y="1356"/>
                  </a:cubicBezTo>
                  <a:cubicBezTo>
                    <a:pt x="811" y="1354"/>
                    <a:pt x="811" y="1355"/>
                    <a:pt x="812" y="1353"/>
                  </a:cubicBezTo>
                  <a:cubicBezTo>
                    <a:pt x="814" y="1350"/>
                    <a:pt x="814" y="1352"/>
                    <a:pt x="816" y="1349"/>
                  </a:cubicBezTo>
                  <a:cubicBezTo>
                    <a:pt x="818" y="1346"/>
                    <a:pt x="818" y="1347"/>
                    <a:pt x="820" y="1344"/>
                  </a:cubicBezTo>
                  <a:cubicBezTo>
                    <a:pt x="821" y="1341"/>
                    <a:pt x="824" y="1341"/>
                    <a:pt x="825" y="1339"/>
                  </a:cubicBezTo>
                  <a:cubicBezTo>
                    <a:pt x="826" y="1337"/>
                    <a:pt x="827" y="1337"/>
                    <a:pt x="829" y="1335"/>
                  </a:cubicBezTo>
                  <a:cubicBezTo>
                    <a:pt x="832" y="1333"/>
                    <a:pt x="833" y="1333"/>
                    <a:pt x="834" y="1332"/>
                  </a:cubicBezTo>
                  <a:cubicBezTo>
                    <a:pt x="835" y="1331"/>
                    <a:pt x="837" y="1330"/>
                    <a:pt x="838" y="1330"/>
                  </a:cubicBezTo>
                  <a:cubicBezTo>
                    <a:pt x="838" y="1329"/>
                    <a:pt x="842" y="1328"/>
                    <a:pt x="842" y="1328"/>
                  </a:cubicBezTo>
                  <a:cubicBezTo>
                    <a:pt x="845" y="1326"/>
                    <a:pt x="845" y="1326"/>
                    <a:pt x="845" y="1326"/>
                  </a:cubicBezTo>
                  <a:cubicBezTo>
                    <a:pt x="845" y="1326"/>
                    <a:pt x="854" y="1320"/>
                    <a:pt x="855" y="1319"/>
                  </a:cubicBezTo>
                  <a:cubicBezTo>
                    <a:pt x="856" y="1318"/>
                    <a:pt x="858" y="1317"/>
                    <a:pt x="859" y="1317"/>
                  </a:cubicBezTo>
                  <a:cubicBezTo>
                    <a:pt x="859" y="1316"/>
                    <a:pt x="860" y="1315"/>
                    <a:pt x="861" y="1314"/>
                  </a:cubicBezTo>
                  <a:cubicBezTo>
                    <a:pt x="862" y="1312"/>
                    <a:pt x="863" y="1312"/>
                    <a:pt x="864" y="1310"/>
                  </a:cubicBezTo>
                  <a:cubicBezTo>
                    <a:pt x="864" y="1309"/>
                    <a:pt x="867" y="1306"/>
                    <a:pt x="867" y="1306"/>
                  </a:cubicBezTo>
                  <a:cubicBezTo>
                    <a:pt x="867" y="1306"/>
                    <a:pt x="877" y="1294"/>
                    <a:pt x="878" y="1293"/>
                  </a:cubicBezTo>
                  <a:cubicBezTo>
                    <a:pt x="879" y="1293"/>
                    <a:pt x="883" y="1287"/>
                    <a:pt x="884" y="1286"/>
                  </a:cubicBezTo>
                  <a:cubicBezTo>
                    <a:pt x="885" y="1286"/>
                    <a:pt x="886" y="1285"/>
                    <a:pt x="886" y="1283"/>
                  </a:cubicBezTo>
                  <a:cubicBezTo>
                    <a:pt x="886" y="1281"/>
                    <a:pt x="890" y="1279"/>
                    <a:pt x="891" y="1276"/>
                  </a:cubicBezTo>
                  <a:cubicBezTo>
                    <a:pt x="891" y="1273"/>
                    <a:pt x="893" y="1272"/>
                    <a:pt x="893" y="1270"/>
                  </a:cubicBezTo>
                  <a:cubicBezTo>
                    <a:pt x="893" y="1269"/>
                    <a:pt x="896" y="1268"/>
                    <a:pt x="896" y="1267"/>
                  </a:cubicBezTo>
                  <a:cubicBezTo>
                    <a:pt x="896" y="1266"/>
                    <a:pt x="897" y="1265"/>
                    <a:pt x="899" y="1262"/>
                  </a:cubicBezTo>
                  <a:cubicBezTo>
                    <a:pt x="901" y="1260"/>
                    <a:pt x="900" y="1260"/>
                    <a:pt x="901" y="1258"/>
                  </a:cubicBezTo>
                  <a:cubicBezTo>
                    <a:pt x="901" y="1257"/>
                    <a:pt x="902" y="1256"/>
                    <a:pt x="904" y="1253"/>
                  </a:cubicBezTo>
                  <a:cubicBezTo>
                    <a:pt x="905" y="1251"/>
                    <a:pt x="904" y="1253"/>
                    <a:pt x="904" y="1252"/>
                  </a:cubicBezTo>
                  <a:cubicBezTo>
                    <a:pt x="905" y="1250"/>
                    <a:pt x="907" y="1248"/>
                    <a:pt x="908" y="1245"/>
                  </a:cubicBezTo>
                  <a:cubicBezTo>
                    <a:pt x="910" y="1243"/>
                    <a:pt x="909" y="1244"/>
                    <a:pt x="911" y="1242"/>
                  </a:cubicBezTo>
                  <a:cubicBezTo>
                    <a:pt x="912" y="1240"/>
                    <a:pt x="911" y="1242"/>
                    <a:pt x="913" y="1237"/>
                  </a:cubicBezTo>
                  <a:cubicBezTo>
                    <a:pt x="915" y="1233"/>
                    <a:pt x="914" y="1235"/>
                    <a:pt x="915" y="1235"/>
                  </a:cubicBezTo>
                  <a:cubicBezTo>
                    <a:pt x="916" y="1234"/>
                    <a:pt x="915" y="1232"/>
                    <a:pt x="917" y="1231"/>
                  </a:cubicBezTo>
                  <a:cubicBezTo>
                    <a:pt x="918" y="1229"/>
                    <a:pt x="917" y="1230"/>
                    <a:pt x="918" y="1228"/>
                  </a:cubicBezTo>
                  <a:cubicBezTo>
                    <a:pt x="919" y="1226"/>
                    <a:pt x="920" y="1225"/>
                    <a:pt x="921" y="1223"/>
                  </a:cubicBezTo>
                  <a:cubicBezTo>
                    <a:pt x="921" y="1221"/>
                    <a:pt x="921" y="1222"/>
                    <a:pt x="921" y="1219"/>
                  </a:cubicBezTo>
                  <a:cubicBezTo>
                    <a:pt x="921" y="1216"/>
                    <a:pt x="921" y="1217"/>
                    <a:pt x="922" y="1215"/>
                  </a:cubicBezTo>
                  <a:cubicBezTo>
                    <a:pt x="922" y="1214"/>
                    <a:pt x="923" y="1213"/>
                    <a:pt x="923" y="1212"/>
                  </a:cubicBezTo>
                  <a:cubicBezTo>
                    <a:pt x="924" y="1212"/>
                    <a:pt x="925" y="1210"/>
                    <a:pt x="925" y="1210"/>
                  </a:cubicBezTo>
                  <a:cubicBezTo>
                    <a:pt x="925" y="1210"/>
                    <a:pt x="926" y="1201"/>
                    <a:pt x="926" y="1200"/>
                  </a:cubicBezTo>
                  <a:cubicBezTo>
                    <a:pt x="926" y="1199"/>
                    <a:pt x="924" y="1194"/>
                    <a:pt x="924" y="1192"/>
                  </a:cubicBezTo>
                  <a:cubicBezTo>
                    <a:pt x="924" y="1190"/>
                    <a:pt x="924" y="1191"/>
                    <a:pt x="922" y="1190"/>
                  </a:cubicBezTo>
                  <a:cubicBezTo>
                    <a:pt x="920" y="1189"/>
                    <a:pt x="921" y="1190"/>
                    <a:pt x="919" y="1190"/>
                  </a:cubicBezTo>
                  <a:cubicBezTo>
                    <a:pt x="917" y="1191"/>
                    <a:pt x="918" y="1191"/>
                    <a:pt x="915" y="1193"/>
                  </a:cubicBezTo>
                  <a:cubicBezTo>
                    <a:pt x="915" y="1193"/>
                    <a:pt x="911" y="1195"/>
                    <a:pt x="910" y="1196"/>
                  </a:cubicBezTo>
                  <a:cubicBezTo>
                    <a:pt x="908" y="1196"/>
                    <a:pt x="907" y="1196"/>
                    <a:pt x="905" y="1196"/>
                  </a:cubicBezTo>
                  <a:cubicBezTo>
                    <a:pt x="903" y="1196"/>
                    <a:pt x="902" y="1197"/>
                    <a:pt x="900" y="1197"/>
                  </a:cubicBezTo>
                  <a:cubicBezTo>
                    <a:pt x="899" y="1196"/>
                    <a:pt x="896" y="1199"/>
                    <a:pt x="896" y="1199"/>
                  </a:cubicBezTo>
                  <a:cubicBezTo>
                    <a:pt x="893" y="1200"/>
                    <a:pt x="893" y="1200"/>
                    <a:pt x="893" y="1200"/>
                  </a:cubicBezTo>
                  <a:cubicBezTo>
                    <a:pt x="893" y="1200"/>
                    <a:pt x="891" y="1201"/>
                    <a:pt x="890" y="1200"/>
                  </a:cubicBezTo>
                  <a:cubicBezTo>
                    <a:pt x="889" y="1200"/>
                    <a:pt x="882" y="1201"/>
                    <a:pt x="881" y="1201"/>
                  </a:cubicBezTo>
                  <a:cubicBezTo>
                    <a:pt x="880" y="1201"/>
                    <a:pt x="877" y="1202"/>
                    <a:pt x="877" y="1202"/>
                  </a:cubicBezTo>
                  <a:cubicBezTo>
                    <a:pt x="875" y="1202"/>
                    <a:pt x="875" y="1202"/>
                    <a:pt x="875" y="1202"/>
                  </a:cubicBezTo>
                  <a:cubicBezTo>
                    <a:pt x="872" y="1202"/>
                    <a:pt x="872" y="1202"/>
                    <a:pt x="872" y="1202"/>
                  </a:cubicBezTo>
                  <a:cubicBezTo>
                    <a:pt x="868" y="1205"/>
                    <a:pt x="868" y="1205"/>
                    <a:pt x="868" y="1205"/>
                  </a:cubicBezTo>
                  <a:cubicBezTo>
                    <a:pt x="868" y="1205"/>
                    <a:pt x="865" y="1207"/>
                    <a:pt x="864" y="1206"/>
                  </a:cubicBezTo>
                  <a:cubicBezTo>
                    <a:pt x="864" y="1206"/>
                    <a:pt x="861" y="1206"/>
                    <a:pt x="861" y="1206"/>
                  </a:cubicBezTo>
                  <a:cubicBezTo>
                    <a:pt x="861" y="1205"/>
                    <a:pt x="857" y="1205"/>
                    <a:pt x="857" y="1205"/>
                  </a:cubicBezTo>
                  <a:cubicBezTo>
                    <a:pt x="857" y="1205"/>
                    <a:pt x="854" y="1205"/>
                    <a:pt x="853" y="1206"/>
                  </a:cubicBezTo>
                  <a:cubicBezTo>
                    <a:pt x="852" y="1206"/>
                    <a:pt x="850" y="1206"/>
                    <a:pt x="850" y="1206"/>
                  </a:cubicBezTo>
                  <a:cubicBezTo>
                    <a:pt x="848" y="1207"/>
                    <a:pt x="848" y="1207"/>
                    <a:pt x="848" y="1207"/>
                  </a:cubicBezTo>
                  <a:cubicBezTo>
                    <a:pt x="848" y="1207"/>
                    <a:pt x="843" y="1210"/>
                    <a:pt x="842" y="1210"/>
                  </a:cubicBezTo>
                  <a:cubicBezTo>
                    <a:pt x="842" y="1211"/>
                    <a:pt x="839" y="1210"/>
                    <a:pt x="839" y="1210"/>
                  </a:cubicBezTo>
                  <a:cubicBezTo>
                    <a:pt x="839" y="1210"/>
                    <a:pt x="832" y="1209"/>
                    <a:pt x="832" y="1208"/>
                  </a:cubicBezTo>
                  <a:cubicBezTo>
                    <a:pt x="832" y="1208"/>
                    <a:pt x="826" y="1206"/>
                    <a:pt x="826" y="1205"/>
                  </a:cubicBezTo>
                  <a:cubicBezTo>
                    <a:pt x="826" y="1204"/>
                    <a:pt x="823" y="1202"/>
                    <a:pt x="822" y="1201"/>
                  </a:cubicBezTo>
                  <a:cubicBezTo>
                    <a:pt x="822" y="1201"/>
                    <a:pt x="821" y="1197"/>
                    <a:pt x="821" y="1197"/>
                  </a:cubicBezTo>
                  <a:cubicBezTo>
                    <a:pt x="820" y="1196"/>
                    <a:pt x="820" y="1196"/>
                    <a:pt x="820" y="1196"/>
                  </a:cubicBezTo>
                  <a:cubicBezTo>
                    <a:pt x="818" y="1195"/>
                    <a:pt x="818" y="1195"/>
                    <a:pt x="818" y="1195"/>
                  </a:cubicBezTo>
                  <a:cubicBezTo>
                    <a:pt x="818" y="1195"/>
                    <a:pt x="815" y="1194"/>
                    <a:pt x="813" y="1195"/>
                  </a:cubicBezTo>
                  <a:cubicBezTo>
                    <a:pt x="812" y="1195"/>
                    <a:pt x="811" y="1194"/>
                    <a:pt x="811" y="1193"/>
                  </a:cubicBezTo>
                  <a:cubicBezTo>
                    <a:pt x="812" y="1192"/>
                    <a:pt x="814" y="1193"/>
                    <a:pt x="814" y="1193"/>
                  </a:cubicBezTo>
                  <a:cubicBezTo>
                    <a:pt x="814" y="1193"/>
                    <a:pt x="819" y="1191"/>
                    <a:pt x="820" y="1190"/>
                  </a:cubicBezTo>
                  <a:cubicBezTo>
                    <a:pt x="821" y="1190"/>
                    <a:pt x="820" y="1187"/>
                    <a:pt x="821" y="1187"/>
                  </a:cubicBezTo>
                  <a:cubicBezTo>
                    <a:pt x="821" y="1186"/>
                    <a:pt x="820" y="1184"/>
                    <a:pt x="819" y="1183"/>
                  </a:cubicBezTo>
                  <a:cubicBezTo>
                    <a:pt x="818" y="1182"/>
                    <a:pt x="817" y="1182"/>
                    <a:pt x="817" y="1182"/>
                  </a:cubicBezTo>
                  <a:cubicBezTo>
                    <a:pt x="817" y="1182"/>
                    <a:pt x="815" y="1181"/>
                    <a:pt x="814" y="1180"/>
                  </a:cubicBezTo>
                  <a:cubicBezTo>
                    <a:pt x="812" y="1178"/>
                    <a:pt x="811" y="1178"/>
                    <a:pt x="810" y="1177"/>
                  </a:cubicBezTo>
                  <a:cubicBezTo>
                    <a:pt x="809" y="1176"/>
                    <a:pt x="808" y="1175"/>
                    <a:pt x="808" y="1174"/>
                  </a:cubicBezTo>
                  <a:cubicBezTo>
                    <a:pt x="807" y="1172"/>
                    <a:pt x="806" y="1171"/>
                    <a:pt x="806" y="1169"/>
                  </a:cubicBezTo>
                  <a:cubicBezTo>
                    <a:pt x="806" y="1167"/>
                    <a:pt x="802" y="1166"/>
                    <a:pt x="802" y="1166"/>
                  </a:cubicBezTo>
                  <a:cubicBezTo>
                    <a:pt x="795" y="1158"/>
                    <a:pt x="795" y="1158"/>
                    <a:pt x="795" y="1158"/>
                  </a:cubicBezTo>
                  <a:cubicBezTo>
                    <a:pt x="795" y="1158"/>
                    <a:pt x="790" y="1156"/>
                    <a:pt x="788" y="1154"/>
                  </a:cubicBezTo>
                  <a:cubicBezTo>
                    <a:pt x="787" y="1152"/>
                    <a:pt x="786" y="1152"/>
                    <a:pt x="786" y="1152"/>
                  </a:cubicBezTo>
                  <a:cubicBezTo>
                    <a:pt x="786" y="1152"/>
                    <a:pt x="784" y="1151"/>
                    <a:pt x="783" y="1151"/>
                  </a:cubicBezTo>
                  <a:cubicBezTo>
                    <a:pt x="783" y="1150"/>
                    <a:pt x="780" y="1149"/>
                    <a:pt x="780" y="1149"/>
                  </a:cubicBezTo>
                  <a:cubicBezTo>
                    <a:pt x="778" y="1148"/>
                    <a:pt x="778" y="1148"/>
                    <a:pt x="778" y="1148"/>
                  </a:cubicBezTo>
                  <a:cubicBezTo>
                    <a:pt x="778" y="1148"/>
                    <a:pt x="776" y="1148"/>
                    <a:pt x="776" y="1146"/>
                  </a:cubicBezTo>
                  <a:cubicBezTo>
                    <a:pt x="775" y="1145"/>
                    <a:pt x="774" y="1144"/>
                    <a:pt x="774" y="1143"/>
                  </a:cubicBezTo>
                  <a:cubicBezTo>
                    <a:pt x="774" y="1142"/>
                    <a:pt x="770" y="1140"/>
                    <a:pt x="770" y="1140"/>
                  </a:cubicBezTo>
                  <a:cubicBezTo>
                    <a:pt x="770" y="1140"/>
                    <a:pt x="770" y="1140"/>
                    <a:pt x="770" y="1140"/>
                  </a:cubicBezTo>
                  <a:cubicBezTo>
                    <a:pt x="770" y="1139"/>
                    <a:pt x="767" y="1139"/>
                    <a:pt x="766" y="1139"/>
                  </a:cubicBezTo>
                  <a:cubicBezTo>
                    <a:pt x="766" y="1138"/>
                    <a:pt x="764" y="1134"/>
                    <a:pt x="764" y="1133"/>
                  </a:cubicBezTo>
                  <a:cubicBezTo>
                    <a:pt x="764" y="1132"/>
                    <a:pt x="759" y="1119"/>
                    <a:pt x="759" y="1117"/>
                  </a:cubicBezTo>
                  <a:cubicBezTo>
                    <a:pt x="759" y="1114"/>
                    <a:pt x="758" y="1113"/>
                    <a:pt x="757" y="1110"/>
                  </a:cubicBezTo>
                  <a:cubicBezTo>
                    <a:pt x="757" y="1107"/>
                    <a:pt x="755" y="1107"/>
                    <a:pt x="755" y="1106"/>
                  </a:cubicBezTo>
                  <a:cubicBezTo>
                    <a:pt x="754" y="1106"/>
                    <a:pt x="754" y="1106"/>
                    <a:pt x="754" y="1106"/>
                  </a:cubicBezTo>
                  <a:cubicBezTo>
                    <a:pt x="754" y="1105"/>
                    <a:pt x="752" y="1104"/>
                    <a:pt x="751" y="1103"/>
                  </a:cubicBezTo>
                  <a:cubicBezTo>
                    <a:pt x="751" y="1103"/>
                    <a:pt x="745" y="1099"/>
                    <a:pt x="744" y="1097"/>
                  </a:cubicBezTo>
                  <a:cubicBezTo>
                    <a:pt x="743" y="1095"/>
                    <a:pt x="741" y="1094"/>
                    <a:pt x="740" y="1093"/>
                  </a:cubicBezTo>
                  <a:cubicBezTo>
                    <a:pt x="739" y="1093"/>
                    <a:pt x="738" y="1092"/>
                    <a:pt x="738" y="1091"/>
                  </a:cubicBezTo>
                  <a:cubicBezTo>
                    <a:pt x="737" y="1090"/>
                    <a:pt x="737" y="1086"/>
                    <a:pt x="737" y="1084"/>
                  </a:cubicBezTo>
                  <a:cubicBezTo>
                    <a:pt x="737" y="1083"/>
                    <a:pt x="736" y="1080"/>
                    <a:pt x="736" y="1079"/>
                  </a:cubicBezTo>
                  <a:cubicBezTo>
                    <a:pt x="736" y="1077"/>
                    <a:pt x="734" y="1072"/>
                    <a:pt x="735" y="1071"/>
                  </a:cubicBezTo>
                  <a:cubicBezTo>
                    <a:pt x="735" y="1069"/>
                    <a:pt x="737" y="1066"/>
                    <a:pt x="737" y="1066"/>
                  </a:cubicBezTo>
                  <a:cubicBezTo>
                    <a:pt x="737" y="1066"/>
                    <a:pt x="732" y="1055"/>
                    <a:pt x="732" y="1054"/>
                  </a:cubicBezTo>
                  <a:cubicBezTo>
                    <a:pt x="732" y="1053"/>
                    <a:pt x="731" y="1052"/>
                    <a:pt x="730" y="1050"/>
                  </a:cubicBezTo>
                  <a:cubicBezTo>
                    <a:pt x="729" y="1048"/>
                    <a:pt x="728" y="1047"/>
                    <a:pt x="728" y="1046"/>
                  </a:cubicBezTo>
                  <a:cubicBezTo>
                    <a:pt x="728" y="1045"/>
                    <a:pt x="725" y="1045"/>
                    <a:pt x="724" y="1044"/>
                  </a:cubicBezTo>
                  <a:cubicBezTo>
                    <a:pt x="723" y="1043"/>
                    <a:pt x="723" y="1041"/>
                    <a:pt x="723" y="1040"/>
                  </a:cubicBezTo>
                  <a:cubicBezTo>
                    <a:pt x="722" y="1038"/>
                    <a:pt x="720" y="1039"/>
                    <a:pt x="719" y="1038"/>
                  </a:cubicBezTo>
                  <a:cubicBezTo>
                    <a:pt x="719" y="1036"/>
                    <a:pt x="716" y="1037"/>
                    <a:pt x="715" y="1036"/>
                  </a:cubicBezTo>
                  <a:cubicBezTo>
                    <a:pt x="715" y="1035"/>
                    <a:pt x="715" y="1035"/>
                    <a:pt x="715" y="1035"/>
                  </a:cubicBezTo>
                  <a:cubicBezTo>
                    <a:pt x="714" y="1034"/>
                    <a:pt x="714" y="1033"/>
                    <a:pt x="713" y="1032"/>
                  </a:cubicBezTo>
                  <a:cubicBezTo>
                    <a:pt x="713" y="1031"/>
                    <a:pt x="712" y="1028"/>
                    <a:pt x="712" y="1027"/>
                  </a:cubicBezTo>
                  <a:cubicBezTo>
                    <a:pt x="712" y="1026"/>
                    <a:pt x="715" y="1024"/>
                    <a:pt x="715" y="1024"/>
                  </a:cubicBezTo>
                  <a:cubicBezTo>
                    <a:pt x="715" y="1024"/>
                    <a:pt x="715" y="1022"/>
                    <a:pt x="715" y="1021"/>
                  </a:cubicBezTo>
                  <a:cubicBezTo>
                    <a:pt x="714" y="1021"/>
                    <a:pt x="714" y="1021"/>
                    <a:pt x="714" y="1019"/>
                  </a:cubicBezTo>
                  <a:cubicBezTo>
                    <a:pt x="714" y="1018"/>
                    <a:pt x="711" y="1016"/>
                    <a:pt x="711" y="1016"/>
                  </a:cubicBezTo>
                  <a:cubicBezTo>
                    <a:pt x="711" y="1016"/>
                    <a:pt x="709" y="1013"/>
                    <a:pt x="709" y="1012"/>
                  </a:cubicBezTo>
                  <a:cubicBezTo>
                    <a:pt x="709" y="1011"/>
                    <a:pt x="705" y="1008"/>
                    <a:pt x="705" y="1007"/>
                  </a:cubicBezTo>
                  <a:cubicBezTo>
                    <a:pt x="705" y="1006"/>
                    <a:pt x="702" y="1003"/>
                    <a:pt x="702" y="1002"/>
                  </a:cubicBezTo>
                  <a:cubicBezTo>
                    <a:pt x="702" y="1002"/>
                    <a:pt x="700" y="999"/>
                    <a:pt x="700" y="998"/>
                  </a:cubicBezTo>
                  <a:cubicBezTo>
                    <a:pt x="700" y="998"/>
                    <a:pt x="694" y="985"/>
                    <a:pt x="694" y="983"/>
                  </a:cubicBezTo>
                  <a:cubicBezTo>
                    <a:pt x="694" y="981"/>
                    <a:pt x="693" y="981"/>
                    <a:pt x="693" y="980"/>
                  </a:cubicBezTo>
                  <a:cubicBezTo>
                    <a:pt x="692" y="979"/>
                    <a:pt x="691" y="978"/>
                    <a:pt x="691" y="977"/>
                  </a:cubicBezTo>
                  <a:cubicBezTo>
                    <a:pt x="691" y="976"/>
                    <a:pt x="690" y="975"/>
                    <a:pt x="689" y="974"/>
                  </a:cubicBezTo>
                  <a:cubicBezTo>
                    <a:pt x="689" y="973"/>
                    <a:pt x="688" y="972"/>
                    <a:pt x="687" y="970"/>
                  </a:cubicBezTo>
                  <a:cubicBezTo>
                    <a:pt x="687" y="969"/>
                    <a:pt x="686" y="969"/>
                    <a:pt x="686" y="969"/>
                  </a:cubicBezTo>
                  <a:cubicBezTo>
                    <a:pt x="686" y="968"/>
                    <a:pt x="686" y="966"/>
                    <a:pt x="685" y="964"/>
                  </a:cubicBezTo>
                  <a:cubicBezTo>
                    <a:pt x="685" y="963"/>
                    <a:pt x="683" y="960"/>
                    <a:pt x="682" y="958"/>
                  </a:cubicBezTo>
                  <a:cubicBezTo>
                    <a:pt x="682" y="957"/>
                    <a:pt x="681" y="957"/>
                    <a:pt x="680" y="956"/>
                  </a:cubicBezTo>
                  <a:cubicBezTo>
                    <a:pt x="679" y="955"/>
                    <a:pt x="676" y="952"/>
                    <a:pt x="676" y="952"/>
                  </a:cubicBezTo>
                  <a:cubicBezTo>
                    <a:pt x="674" y="946"/>
                    <a:pt x="674" y="946"/>
                    <a:pt x="674" y="946"/>
                  </a:cubicBezTo>
                  <a:cubicBezTo>
                    <a:pt x="674" y="946"/>
                    <a:pt x="673" y="938"/>
                    <a:pt x="674" y="939"/>
                  </a:cubicBezTo>
                  <a:cubicBezTo>
                    <a:pt x="674" y="939"/>
                    <a:pt x="674" y="942"/>
                    <a:pt x="674" y="942"/>
                  </a:cubicBezTo>
                  <a:cubicBezTo>
                    <a:pt x="674" y="942"/>
                    <a:pt x="677" y="946"/>
                    <a:pt x="678" y="946"/>
                  </a:cubicBezTo>
                  <a:cubicBezTo>
                    <a:pt x="678" y="947"/>
                    <a:pt x="680" y="949"/>
                    <a:pt x="681" y="948"/>
                  </a:cubicBezTo>
                  <a:cubicBezTo>
                    <a:pt x="681" y="948"/>
                    <a:pt x="681" y="951"/>
                    <a:pt x="682" y="951"/>
                  </a:cubicBezTo>
                  <a:cubicBezTo>
                    <a:pt x="682" y="951"/>
                    <a:pt x="684" y="956"/>
                    <a:pt x="685" y="957"/>
                  </a:cubicBezTo>
                  <a:cubicBezTo>
                    <a:pt x="685" y="958"/>
                    <a:pt x="686" y="959"/>
                    <a:pt x="686" y="959"/>
                  </a:cubicBezTo>
                  <a:cubicBezTo>
                    <a:pt x="686" y="959"/>
                    <a:pt x="689" y="963"/>
                    <a:pt x="689" y="963"/>
                  </a:cubicBezTo>
                  <a:cubicBezTo>
                    <a:pt x="690" y="963"/>
                    <a:pt x="692" y="967"/>
                    <a:pt x="692" y="967"/>
                  </a:cubicBezTo>
                  <a:cubicBezTo>
                    <a:pt x="698" y="966"/>
                    <a:pt x="698" y="966"/>
                    <a:pt x="698" y="966"/>
                  </a:cubicBezTo>
                  <a:cubicBezTo>
                    <a:pt x="698" y="964"/>
                    <a:pt x="699" y="962"/>
                    <a:pt x="699" y="960"/>
                  </a:cubicBezTo>
                  <a:cubicBezTo>
                    <a:pt x="699" y="959"/>
                    <a:pt x="700" y="956"/>
                    <a:pt x="700" y="956"/>
                  </a:cubicBezTo>
                  <a:cubicBezTo>
                    <a:pt x="701" y="951"/>
                    <a:pt x="701" y="951"/>
                    <a:pt x="701" y="951"/>
                  </a:cubicBezTo>
                  <a:cubicBezTo>
                    <a:pt x="702" y="947"/>
                    <a:pt x="702" y="947"/>
                    <a:pt x="702" y="947"/>
                  </a:cubicBezTo>
                  <a:cubicBezTo>
                    <a:pt x="703" y="949"/>
                    <a:pt x="703" y="949"/>
                    <a:pt x="703" y="949"/>
                  </a:cubicBezTo>
                  <a:cubicBezTo>
                    <a:pt x="703" y="949"/>
                    <a:pt x="703" y="949"/>
                    <a:pt x="703" y="950"/>
                  </a:cubicBezTo>
                  <a:cubicBezTo>
                    <a:pt x="703" y="951"/>
                    <a:pt x="702" y="953"/>
                    <a:pt x="702" y="953"/>
                  </a:cubicBezTo>
                  <a:cubicBezTo>
                    <a:pt x="702" y="954"/>
                    <a:pt x="701" y="957"/>
                    <a:pt x="701" y="958"/>
                  </a:cubicBezTo>
                  <a:cubicBezTo>
                    <a:pt x="701" y="959"/>
                    <a:pt x="701" y="961"/>
                    <a:pt x="701" y="961"/>
                  </a:cubicBezTo>
                  <a:cubicBezTo>
                    <a:pt x="701" y="961"/>
                    <a:pt x="704" y="963"/>
                    <a:pt x="705" y="963"/>
                  </a:cubicBezTo>
                  <a:cubicBezTo>
                    <a:pt x="707" y="963"/>
                    <a:pt x="707" y="965"/>
                    <a:pt x="708" y="966"/>
                  </a:cubicBezTo>
                  <a:cubicBezTo>
                    <a:pt x="709" y="966"/>
                    <a:pt x="710" y="968"/>
                    <a:pt x="712" y="968"/>
                  </a:cubicBezTo>
                  <a:cubicBezTo>
                    <a:pt x="713" y="969"/>
                    <a:pt x="713" y="970"/>
                    <a:pt x="714" y="971"/>
                  </a:cubicBezTo>
                  <a:cubicBezTo>
                    <a:pt x="714" y="972"/>
                    <a:pt x="714" y="974"/>
                    <a:pt x="715" y="974"/>
                  </a:cubicBezTo>
                  <a:cubicBezTo>
                    <a:pt x="716" y="975"/>
                    <a:pt x="717" y="977"/>
                    <a:pt x="717" y="977"/>
                  </a:cubicBezTo>
                  <a:cubicBezTo>
                    <a:pt x="717" y="977"/>
                    <a:pt x="719" y="980"/>
                    <a:pt x="720" y="981"/>
                  </a:cubicBezTo>
                  <a:cubicBezTo>
                    <a:pt x="722" y="982"/>
                    <a:pt x="721" y="983"/>
                    <a:pt x="722" y="983"/>
                  </a:cubicBezTo>
                  <a:cubicBezTo>
                    <a:pt x="723" y="983"/>
                    <a:pt x="723" y="986"/>
                    <a:pt x="724" y="988"/>
                  </a:cubicBezTo>
                  <a:cubicBezTo>
                    <a:pt x="726" y="990"/>
                    <a:pt x="727" y="992"/>
                    <a:pt x="728" y="993"/>
                  </a:cubicBezTo>
                  <a:cubicBezTo>
                    <a:pt x="728" y="994"/>
                    <a:pt x="734" y="1001"/>
                    <a:pt x="736" y="1002"/>
                  </a:cubicBezTo>
                  <a:cubicBezTo>
                    <a:pt x="737" y="1003"/>
                    <a:pt x="737" y="1005"/>
                    <a:pt x="737" y="1005"/>
                  </a:cubicBezTo>
                  <a:cubicBezTo>
                    <a:pt x="737" y="1005"/>
                    <a:pt x="737" y="1008"/>
                    <a:pt x="737" y="1009"/>
                  </a:cubicBezTo>
                  <a:cubicBezTo>
                    <a:pt x="737" y="1010"/>
                    <a:pt x="737" y="1012"/>
                    <a:pt x="738" y="1013"/>
                  </a:cubicBezTo>
                  <a:cubicBezTo>
                    <a:pt x="738" y="1014"/>
                    <a:pt x="738" y="1016"/>
                    <a:pt x="740" y="1016"/>
                  </a:cubicBezTo>
                  <a:cubicBezTo>
                    <a:pt x="741" y="1017"/>
                    <a:pt x="741" y="1018"/>
                    <a:pt x="742" y="1018"/>
                  </a:cubicBezTo>
                  <a:cubicBezTo>
                    <a:pt x="743" y="1017"/>
                    <a:pt x="744" y="1020"/>
                    <a:pt x="746" y="1020"/>
                  </a:cubicBezTo>
                  <a:cubicBezTo>
                    <a:pt x="748" y="1020"/>
                    <a:pt x="749" y="1023"/>
                    <a:pt x="749" y="1024"/>
                  </a:cubicBezTo>
                  <a:cubicBezTo>
                    <a:pt x="750" y="1024"/>
                    <a:pt x="751" y="1025"/>
                    <a:pt x="751" y="1025"/>
                  </a:cubicBezTo>
                  <a:cubicBezTo>
                    <a:pt x="751" y="1025"/>
                    <a:pt x="751" y="1028"/>
                    <a:pt x="753" y="1028"/>
                  </a:cubicBezTo>
                  <a:cubicBezTo>
                    <a:pt x="755" y="1028"/>
                    <a:pt x="754" y="1030"/>
                    <a:pt x="755" y="1031"/>
                  </a:cubicBezTo>
                  <a:cubicBezTo>
                    <a:pt x="756" y="1031"/>
                    <a:pt x="757" y="1034"/>
                    <a:pt x="759" y="1035"/>
                  </a:cubicBezTo>
                  <a:cubicBezTo>
                    <a:pt x="760" y="1036"/>
                    <a:pt x="760" y="1042"/>
                    <a:pt x="760" y="1042"/>
                  </a:cubicBezTo>
                  <a:cubicBezTo>
                    <a:pt x="760" y="1042"/>
                    <a:pt x="760" y="1049"/>
                    <a:pt x="761" y="1051"/>
                  </a:cubicBezTo>
                  <a:cubicBezTo>
                    <a:pt x="762" y="1053"/>
                    <a:pt x="762" y="1054"/>
                    <a:pt x="762" y="1055"/>
                  </a:cubicBezTo>
                  <a:cubicBezTo>
                    <a:pt x="762" y="1056"/>
                    <a:pt x="761" y="1059"/>
                    <a:pt x="761" y="1059"/>
                  </a:cubicBezTo>
                  <a:cubicBezTo>
                    <a:pt x="761" y="1059"/>
                    <a:pt x="761" y="1062"/>
                    <a:pt x="762" y="1063"/>
                  </a:cubicBezTo>
                  <a:cubicBezTo>
                    <a:pt x="763" y="1064"/>
                    <a:pt x="763" y="1066"/>
                    <a:pt x="764" y="1067"/>
                  </a:cubicBezTo>
                  <a:cubicBezTo>
                    <a:pt x="766" y="1068"/>
                    <a:pt x="767" y="1070"/>
                    <a:pt x="767" y="1070"/>
                  </a:cubicBezTo>
                  <a:cubicBezTo>
                    <a:pt x="767" y="1070"/>
                    <a:pt x="768" y="1071"/>
                    <a:pt x="770" y="1071"/>
                  </a:cubicBezTo>
                  <a:cubicBezTo>
                    <a:pt x="771" y="1071"/>
                    <a:pt x="771" y="1073"/>
                    <a:pt x="773" y="1073"/>
                  </a:cubicBezTo>
                  <a:cubicBezTo>
                    <a:pt x="776" y="1074"/>
                    <a:pt x="776" y="1076"/>
                    <a:pt x="776" y="1076"/>
                  </a:cubicBezTo>
                  <a:cubicBezTo>
                    <a:pt x="777" y="1077"/>
                    <a:pt x="777" y="1078"/>
                    <a:pt x="778" y="1079"/>
                  </a:cubicBezTo>
                  <a:cubicBezTo>
                    <a:pt x="779" y="1079"/>
                    <a:pt x="779" y="1080"/>
                    <a:pt x="779" y="1081"/>
                  </a:cubicBezTo>
                  <a:cubicBezTo>
                    <a:pt x="780" y="1081"/>
                    <a:pt x="782" y="1083"/>
                    <a:pt x="783" y="1084"/>
                  </a:cubicBezTo>
                  <a:cubicBezTo>
                    <a:pt x="784" y="1085"/>
                    <a:pt x="787" y="1087"/>
                    <a:pt x="787" y="1087"/>
                  </a:cubicBezTo>
                  <a:cubicBezTo>
                    <a:pt x="787" y="1087"/>
                    <a:pt x="790" y="1095"/>
                    <a:pt x="792" y="1098"/>
                  </a:cubicBezTo>
                  <a:cubicBezTo>
                    <a:pt x="793" y="1101"/>
                    <a:pt x="793" y="1103"/>
                    <a:pt x="793" y="1103"/>
                  </a:cubicBezTo>
                  <a:cubicBezTo>
                    <a:pt x="793" y="1103"/>
                    <a:pt x="794" y="1106"/>
                    <a:pt x="794" y="1106"/>
                  </a:cubicBezTo>
                  <a:cubicBezTo>
                    <a:pt x="795" y="1107"/>
                    <a:pt x="795" y="1108"/>
                    <a:pt x="797" y="1110"/>
                  </a:cubicBezTo>
                  <a:cubicBezTo>
                    <a:pt x="798" y="1111"/>
                    <a:pt x="799" y="1112"/>
                    <a:pt x="799" y="1112"/>
                  </a:cubicBezTo>
                  <a:cubicBezTo>
                    <a:pt x="799" y="1112"/>
                    <a:pt x="801" y="1113"/>
                    <a:pt x="802" y="1113"/>
                  </a:cubicBezTo>
                  <a:cubicBezTo>
                    <a:pt x="803" y="1113"/>
                    <a:pt x="802" y="1114"/>
                    <a:pt x="803" y="1115"/>
                  </a:cubicBezTo>
                  <a:cubicBezTo>
                    <a:pt x="804" y="1117"/>
                    <a:pt x="804" y="1118"/>
                    <a:pt x="805" y="1119"/>
                  </a:cubicBezTo>
                  <a:cubicBezTo>
                    <a:pt x="806" y="1120"/>
                    <a:pt x="807" y="1122"/>
                    <a:pt x="808" y="1123"/>
                  </a:cubicBezTo>
                  <a:cubicBezTo>
                    <a:pt x="809" y="1123"/>
                    <a:pt x="808" y="1126"/>
                    <a:pt x="808" y="1126"/>
                  </a:cubicBezTo>
                  <a:cubicBezTo>
                    <a:pt x="808" y="1128"/>
                    <a:pt x="808" y="1128"/>
                    <a:pt x="808" y="1128"/>
                  </a:cubicBezTo>
                  <a:cubicBezTo>
                    <a:pt x="808" y="1128"/>
                    <a:pt x="809" y="1131"/>
                    <a:pt x="810" y="1132"/>
                  </a:cubicBezTo>
                  <a:cubicBezTo>
                    <a:pt x="811" y="1133"/>
                    <a:pt x="811" y="1133"/>
                    <a:pt x="811" y="1133"/>
                  </a:cubicBezTo>
                  <a:cubicBezTo>
                    <a:pt x="811" y="1134"/>
                    <a:pt x="810" y="1135"/>
                    <a:pt x="810" y="1135"/>
                  </a:cubicBezTo>
                  <a:cubicBezTo>
                    <a:pt x="811" y="1137"/>
                    <a:pt x="811" y="1137"/>
                    <a:pt x="811" y="1137"/>
                  </a:cubicBezTo>
                  <a:cubicBezTo>
                    <a:pt x="810" y="1141"/>
                    <a:pt x="810" y="1141"/>
                    <a:pt x="810" y="1141"/>
                  </a:cubicBezTo>
                  <a:cubicBezTo>
                    <a:pt x="812" y="1149"/>
                    <a:pt x="812" y="1149"/>
                    <a:pt x="812" y="1149"/>
                  </a:cubicBezTo>
                  <a:cubicBezTo>
                    <a:pt x="812" y="1149"/>
                    <a:pt x="814" y="1162"/>
                    <a:pt x="816" y="1166"/>
                  </a:cubicBezTo>
                  <a:cubicBezTo>
                    <a:pt x="817" y="1169"/>
                    <a:pt x="817" y="1169"/>
                    <a:pt x="817" y="1169"/>
                  </a:cubicBezTo>
                  <a:cubicBezTo>
                    <a:pt x="817" y="1169"/>
                    <a:pt x="818" y="1173"/>
                    <a:pt x="818" y="1175"/>
                  </a:cubicBezTo>
                  <a:cubicBezTo>
                    <a:pt x="819" y="1176"/>
                    <a:pt x="820" y="1178"/>
                    <a:pt x="820" y="1178"/>
                  </a:cubicBezTo>
                  <a:cubicBezTo>
                    <a:pt x="820" y="1178"/>
                    <a:pt x="822" y="1180"/>
                    <a:pt x="822" y="1180"/>
                  </a:cubicBezTo>
                  <a:cubicBezTo>
                    <a:pt x="823" y="1180"/>
                    <a:pt x="825" y="1181"/>
                    <a:pt x="825" y="1181"/>
                  </a:cubicBezTo>
                  <a:cubicBezTo>
                    <a:pt x="825" y="1181"/>
                    <a:pt x="833" y="1180"/>
                    <a:pt x="834" y="1180"/>
                  </a:cubicBezTo>
                  <a:cubicBezTo>
                    <a:pt x="835" y="1180"/>
                    <a:pt x="838" y="1180"/>
                    <a:pt x="838" y="1179"/>
                  </a:cubicBezTo>
                  <a:cubicBezTo>
                    <a:pt x="839" y="1179"/>
                    <a:pt x="841" y="1179"/>
                    <a:pt x="841" y="1179"/>
                  </a:cubicBezTo>
                  <a:cubicBezTo>
                    <a:pt x="841" y="1179"/>
                    <a:pt x="843" y="1178"/>
                    <a:pt x="845" y="1177"/>
                  </a:cubicBezTo>
                  <a:cubicBezTo>
                    <a:pt x="846" y="1176"/>
                    <a:pt x="848" y="1174"/>
                    <a:pt x="849" y="1173"/>
                  </a:cubicBezTo>
                  <a:cubicBezTo>
                    <a:pt x="850" y="1172"/>
                    <a:pt x="852" y="1172"/>
                    <a:pt x="852" y="1172"/>
                  </a:cubicBezTo>
                  <a:cubicBezTo>
                    <a:pt x="853" y="1172"/>
                    <a:pt x="855" y="1172"/>
                    <a:pt x="856" y="1172"/>
                  </a:cubicBezTo>
                  <a:cubicBezTo>
                    <a:pt x="857" y="1171"/>
                    <a:pt x="859" y="1172"/>
                    <a:pt x="860" y="1171"/>
                  </a:cubicBezTo>
                  <a:cubicBezTo>
                    <a:pt x="861" y="1171"/>
                    <a:pt x="864" y="1169"/>
                    <a:pt x="865" y="1168"/>
                  </a:cubicBezTo>
                  <a:cubicBezTo>
                    <a:pt x="866" y="1168"/>
                    <a:pt x="868" y="1169"/>
                    <a:pt x="869" y="1168"/>
                  </a:cubicBezTo>
                  <a:cubicBezTo>
                    <a:pt x="870" y="1168"/>
                    <a:pt x="871" y="1169"/>
                    <a:pt x="872" y="1168"/>
                  </a:cubicBezTo>
                  <a:cubicBezTo>
                    <a:pt x="872" y="1167"/>
                    <a:pt x="874" y="1168"/>
                    <a:pt x="876" y="1166"/>
                  </a:cubicBezTo>
                  <a:cubicBezTo>
                    <a:pt x="877" y="1165"/>
                    <a:pt x="878" y="1165"/>
                    <a:pt x="879" y="1164"/>
                  </a:cubicBezTo>
                  <a:cubicBezTo>
                    <a:pt x="880" y="1162"/>
                    <a:pt x="881" y="1163"/>
                    <a:pt x="881" y="1163"/>
                  </a:cubicBezTo>
                  <a:cubicBezTo>
                    <a:pt x="881" y="1163"/>
                    <a:pt x="884" y="1164"/>
                    <a:pt x="884" y="1164"/>
                  </a:cubicBezTo>
                  <a:cubicBezTo>
                    <a:pt x="885" y="1163"/>
                    <a:pt x="887" y="1164"/>
                    <a:pt x="888" y="1164"/>
                  </a:cubicBezTo>
                  <a:cubicBezTo>
                    <a:pt x="888" y="1164"/>
                    <a:pt x="890" y="1163"/>
                    <a:pt x="890" y="1162"/>
                  </a:cubicBezTo>
                  <a:cubicBezTo>
                    <a:pt x="891" y="1161"/>
                    <a:pt x="894" y="1159"/>
                    <a:pt x="894" y="1159"/>
                  </a:cubicBezTo>
                  <a:cubicBezTo>
                    <a:pt x="896" y="1156"/>
                    <a:pt x="896" y="1156"/>
                    <a:pt x="896" y="1156"/>
                  </a:cubicBezTo>
                  <a:cubicBezTo>
                    <a:pt x="899" y="1154"/>
                    <a:pt x="899" y="1154"/>
                    <a:pt x="899" y="1154"/>
                  </a:cubicBezTo>
                  <a:cubicBezTo>
                    <a:pt x="899" y="1154"/>
                    <a:pt x="902" y="1152"/>
                    <a:pt x="903" y="1152"/>
                  </a:cubicBezTo>
                  <a:cubicBezTo>
                    <a:pt x="904" y="1151"/>
                    <a:pt x="905" y="1151"/>
                    <a:pt x="905" y="1151"/>
                  </a:cubicBezTo>
                  <a:cubicBezTo>
                    <a:pt x="905" y="1151"/>
                    <a:pt x="908" y="1151"/>
                    <a:pt x="908" y="1151"/>
                  </a:cubicBezTo>
                  <a:cubicBezTo>
                    <a:pt x="909" y="1151"/>
                    <a:pt x="914" y="1150"/>
                    <a:pt x="914" y="1150"/>
                  </a:cubicBezTo>
                  <a:cubicBezTo>
                    <a:pt x="914" y="1150"/>
                    <a:pt x="917" y="1149"/>
                    <a:pt x="918" y="1149"/>
                  </a:cubicBezTo>
                  <a:cubicBezTo>
                    <a:pt x="918" y="1149"/>
                    <a:pt x="923" y="1147"/>
                    <a:pt x="923" y="1147"/>
                  </a:cubicBezTo>
                  <a:cubicBezTo>
                    <a:pt x="927" y="1146"/>
                    <a:pt x="927" y="1146"/>
                    <a:pt x="927" y="1146"/>
                  </a:cubicBezTo>
                  <a:cubicBezTo>
                    <a:pt x="927" y="1146"/>
                    <a:pt x="930" y="1145"/>
                    <a:pt x="931" y="1145"/>
                  </a:cubicBezTo>
                  <a:cubicBezTo>
                    <a:pt x="931" y="1144"/>
                    <a:pt x="933" y="1144"/>
                    <a:pt x="935" y="1142"/>
                  </a:cubicBezTo>
                  <a:cubicBezTo>
                    <a:pt x="939" y="1138"/>
                    <a:pt x="939" y="1138"/>
                    <a:pt x="939" y="1138"/>
                  </a:cubicBezTo>
                  <a:cubicBezTo>
                    <a:pt x="939" y="1138"/>
                    <a:pt x="939" y="1133"/>
                    <a:pt x="940" y="1132"/>
                  </a:cubicBezTo>
                  <a:cubicBezTo>
                    <a:pt x="941" y="1130"/>
                    <a:pt x="943" y="1130"/>
                    <a:pt x="943" y="1130"/>
                  </a:cubicBezTo>
                  <a:cubicBezTo>
                    <a:pt x="943" y="1130"/>
                    <a:pt x="945" y="1129"/>
                    <a:pt x="946" y="1128"/>
                  </a:cubicBezTo>
                  <a:cubicBezTo>
                    <a:pt x="946" y="1128"/>
                    <a:pt x="949" y="1126"/>
                    <a:pt x="949" y="1126"/>
                  </a:cubicBezTo>
                  <a:cubicBezTo>
                    <a:pt x="952" y="1125"/>
                    <a:pt x="952" y="1125"/>
                    <a:pt x="952" y="1125"/>
                  </a:cubicBezTo>
                  <a:cubicBezTo>
                    <a:pt x="953" y="1125"/>
                    <a:pt x="953" y="1125"/>
                    <a:pt x="953" y="1125"/>
                  </a:cubicBezTo>
                  <a:cubicBezTo>
                    <a:pt x="956" y="1125"/>
                    <a:pt x="956" y="1125"/>
                    <a:pt x="956" y="1125"/>
                  </a:cubicBezTo>
                  <a:cubicBezTo>
                    <a:pt x="956" y="1125"/>
                    <a:pt x="959" y="1123"/>
                    <a:pt x="960" y="1122"/>
                  </a:cubicBezTo>
                  <a:cubicBezTo>
                    <a:pt x="960" y="1121"/>
                    <a:pt x="966" y="1120"/>
                    <a:pt x="966" y="1120"/>
                  </a:cubicBezTo>
                  <a:cubicBezTo>
                    <a:pt x="966" y="1120"/>
                    <a:pt x="972" y="1120"/>
                    <a:pt x="973" y="1120"/>
                  </a:cubicBezTo>
                  <a:cubicBezTo>
                    <a:pt x="975" y="1119"/>
                    <a:pt x="977" y="1120"/>
                    <a:pt x="977" y="1120"/>
                  </a:cubicBezTo>
                  <a:cubicBezTo>
                    <a:pt x="977" y="1119"/>
                    <a:pt x="977" y="1120"/>
                    <a:pt x="978" y="1117"/>
                  </a:cubicBezTo>
                  <a:cubicBezTo>
                    <a:pt x="979" y="1114"/>
                    <a:pt x="980" y="1113"/>
                    <a:pt x="983" y="1108"/>
                  </a:cubicBezTo>
                  <a:cubicBezTo>
                    <a:pt x="983" y="1108"/>
                    <a:pt x="985" y="1108"/>
                    <a:pt x="985" y="1108"/>
                  </a:cubicBezTo>
                  <a:cubicBezTo>
                    <a:pt x="986" y="1108"/>
                    <a:pt x="992" y="1107"/>
                    <a:pt x="992" y="1107"/>
                  </a:cubicBezTo>
                  <a:cubicBezTo>
                    <a:pt x="996" y="1106"/>
                    <a:pt x="996" y="1106"/>
                    <a:pt x="996" y="1106"/>
                  </a:cubicBezTo>
                  <a:cubicBezTo>
                    <a:pt x="996" y="1106"/>
                    <a:pt x="997" y="1104"/>
                    <a:pt x="997" y="1103"/>
                  </a:cubicBezTo>
                  <a:cubicBezTo>
                    <a:pt x="997" y="1101"/>
                    <a:pt x="999" y="1101"/>
                    <a:pt x="999" y="1100"/>
                  </a:cubicBezTo>
                  <a:cubicBezTo>
                    <a:pt x="1000" y="1098"/>
                    <a:pt x="1001" y="1097"/>
                    <a:pt x="1001" y="1096"/>
                  </a:cubicBezTo>
                  <a:cubicBezTo>
                    <a:pt x="1001" y="1095"/>
                    <a:pt x="1003" y="1094"/>
                    <a:pt x="1004" y="1093"/>
                  </a:cubicBezTo>
                  <a:cubicBezTo>
                    <a:pt x="1004" y="1092"/>
                    <a:pt x="1010" y="1093"/>
                    <a:pt x="1011" y="1093"/>
                  </a:cubicBezTo>
                  <a:cubicBezTo>
                    <a:pt x="1011" y="1092"/>
                    <a:pt x="1014" y="1092"/>
                    <a:pt x="1014" y="1092"/>
                  </a:cubicBezTo>
                  <a:cubicBezTo>
                    <a:pt x="1014" y="1092"/>
                    <a:pt x="1015" y="1083"/>
                    <a:pt x="1014" y="1079"/>
                  </a:cubicBezTo>
                  <a:cubicBezTo>
                    <a:pt x="1014" y="1076"/>
                    <a:pt x="1015" y="1078"/>
                    <a:pt x="1015" y="1077"/>
                  </a:cubicBezTo>
                  <a:cubicBezTo>
                    <a:pt x="1016" y="1076"/>
                    <a:pt x="1017" y="1074"/>
                    <a:pt x="1018" y="1072"/>
                  </a:cubicBezTo>
                  <a:cubicBezTo>
                    <a:pt x="1019" y="1071"/>
                    <a:pt x="1021" y="1071"/>
                    <a:pt x="1021" y="1070"/>
                  </a:cubicBezTo>
                  <a:cubicBezTo>
                    <a:pt x="1022" y="1070"/>
                    <a:pt x="1023" y="1069"/>
                    <a:pt x="1024" y="1068"/>
                  </a:cubicBezTo>
                  <a:cubicBezTo>
                    <a:pt x="1025" y="1066"/>
                    <a:pt x="1026" y="1066"/>
                    <a:pt x="1028" y="1064"/>
                  </a:cubicBezTo>
                  <a:cubicBezTo>
                    <a:pt x="1030" y="1062"/>
                    <a:pt x="1031" y="1061"/>
                    <a:pt x="1031" y="1060"/>
                  </a:cubicBezTo>
                  <a:cubicBezTo>
                    <a:pt x="1032" y="1059"/>
                    <a:pt x="1034" y="1058"/>
                    <a:pt x="1034" y="1056"/>
                  </a:cubicBezTo>
                  <a:cubicBezTo>
                    <a:pt x="1035" y="1055"/>
                    <a:pt x="1039" y="1053"/>
                    <a:pt x="1039" y="1052"/>
                  </a:cubicBezTo>
                  <a:cubicBezTo>
                    <a:pt x="1039" y="1051"/>
                    <a:pt x="1042" y="1044"/>
                    <a:pt x="1042" y="1044"/>
                  </a:cubicBezTo>
                  <a:cubicBezTo>
                    <a:pt x="1040" y="1044"/>
                    <a:pt x="1040" y="1044"/>
                    <a:pt x="1040" y="1044"/>
                  </a:cubicBezTo>
                  <a:cubicBezTo>
                    <a:pt x="1038" y="1041"/>
                    <a:pt x="1038" y="1041"/>
                    <a:pt x="1038" y="1041"/>
                  </a:cubicBezTo>
                  <a:cubicBezTo>
                    <a:pt x="1035" y="1038"/>
                    <a:pt x="1035" y="1038"/>
                    <a:pt x="1035" y="1038"/>
                  </a:cubicBezTo>
                  <a:cubicBezTo>
                    <a:pt x="1035" y="1038"/>
                    <a:pt x="1032" y="1035"/>
                    <a:pt x="1031" y="1035"/>
                  </a:cubicBezTo>
                  <a:cubicBezTo>
                    <a:pt x="1031" y="1034"/>
                    <a:pt x="1028" y="1031"/>
                    <a:pt x="1028" y="1031"/>
                  </a:cubicBezTo>
                  <a:cubicBezTo>
                    <a:pt x="1028" y="1031"/>
                    <a:pt x="1025" y="1028"/>
                    <a:pt x="1025" y="1028"/>
                  </a:cubicBezTo>
                  <a:cubicBezTo>
                    <a:pt x="1024" y="1027"/>
                    <a:pt x="1022" y="1025"/>
                    <a:pt x="1021" y="1025"/>
                  </a:cubicBezTo>
                  <a:cubicBezTo>
                    <a:pt x="1020" y="1024"/>
                    <a:pt x="1017" y="1026"/>
                    <a:pt x="1016" y="1025"/>
                  </a:cubicBezTo>
                  <a:cubicBezTo>
                    <a:pt x="1015" y="1025"/>
                    <a:pt x="1014" y="1024"/>
                    <a:pt x="1014" y="1024"/>
                  </a:cubicBezTo>
                  <a:cubicBezTo>
                    <a:pt x="1014" y="1023"/>
                    <a:pt x="1011" y="1023"/>
                    <a:pt x="1010" y="1023"/>
                  </a:cubicBezTo>
                  <a:cubicBezTo>
                    <a:pt x="1009" y="1023"/>
                    <a:pt x="1006" y="1022"/>
                    <a:pt x="1006" y="1021"/>
                  </a:cubicBezTo>
                  <a:cubicBezTo>
                    <a:pt x="1005" y="1021"/>
                    <a:pt x="1005" y="1021"/>
                    <a:pt x="1005" y="1019"/>
                  </a:cubicBezTo>
                  <a:cubicBezTo>
                    <a:pt x="1004" y="1017"/>
                    <a:pt x="1002" y="1018"/>
                    <a:pt x="1000" y="1016"/>
                  </a:cubicBezTo>
                  <a:cubicBezTo>
                    <a:pt x="999" y="1015"/>
                    <a:pt x="998" y="1014"/>
                    <a:pt x="998" y="1014"/>
                  </a:cubicBezTo>
                  <a:cubicBezTo>
                    <a:pt x="998" y="1013"/>
                    <a:pt x="995" y="1005"/>
                    <a:pt x="995" y="1005"/>
                  </a:cubicBezTo>
                  <a:cubicBezTo>
                    <a:pt x="994" y="1004"/>
                    <a:pt x="994" y="1001"/>
                    <a:pt x="994" y="1000"/>
                  </a:cubicBezTo>
                  <a:cubicBezTo>
                    <a:pt x="994" y="1000"/>
                    <a:pt x="996" y="997"/>
                    <a:pt x="995" y="995"/>
                  </a:cubicBezTo>
                  <a:cubicBezTo>
                    <a:pt x="995" y="994"/>
                    <a:pt x="994" y="987"/>
                    <a:pt x="994" y="987"/>
                  </a:cubicBezTo>
                  <a:cubicBezTo>
                    <a:pt x="994" y="987"/>
                    <a:pt x="993" y="990"/>
                    <a:pt x="993" y="991"/>
                  </a:cubicBezTo>
                  <a:cubicBezTo>
                    <a:pt x="992" y="992"/>
                    <a:pt x="990" y="993"/>
                    <a:pt x="989" y="994"/>
                  </a:cubicBezTo>
                  <a:cubicBezTo>
                    <a:pt x="987" y="996"/>
                    <a:pt x="986" y="997"/>
                    <a:pt x="986" y="997"/>
                  </a:cubicBezTo>
                  <a:cubicBezTo>
                    <a:pt x="983" y="1000"/>
                    <a:pt x="983" y="1000"/>
                    <a:pt x="983" y="1000"/>
                  </a:cubicBezTo>
                  <a:cubicBezTo>
                    <a:pt x="980" y="1004"/>
                    <a:pt x="980" y="1004"/>
                    <a:pt x="980" y="1004"/>
                  </a:cubicBezTo>
                  <a:cubicBezTo>
                    <a:pt x="980" y="1004"/>
                    <a:pt x="977" y="1007"/>
                    <a:pt x="977" y="1007"/>
                  </a:cubicBezTo>
                  <a:cubicBezTo>
                    <a:pt x="977" y="1008"/>
                    <a:pt x="973" y="1010"/>
                    <a:pt x="973" y="1010"/>
                  </a:cubicBezTo>
                  <a:cubicBezTo>
                    <a:pt x="973" y="1010"/>
                    <a:pt x="969" y="1014"/>
                    <a:pt x="968" y="1014"/>
                  </a:cubicBezTo>
                  <a:cubicBezTo>
                    <a:pt x="968" y="1015"/>
                    <a:pt x="960" y="1018"/>
                    <a:pt x="959" y="1018"/>
                  </a:cubicBezTo>
                  <a:cubicBezTo>
                    <a:pt x="958" y="1019"/>
                    <a:pt x="956" y="1020"/>
                    <a:pt x="955" y="1020"/>
                  </a:cubicBezTo>
                  <a:cubicBezTo>
                    <a:pt x="954" y="1019"/>
                    <a:pt x="950" y="1019"/>
                    <a:pt x="949" y="1019"/>
                  </a:cubicBezTo>
                  <a:cubicBezTo>
                    <a:pt x="948" y="1019"/>
                    <a:pt x="945" y="1019"/>
                    <a:pt x="945" y="1019"/>
                  </a:cubicBezTo>
                  <a:cubicBezTo>
                    <a:pt x="945" y="1019"/>
                    <a:pt x="943" y="1021"/>
                    <a:pt x="942" y="1021"/>
                  </a:cubicBezTo>
                  <a:cubicBezTo>
                    <a:pt x="940" y="1021"/>
                    <a:pt x="938" y="1021"/>
                    <a:pt x="938" y="1021"/>
                  </a:cubicBezTo>
                  <a:cubicBezTo>
                    <a:pt x="938" y="1021"/>
                    <a:pt x="936" y="1019"/>
                    <a:pt x="934" y="1019"/>
                  </a:cubicBezTo>
                  <a:cubicBezTo>
                    <a:pt x="934" y="1019"/>
                    <a:pt x="933" y="1019"/>
                    <a:pt x="932" y="1019"/>
                  </a:cubicBezTo>
                  <a:cubicBezTo>
                    <a:pt x="931" y="1019"/>
                    <a:pt x="931" y="1019"/>
                    <a:pt x="930" y="1019"/>
                  </a:cubicBezTo>
                  <a:cubicBezTo>
                    <a:pt x="928" y="1018"/>
                    <a:pt x="926" y="1015"/>
                    <a:pt x="926" y="1014"/>
                  </a:cubicBezTo>
                  <a:cubicBezTo>
                    <a:pt x="926" y="1013"/>
                    <a:pt x="927" y="1013"/>
                    <a:pt x="928" y="1012"/>
                  </a:cubicBezTo>
                  <a:cubicBezTo>
                    <a:pt x="928" y="1011"/>
                    <a:pt x="929" y="1011"/>
                    <a:pt x="928" y="1008"/>
                  </a:cubicBezTo>
                  <a:cubicBezTo>
                    <a:pt x="927" y="1005"/>
                    <a:pt x="930" y="1005"/>
                    <a:pt x="931" y="1004"/>
                  </a:cubicBezTo>
                  <a:cubicBezTo>
                    <a:pt x="932" y="1004"/>
                    <a:pt x="932" y="998"/>
                    <a:pt x="931" y="997"/>
                  </a:cubicBezTo>
                  <a:cubicBezTo>
                    <a:pt x="931" y="996"/>
                    <a:pt x="929" y="994"/>
                    <a:pt x="928" y="993"/>
                  </a:cubicBezTo>
                  <a:cubicBezTo>
                    <a:pt x="927" y="992"/>
                    <a:pt x="926" y="992"/>
                    <a:pt x="926" y="991"/>
                  </a:cubicBezTo>
                  <a:cubicBezTo>
                    <a:pt x="926" y="991"/>
                    <a:pt x="923" y="993"/>
                    <a:pt x="922" y="994"/>
                  </a:cubicBezTo>
                  <a:cubicBezTo>
                    <a:pt x="921" y="994"/>
                    <a:pt x="920" y="999"/>
                    <a:pt x="919" y="999"/>
                  </a:cubicBezTo>
                  <a:cubicBezTo>
                    <a:pt x="918" y="999"/>
                    <a:pt x="919" y="1006"/>
                    <a:pt x="918" y="1005"/>
                  </a:cubicBezTo>
                  <a:cubicBezTo>
                    <a:pt x="917" y="1005"/>
                    <a:pt x="917" y="1004"/>
                    <a:pt x="916" y="1003"/>
                  </a:cubicBezTo>
                  <a:cubicBezTo>
                    <a:pt x="916" y="1001"/>
                    <a:pt x="914" y="999"/>
                    <a:pt x="913" y="998"/>
                  </a:cubicBezTo>
                  <a:cubicBezTo>
                    <a:pt x="912" y="997"/>
                    <a:pt x="911" y="996"/>
                    <a:pt x="910" y="995"/>
                  </a:cubicBezTo>
                  <a:cubicBezTo>
                    <a:pt x="909" y="994"/>
                    <a:pt x="910" y="994"/>
                    <a:pt x="910" y="992"/>
                  </a:cubicBezTo>
                  <a:cubicBezTo>
                    <a:pt x="910" y="991"/>
                    <a:pt x="912" y="988"/>
                    <a:pt x="913" y="986"/>
                  </a:cubicBezTo>
                  <a:cubicBezTo>
                    <a:pt x="913" y="984"/>
                    <a:pt x="911" y="984"/>
                    <a:pt x="910" y="984"/>
                  </a:cubicBezTo>
                  <a:cubicBezTo>
                    <a:pt x="909" y="984"/>
                    <a:pt x="908" y="982"/>
                    <a:pt x="908" y="981"/>
                  </a:cubicBezTo>
                  <a:cubicBezTo>
                    <a:pt x="907" y="979"/>
                    <a:pt x="904" y="977"/>
                    <a:pt x="904" y="977"/>
                  </a:cubicBezTo>
                  <a:cubicBezTo>
                    <a:pt x="904" y="977"/>
                    <a:pt x="898" y="975"/>
                    <a:pt x="897" y="975"/>
                  </a:cubicBezTo>
                  <a:cubicBezTo>
                    <a:pt x="897" y="974"/>
                    <a:pt x="897" y="972"/>
                    <a:pt x="896" y="968"/>
                  </a:cubicBezTo>
                  <a:cubicBezTo>
                    <a:pt x="895" y="963"/>
                    <a:pt x="894" y="966"/>
                    <a:pt x="893" y="965"/>
                  </a:cubicBezTo>
                  <a:cubicBezTo>
                    <a:pt x="891" y="963"/>
                    <a:pt x="890" y="962"/>
                    <a:pt x="890" y="961"/>
                  </a:cubicBezTo>
                  <a:cubicBezTo>
                    <a:pt x="889" y="961"/>
                    <a:pt x="889" y="960"/>
                    <a:pt x="889" y="959"/>
                  </a:cubicBezTo>
                  <a:cubicBezTo>
                    <a:pt x="889" y="958"/>
                    <a:pt x="889" y="957"/>
                    <a:pt x="889" y="956"/>
                  </a:cubicBezTo>
                  <a:cubicBezTo>
                    <a:pt x="888" y="954"/>
                    <a:pt x="888" y="953"/>
                    <a:pt x="886" y="950"/>
                  </a:cubicBezTo>
                  <a:cubicBezTo>
                    <a:pt x="884" y="947"/>
                    <a:pt x="883" y="947"/>
                    <a:pt x="882" y="946"/>
                  </a:cubicBezTo>
                  <a:cubicBezTo>
                    <a:pt x="881" y="945"/>
                    <a:pt x="882" y="944"/>
                    <a:pt x="882" y="941"/>
                  </a:cubicBezTo>
                  <a:cubicBezTo>
                    <a:pt x="883" y="939"/>
                    <a:pt x="884" y="940"/>
                    <a:pt x="884" y="940"/>
                  </a:cubicBezTo>
                  <a:cubicBezTo>
                    <a:pt x="885" y="940"/>
                    <a:pt x="886" y="940"/>
                    <a:pt x="886" y="937"/>
                  </a:cubicBezTo>
                  <a:cubicBezTo>
                    <a:pt x="886" y="936"/>
                    <a:pt x="886" y="936"/>
                    <a:pt x="886" y="935"/>
                  </a:cubicBezTo>
                  <a:cubicBezTo>
                    <a:pt x="887" y="935"/>
                    <a:pt x="887" y="934"/>
                    <a:pt x="888" y="934"/>
                  </a:cubicBezTo>
                  <a:cubicBezTo>
                    <a:pt x="888" y="934"/>
                    <a:pt x="888" y="934"/>
                    <a:pt x="888" y="934"/>
                  </a:cubicBezTo>
                  <a:cubicBezTo>
                    <a:pt x="889" y="933"/>
                    <a:pt x="892" y="933"/>
                    <a:pt x="892" y="931"/>
                  </a:cubicBezTo>
                  <a:cubicBezTo>
                    <a:pt x="893" y="930"/>
                    <a:pt x="894" y="930"/>
                    <a:pt x="896" y="930"/>
                  </a:cubicBezTo>
                  <a:cubicBezTo>
                    <a:pt x="897" y="930"/>
                    <a:pt x="899" y="932"/>
                    <a:pt x="900" y="932"/>
                  </a:cubicBezTo>
                  <a:cubicBezTo>
                    <a:pt x="901" y="933"/>
                    <a:pt x="903" y="933"/>
                    <a:pt x="903" y="933"/>
                  </a:cubicBezTo>
                  <a:cubicBezTo>
                    <a:pt x="903" y="933"/>
                    <a:pt x="907" y="933"/>
                    <a:pt x="910" y="933"/>
                  </a:cubicBezTo>
                  <a:cubicBezTo>
                    <a:pt x="912" y="933"/>
                    <a:pt x="911" y="935"/>
                    <a:pt x="911" y="936"/>
                  </a:cubicBezTo>
                  <a:cubicBezTo>
                    <a:pt x="911" y="937"/>
                    <a:pt x="913" y="939"/>
                    <a:pt x="913" y="939"/>
                  </a:cubicBezTo>
                  <a:cubicBezTo>
                    <a:pt x="913" y="940"/>
                    <a:pt x="917" y="942"/>
                    <a:pt x="918" y="943"/>
                  </a:cubicBezTo>
                  <a:cubicBezTo>
                    <a:pt x="920" y="943"/>
                    <a:pt x="921" y="948"/>
                    <a:pt x="921" y="949"/>
                  </a:cubicBezTo>
                  <a:cubicBezTo>
                    <a:pt x="922" y="950"/>
                    <a:pt x="923" y="955"/>
                    <a:pt x="923" y="955"/>
                  </a:cubicBezTo>
                  <a:cubicBezTo>
                    <a:pt x="924" y="959"/>
                    <a:pt x="924" y="959"/>
                    <a:pt x="924" y="959"/>
                  </a:cubicBezTo>
                  <a:cubicBezTo>
                    <a:pt x="926" y="962"/>
                    <a:pt x="926" y="962"/>
                    <a:pt x="926" y="962"/>
                  </a:cubicBezTo>
                  <a:cubicBezTo>
                    <a:pt x="926" y="962"/>
                    <a:pt x="927" y="964"/>
                    <a:pt x="927" y="964"/>
                  </a:cubicBezTo>
                  <a:cubicBezTo>
                    <a:pt x="928" y="965"/>
                    <a:pt x="930" y="965"/>
                    <a:pt x="932" y="966"/>
                  </a:cubicBezTo>
                  <a:cubicBezTo>
                    <a:pt x="933" y="966"/>
                    <a:pt x="934" y="967"/>
                    <a:pt x="936" y="969"/>
                  </a:cubicBezTo>
                  <a:cubicBezTo>
                    <a:pt x="936" y="969"/>
                    <a:pt x="935" y="972"/>
                    <a:pt x="935" y="972"/>
                  </a:cubicBezTo>
                  <a:cubicBezTo>
                    <a:pt x="934" y="972"/>
                    <a:pt x="936" y="975"/>
                    <a:pt x="936" y="975"/>
                  </a:cubicBezTo>
                  <a:cubicBezTo>
                    <a:pt x="937" y="974"/>
                    <a:pt x="938" y="974"/>
                    <a:pt x="938" y="973"/>
                  </a:cubicBezTo>
                  <a:cubicBezTo>
                    <a:pt x="938" y="973"/>
                    <a:pt x="939" y="971"/>
                    <a:pt x="940" y="971"/>
                  </a:cubicBezTo>
                  <a:cubicBezTo>
                    <a:pt x="941" y="970"/>
                    <a:pt x="942" y="972"/>
                    <a:pt x="944" y="973"/>
                  </a:cubicBezTo>
                  <a:cubicBezTo>
                    <a:pt x="945" y="973"/>
                    <a:pt x="947" y="974"/>
                    <a:pt x="948" y="974"/>
                  </a:cubicBezTo>
                  <a:cubicBezTo>
                    <a:pt x="948" y="973"/>
                    <a:pt x="950" y="977"/>
                    <a:pt x="951" y="977"/>
                  </a:cubicBezTo>
                  <a:cubicBezTo>
                    <a:pt x="953" y="978"/>
                    <a:pt x="955" y="980"/>
                    <a:pt x="956" y="981"/>
                  </a:cubicBezTo>
                  <a:cubicBezTo>
                    <a:pt x="957" y="981"/>
                    <a:pt x="963" y="982"/>
                    <a:pt x="965" y="983"/>
                  </a:cubicBezTo>
                  <a:cubicBezTo>
                    <a:pt x="968" y="984"/>
                    <a:pt x="968" y="985"/>
                    <a:pt x="968" y="985"/>
                  </a:cubicBezTo>
                  <a:cubicBezTo>
                    <a:pt x="968" y="985"/>
                    <a:pt x="971" y="985"/>
                    <a:pt x="972" y="985"/>
                  </a:cubicBezTo>
                  <a:cubicBezTo>
                    <a:pt x="973" y="984"/>
                    <a:pt x="974" y="984"/>
                    <a:pt x="975" y="983"/>
                  </a:cubicBezTo>
                  <a:cubicBezTo>
                    <a:pt x="975" y="983"/>
                    <a:pt x="976" y="982"/>
                    <a:pt x="978" y="982"/>
                  </a:cubicBezTo>
                  <a:cubicBezTo>
                    <a:pt x="980" y="981"/>
                    <a:pt x="979" y="983"/>
                    <a:pt x="981" y="984"/>
                  </a:cubicBezTo>
                  <a:cubicBezTo>
                    <a:pt x="982" y="984"/>
                    <a:pt x="983" y="984"/>
                    <a:pt x="984" y="983"/>
                  </a:cubicBezTo>
                  <a:cubicBezTo>
                    <a:pt x="984" y="983"/>
                    <a:pt x="986" y="983"/>
                    <a:pt x="988" y="982"/>
                  </a:cubicBezTo>
                  <a:cubicBezTo>
                    <a:pt x="989" y="981"/>
                    <a:pt x="988" y="982"/>
                    <a:pt x="989" y="980"/>
                  </a:cubicBezTo>
                  <a:cubicBezTo>
                    <a:pt x="990" y="979"/>
                    <a:pt x="992" y="978"/>
                    <a:pt x="993" y="976"/>
                  </a:cubicBezTo>
                  <a:cubicBezTo>
                    <a:pt x="994" y="975"/>
                    <a:pt x="997" y="977"/>
                    <a:pt x="998" y="977"/>
                  </a:cubicBezTo>
                  <a:cubicBezTo>
                    <a:pt x="999" y="977"/>
                    <a:pt x="1002" y="978"/>
                    <a:pt x="1002" y="978"/>
                  </a:cubicBezTo>
                  <a:cubicBezTo>
                    <a:pt x="1003" y="979"/>
                    <a:pt x="1004" y="981"/>
                    <a:pt x="1004" y="984"/>
                  </a:cubicBezTo>
                  <a:cubicBezTo>
                    <a:pt x="1004" y="986"/>
                    <a:pt x="1006" y="988"/>
                    <a:pt x="1006" y="990"/>
                  </a:cubicBezTo>
                  <a:cubicBezTo>
                    <a:pt x="1006" y="991"/>
                    <a:pt x="1009" y="995"/>
                    <a:pt x="1009" y="995"/>
                  </a:cubicBezTo>
                  <a:cubicBezTo>
                    <a:pt x="1009" y="995"/>
                    <a:pt x="1011" y="997"/>
                    <a:pt x="1012" y="996"/>
                  </a:cubicBezTo>
                  <a:cubicBezTo>
                    <a:pt x="1012" y="996"/>
                    <a:pt x="1016" y="997"/>
                    <a:pt x="1017" y="997"/>
                  </a:cubicBezTo>
                  <a:cubicBezTo>
                    <a:pt x="1019" y="996"/>
                    <a:pt x="1022" y="996"/>
                    <a:pt x="1022" y="996"/>
                  </a:cubicBezTo>
                  <a:cubicBezTo>
                    <a:pt x="1023" y="995"/>
                    <a:pt x="1024" y="998"/>
                    <a:pt x="1025" y="998"/>
                  </a:cubicBezTo>
                  <a:cubicBezTo>
                    <a:pt x="1026" y="999"/>
                    <a:pt x="1031" y="1000"/>
                    <a:pt x="1033" y="1000"/>
                  </a:cubicBezTo>
                  <a:cubicBezTo>
                    <a:pt x="1035" y="1000"/>
                    <a:pt x="1040" y="1000"/>
                    <a:pt x="1041" y="1000"/>
                  </a:cubicBezTo>
                  <a:cubicBezTo>
                    <a:pt x="1042" y="1000"/>
                    <a:pt x="1050" y="1002"/>
                    <a:pt x="1051" y="1002"/>
                  </a:cubicBezTo>
                  <a:cubicBezTo>
                    <a:pt x="1052" y="1002"/>
                    <a:pt x="1055" y="1003"/>
                    <a:pt x="1056" y="1003"/>
                  </a:cubicBezTo>
                  <a:cubicBezTo>
                    <a:pt x="1057" y="1003"/>
                    <a:pt x="1059" y="1007"/>
                    <a:pt x="1060" y="1006"/>
                  </a:cubicBezTo>
                  <a:cubicBezTo>
                    <a:pt x="1061" y="1006"/>
                    <a:pt x="1063" y="1007"/>
                    <a:pt x="1065" y="1006"/>
                  </a:cubicBezTo>
                  <a:cubicBezTo>
                    <a:pt x="1065" y="1006"/>
                    <a:pt x="1065" y="1006"/>
                    <a:pt x="1065" y="1006"/>
                  </a:cubicBezTo>
                  <a:cubicBezTo>
                    <a:pt x="1067" y="1005"/>
                    <a:pt x="1070" y="1006"/>
                    <a:pt x="1071" y="1006"/>
                  </a:cubicBezTo>
                  <a:cubicBezTo>
                    <a:pt x="1072" y="1006"/>
                    <a:pt x="1076" y="1006"/>
                    <a:pt x="1077" y="1005"/>
                  </a:cubicBezTo>
                  <a:cubicBezTo>
                    <a:pt x="1078" y="1004"/>
                    <a:pt x="1081" y="1004"/>
                    <a:pt x="1081" y="1004"/>
                  </a:cubicBezTo>
                  <a:cubicBezTo>
                    <a:pt x="1081" y="1004"/>
                    <a:pt x="1087" y="1005"/>
                    <a:pt x="1088" y="1005"/>
                  </a:cubicBezTo>
                  <a:cubicBezTo>
                    <a:pt x="1088" y="1004"/>
                    <a:pt x="1089" y="1005"/>
                    <a:pt x="1090" y="1004"/>
                  </a:cubicBezTo>
                  <a:cubicBezTo>
                    <a:pt x="1092" y="1003"/>
                    <a:pt x="1093" y="1004"/>
                    <a:pt x="1094" y="1004"/>
                  </a:cubicBezTo>
                  <a:cubicBezTo>
                    <a:pt x="1095" y="1003"/>
                    <a:pt x="1097" y="1003"/>
                    <a:pt x="1100" y="1002"/>
                  </a:cubicBezTo>
                  <a:cubicBezTo>
                    <a:pt x="1102" y="1002"/>
                    <a:pt x="1102" y="1003"/>
                    <a:pt x="1103" y="1003"/>
                  </a:cubicBezTo>
                  <a:cubicBezTo>
                    <a:pt x="1104" y="1003"/>
                    <a:pt x="1106" y="1004"/>
                    <a:pt x="1107" y="1003"/>
                  </a:cubicBezTo>
                  <a:cubicBezTo>
                    <a:pt x="1108" y="1003"/>
                    <a:pt x="1110" y="1004"/>
                    <a:pt x="1112" y="1004"/>
                  </a:cubicBezTo>
                  <a:cubicBezTo>
                    <a:pt x="1113" y="1004"/>
                    <a:pt x="1116" y="1004"/>
                    <a:pt x="1117" y="1003"/>
                  </a:cubicBezTo>
                  <a:cubicBezTo>
                    <a:pt x="1118" y="1003"/>
                    <a:pt x="1121" y="1003"/>
                    <a:pt x="1121" y="1003"/>
                  </a:cubicBezTo>
                  <a:cubicBezTo>
                    <a:pt x="1129" y="1000"/>
                    <a:pt x="1129" y="1000"/>
                    <a:pt x="1129" y="1000"/>
                  </a:cubicBezTo>
                  <a:cubicBezTo>
                    <a:pt x="1129" y="1000"/>
                    <a:pt x="1131" y="1001"/>
                    <a:pt x="1131" y="1002"/>
                  </a:cubicBezTo>
                  <a:cubicBezTo>
                    <a:pt x="1132" y="1003"/>
                    <a:pt x="1132" y="1004"/>
                    <a:pt x="1132" y="1005"/>
                  </a:cubicBezTo>
                  <a:cubicBezTo>
                    <a:pt x="1133" y="1007"/>
                    <a:pt x="1133" y="1008"/>
                    <a:pt x="1134" y="1008"/>
                  </a:cubicBezTo>
                  <a:cubicBezTo>
                    <a:pt x="1134" y="1009"/>
                    <a:pt x="1136" y="1010"/>
                    <a:pt x="1137" y="1010"/>
                  </a:cubicBezTo>
                  <a:cubicBezTo>
                    <a:pt x="1138" y="1010"/>
                    <a:pt x="1138" y="1012"/>
                    <a:pt x="1139" y="1012"/>
                  </a:cubicBezTo>
                  <a:cubicBezTo>
                    <a:pt x="1140" y="1012"/>
                    <a:pt x="1140" y="1014"/>
                    <a:pt x="1141" y="1015"/>
                  </a:cubicBezTo>
                  <a:cubicBezTo>
                    <a:pt x="1142" y="1016"/>
                    <a:pt x="1142" y="1017"/>
                    <a:pt x="1143" y="1018"/>
                  </a:cubicBezTo>
                  <a:cubicBezTo>
                    <a:pt x="1144" y="1020"/>
                    <a:pt x="1144" y="1021"/>
                    <a:pt x="1145" y="1023"/>
                  </a:cubicBezTo>
                  <a:cubicBezTo>
                    <a:pt x="1145" y="1024"/>
                    <a:pt x="1147" y="1025"/>
                    <a:pt x="1148" y="1025"/>
                  </a:cubicBezTo>
                  <a:cubicBezTo>
                    <a:pt x="1149" y="1025"/>
                    <a:pt x="1151" y="1026"/>
                    <a:pt x="1153" y="1026"/>
                  </a:cubicBezTo>
                  <a:cubicBezTo>
                    <a:pt x="1154" y="1026"/>
                    <a:pt x="1154" y="1027"/>
                    <a:pt x="1155" y="1027"/>
                  </a:cubicBezTo>
                  <a:cubicBezTo>
                    <a:pt x="1155" y="1028"/>
                    <a:pt x="1155" y="1028"/>
                    <a:pt x="1156" y="1028"/>
                  </a:cubicBezTo>
                  <a:cubicBezTo>
                    <a:pt x="1157" y="1027"/>
                    <a:pt x="1158" y="1030"/>
                    <a:pt x="1158" y="1031"/>
                  </a:cubicBezTo>
                  <a:cubicBezTo>
                    <a:pt x="1159" y="1031"/>
                    <a:pt x="1161" y="1034"/>
                    <a:pt x="1161" y="1034"/>
                  </a:cubicBezTo>
                  <a:cubicBezTo>
                    <a:pt x="1161" y="1034"/>
                    <a:pt x="1164" y="1036"/>
                    <a:pt x="1165" y="1036"/>
                  </a:cubicBezTo>
                  <a:cubicBezTo>
                    <a:pt x="1166" y="1036"/>
                    <a:pt x="1167" y="1038"/>
                    <a:pt x="1168" y="1038"/>
                  </a:cubicBezTo>
                  <a:cubicBezTo>
                    <a:pt x="1169" y="1038"/>
                    <a:pt x="1174" y="1039"/>
                    <a:pt x="1177" y="1038"/>
                  </a:cubicBezTo>
                  <a:cubicBezTo>
                    <a:pt x="1179" y="1038"/>
                    <a:pt x="1182" y="1038"/>
                    <a:pt x="1180" y="1040"/>
                  </a:cubicBezTo>
                  <a:cubicBezTo>
                    <a:pt x="1179" y="1041"/>
                    <a:pt x="1179" y="1041"/>
                    <a:pt x="1177" y="1043"/>
                  </a:cubicBezTo>
                  <a:cubicBezTo>
                    <a:pt x="1175" y="1044"/>
                    <a:pt x="1176" y="1043"/>
                    <a:pt x="1174" y="1044"/>
                  </a:cubicBezTo>
                  <a:cubicBezTo>
                    <a:pt x="1173" y="1045"/>
                    <a:pt x="1172" y="1045"/>
                    <a:pt x="1171" y="1045"/>
                  </a:cubicBezTo>
                  <a:cubicBezTo>
                    <a:pt x="1169" y="1046"/>
                    <a:pt x="1165" y="1045"/>
                    <a:pt x="1165" y="1046"/>
                  </a:cubicBezTo>
                  <a:cubicBezTo>
                    <a:pt x="1166" y="1047"/>
                    <a:pt x="1167" y="1049"/>
                    <a:pt x="1167" y="1049"/>
                  </a:cubicBezTo>
                  <a:cubicBezTo>
                    <a:pt x="1167" y="1049"/>
                    <a:pt x="1169" y="1051"/>
                    <a:pt x="1169" y="1052"/>
                  </a:cubicBezTo>
                  <a:cubicBezTo>
                    <a:pt x="1170" y="1052"/>
                    <a:pt x="1170" y="1054"/>
                    <a:pt x="1171" y="1054"/>
                  </a:cubicBezTo>
                  <a:cubicBezTo>
                    <a:pt x="1172" y="1054"/>
                    <a:pt x="1174" y="1056"/>
                    <a:pt x="1175" y="1057"/>
                  </a:cubicBezTo>
                  <a:cubicBezTo>
                    <a:pt x="1177" y="1058"/>
                    <a:pt x="1178" y="1060"/>
                    <a:pt x="1178" y="1061"/>
                  </a:cubicBezTo>
                  <a:cubicBezTo>
                    <a:pt x="1179" y="1061"/>
                    <a:pt x="1180" y="1063"/>
                    <a:pt x="1181" y="1064"/>
                  </a:cubicBezTo>
                  <a:cubicBezTo>
                    <a:pt x="1182" y="1064"/>
                    <a:pt x="1185" y="1065"/>
                    <a:pt x="1186" y="1066"/>
                  </a:cubicBezTo>
                  <a:cubicBezTo>
                    <a:pt x="1187" y="1066"/>
                    <a:pt x="1188" y="1067"/>
                    <a:pt x="1191" y="1067"/>
                  </a:cubicBezTo>
                  <a:cubicBezTo>
                    <a:pt x="1193" y="1067"/>
                    <a:pt x="1193" y="1069"/>
                    <a:pt x="1194" y="1068"/>
                  </a:cubicBezTo>
                  <a:cubicBezTo>
                    <a:pt x="1196" y="1067"/>
                    <a:pt x="1197" y="1066"/>
                    <a:pt x="1199" y="1064"/>
                  </a:cubicBezTo>
                  <a:cubicBezTo>
                    <a:pt x="1202" y="1062"/>
                    <a:pt x="1204" y="1063"/>
                    <a:pt x="1205" y="1062"/>
                  </a:cubicBezTo>
                  <a:cubicBezTo>
                    <a:pt x="1207" y="1060"/>
                    <a:pt x="1208" y="1059"/>
                    <a:pt x="1209" y="1058"/>
                  </a:cubicBezTo>
                  <a:cubicBezTo>
                    <a:pt x="1210" y="1058"/>
                    <a:pt x="1209" y="1056"/>
                    <a:pt x="1208" y="1055"/>
                  </a:cubicBezTo>
                  <a:cubicBezTo>
                    <a:pt x="1207" y="1055"/>
                    <a:pt x="1208" y="1050"/>
                    <a:pt x="1209" y="1049"/>
                  </a:cubicBezTo>
                  <a:cubicBezTo>
                    <a:pt x="1209" y="1047"/>
                    <a:pt x="1211" y="1046"/>
                    <a:pt x="1212" y="1046"/>
                  </a:cubicBezTo>
                  <a:cubicBezTo>
                    <a:pt x="1214" y="1045"/>
                    <a:pt x="1214" y="1047"/>
                    <a:pt x="1213" y="1048"/>
                  </a:cubicBezTo>
                  <a:cubicBezTo>
                    <a:pt x="1213" y="1049"/>
                    <a:pt x="1213" y="1050"/>
                    <a:pt x="1214" y="1051"/>
                  </a:cubicBezTo>
                  <a:cubicBezTo>
                    <a:pt x="1214" y="1052"/>
                    <a:pt x="1216" y="1053"/>
                    <a:pt x="1216" y="1053"/>
                  </a:cubicBezTo>
                  <a:cubicBezTo>
                    <a:pt x="1217" y="1054"/>
                    <a:pt x="1216" y="1055"/>
                    <a:pt x="1215" y="1056"/>
                  </a:cubicBezTo>
                  <a:cubicBezTo>
                    <a:pt x="1213" y="1057"/>
                    <a:pt x="1215" y="1058"/>
                    <a:pt x="1215" y="1060"/>
                  </a:cubicBezTo>
                  <a:cubicBezTo>
                    <a:pt x="1215" y="1062"/>
                    <a:pt x="1216" y="1063"/>
                    <a:pt x="1216" y="1064"/>
                  </a:cubicBezTo>
                  <a:cubicBezTo>
                    <a:pt x="1217" y="1065"/>
                    <a:pt x="1217" y="1069"/>
                    <a:pt x="1217" y="1071"/>
                  </a:cubicBezTo>
                  <a:cubicBezTo>
                    <a:pt x="1216" y="1073"/>
                    <a:pt x="1216" y="1076"/>
                    <a:pt x="1216" y="1076"/>
                  </a:cubicBezTo>
                  <a:cubicBezTo>
                    <a:pt x="1216" y="1076"/>
                    <a:pt x="1217" y="1080"/>
                    <a:pt x="1217" y="1082"/>
                  </a:cubicBezTo>
                  <a:cubicBezTo>
                    <a:pt x="1217" y="1084"/>
                    <a:pt x="1218" y="1086"/>
                    <a:pt x="1217" y="1087"/>
                  </a:cubicBezTo>
                  <a:cubicBezTo>
                    <a:pt x="1217" y="1089"/>
                    <a:pt x="1219" y="1093"/>
                    <a:pt x="1219" y="1094"/>
                  </a:cubicBezTo>
                  <a:cubicBezTo>
                    <a:pt x="1218" y="1094"/>
                    <a:pt x="1218" y="1106"/>
                    <a:pt x="1218" y="1107"/>
                  </a:cubicBezTo>
                  <a:cubicBezTo>
                    <a:pt x="1219" y="1109"/>
                    <a:pt x="1220" y="1111"/>
                    <a:pt x="1221" y="1112"/>
                  </a:cubicBezTo>
                  <a:cubicBezTo>
                    <a:pt x="1221" y="1113"/>
                    <a:pt x="1221" y="1117"/>
                    <a:pt x="1220" y="1117"/>
                  </a:cubicBezTo>
                  <a:cubicBezTo>
                    <a:pt x="1220" y="1118"/>
                    <a:pt x="1222" y="1121"/>
                    <a:pt x="1222" y="1122"/>
                  </a:cubicBezTo>
                  <a:cubicBezTo>
                    <a:pt x="1223" y="1122"/>
                    <a:pt x="1223" y="1125"/>
                    <a:pt x="1223" y="1126"/>
                  </a:cubicBezTo>
                  <a:cubicBezTo>
                    <a:pt x="1223" y="1127"/>
                    <a:pt x="1223" y="1129"/>
                    <a:pt x="1223" y="1130"/>
                  </a:cubicBezTo>
                  <a:cubicBezTo>
                    <a:pt x="1223" y="1131"/>
                    <a:pt x="1225" y="1134"/>
                    <a:pt x="1226" y="1136"/>
                  </a:cubicBezTo>
                  <a:cubicBezTo>
                    <a:pt x="1227" y="1138"/>
                    <a:pt x="1229" y="1140"/>
                    <a:pt x="1229" y="1142"/>
                  </a:cubicBezTo>
                  <a:cubicBezTo>
                    <a:pt x="1229" y="1144"/>
                    <a:pt x="1231" y="1146"/>
                    <a:pt x="1232" y="1147"/>
                  </a:cubicBezTo>
                  <a:cubicBezTo>
                    <a:pt x="1233" y="1148"/>
                    <a:pt x="1234" y="1149"/>
                    <a:pt x="1235" y="1151"/>
                  </a:cubicBezTo>
                  <a:cubicBezTo>
                    <a:pt x="1236" y="1153"/>
                    <a:pt x="1237" y="1157"/>
                    <a:pt x="1236" y="1158"/>
                  </a:cubicBezTo>
                  <a:cubicBezTo>
                    <a:pt x="1236" y="1159"/>
                    <a:pt x="1238" y="1162"/>
                    <a:pt x="1238" y="1162"/>
                  </a:cubicBezTo>
                  <a:cubicBezTo>
                    <a:pt x="1238" y="1162"/>
                    <a:pt x="1239" y="1164"/>
                    <a:pt x="1241" y="1169"/>
                  </a:cubicBezTo>
                  <a:cubicBezTo>
                    <a:pt x="1242" y="1175"/>
                    <a:pt x="1243" y="1174"/>
                    <a:pt x="1243" y="1177"/>
                  </a:cubicBezTo>
                  <a:cubicBezTo>
                    <a:pt x="1243" y="1179"/>
                    <a:pt x="1244" y="1180"/>
                    <a:pt x="1245" y="1182"/>
                  </a:cubicBezTo>
                  <a:cubicBezTo>
                    <a:pt x="1246" y="1184"/>
                    <a:pt x="1248" y="1186"/>
                    <a:pt x="1248" y="1188"/>
                  </a:cubicBezTo>
                  <a:cubicBezTo>
                    <a:pt x="1249" y="1189"/>
                    <a:pt x="1253" y="1191"/>
                    <a:pt x="1254" y="1192"/>
                  </a:cubicBezTo>
                  <a:cubicBezTo>
                    <a:pt x="1254" y="1192"/>
                    <a:pt x="1257" y="1202"/>
                    <a:pt x="1258" y="1204"/>
                  </a:cubicBezTo>
                  <a:cubicBezTo>
                    <a:pt x="1260" y="1207"/>
                    <a:pt x="1260" y="1208"/>
                    <a:pt x="1260" y="1209"/>
                  </a:cubicBezTo>
                  <a:cubicBezTo>
                    <a:pt x="1260" y="1210"/>
                    <a:pt x="1262" y="1214"/>
                    <a:pt x="1262" y="1214"/>
                  </a:cubicBezTo>
                  <a:cubicBezTo>
                    <a:pt x="1262" y="1214"/>
                    <a:pt x="1263" y="1218"/>
                    <a:pt x="1263" y="1220"/>
                  </a:cubicBezTo>
                  <a:cubicBezTo>
                    <a:pt x="1262" y="1221"/>
                    <a:pt x="1262" y="1223"/>
                    <a:pt x="1262" y="1224"/>
                  </a:cubicBezTo>
                  <a:cubicBezTo>
                    <a:pt x="1261" y="1225"/>
                    <a:pt x="1265" y="1226"/>
                    <a:pt x="1266" y="1227"/>
                  </a:cubicBezTo>
                  <a:cubicBezTo>
                    <a:pt x="1268" y="1229"/>
                    <a:pt x="1268" y="1231"/>
                    <a:pt x="1268" y="1233"/>
                  </a:cubicBezTo>
                  <a:cubicBezTo>
                    <a:pt x="1268" y="1236"/>
                    <a:pt x="1270" y="1237"/>
                    <a:pt x="1271" y="1238"/>
                  </a:cubicBezTo>
                  <a:cubicBezTo>
                    <a:pt x="1271" y="1238"/>
                    <a:pt x="1273" y="1239"/>
                    <a:pt x="1275" y="1241"/>
                  </a:cubicBezTo>
                  <a:cubicBezTo>
                    <a:pt x="1278" y="1242"/>
                    <a:pt x="1278" y="1243"/>
                    <a:pt x="1278" y="1243"/>
                  </a:cubicBezTo>
                  <a:cubicBezTo>
                    <a:pt x="1278" y="1243"/>
                    <a:pt x="1282" y="1243"/>
                    <a:pt x="1283" y="1242"/>
                  </a:cubicBezTo>
                  <a:cubicBezTo>
                    <a:pt x="1284" y="1241"/>
                    <a:pt x="1287" y="1240"/>
                    <a:pt x="1288" y="1239"/>
                  </a:cubicBezTo>
                  <a:cubicBezTo>
                    <a:pt x="1288" y="1237"/>
                    <a:pt x="1290" y="1236"/>
                    <a:pt x="1291" y="1233"/>
                  </a:cubicBezTo>
                  <a:cubicBezTo>
                    <a:pt x="1291" y="1230"/>
                    <a:pt x="1292" y="1231"/>
                    <a:pt x="1293" y="1230"/>
                  </a:cubicBezTo>
                  <a:cubicBezTo>
                    <a:pt x="1294" y="1228"/>
                    <a:pt x="1294" y="1230"/>
                    <a:pt x="1295" y="1230"/>
                  </a:cubicBezTo>
                  <a:cubicBezTo>
                    <a:pt x="1297" y="1230"/>
                    <a:pt x="1298" y="1230"/>
                    <a:pt x="1298" y="1228"/>
                  </a:cubicBezTo>
                  <a:cubicBezTo>
                    <a:pt x="1298" y="1226"/>
                    <a:pt x="1299" y="1227"/>
                    <a:pt x="1300" y="1227"/>
                  </a:cubicBezTo>
                  <a:cubicBezTo>
                    <a:pt x="1301" y="1227"/>
                    <a:pt x="1305" y="1227"/>
                    <a:pt x="1307" y="1226"/>
                  </a:cubicBezTo>
                  <a:cubicBezTo>
                    <a:pt x="1308" y="1226"/>
                    <a:pt x="1305" y="1226"/>
                    <a:pt x="1303" y="1225"/>
                  </a:cubicBezTo>
                  <a:cubicBezTo>
                    <a:pt x="1301" y="1225"/>
                    <a:pt x="1301" y="1225"/>
                    <a:pt x="1300" y="1224"/>
                  </a:cubicBezTo>
                  <a:cubicBezTo>
                    <a:pt x="1298" y="1223"/>
                    <a:pt x="1300" y="1224"/>
                    <a:pt x="1299" y="1220"/>
                  </a:cubicBezTo>
                  <a:cubicBezTo>
                    <a:pt x="1299" y="1216"/>
                    <a:pt x="1301" y="1219"/>
                    <a:pt x="1302" y="1217"/>
                  </a:cubicBezTo>
                  <a:cubicBezTo>
                    <a:pt x="1303" y="1216"/>
                    <a:pt x="1305" y="1216"/>
                    <a:pt x="1306" y="1214"/>
                  </a:cubicBezTo>
                  <a:cubicBezTo>
                    <a:pt x="1308" y="1212"/>
                    <a:pt x="1309" y="1212"/>
                    <a:pt x="1310" y="1210"/>
                  </a:cubicBezTo>
                  <a:cubicBezTo>
                    <a:pt x="1311" y="1208"/>
                    <a:pt x="1312" y="1207"/>
                    <a:pt x="1312" y="1206"/>
                  </a:cubicBezTo>
                  <a:cubicBezTo>
                    <a:pt x="1312" y="1206"/>
                    <a:pt x="1313" y="1204"/>
                    <a:pt x="1312" y="1202"/>
                  </a:cubicBezTo>
                  <a:cubicBezTo>
                    <a:pt x="1311" y="1200"/>
                    <a:pt x="1311" y="1201"/>
                    <a:pt x="1310" y="1199"/>
                  </a:cubicBezTo>
                  <a:cubicBezTo>
                    <a:pt x="1309" y="1196"/>
                    <a:pt x="1310" y="1196"/>
                    <a:pt x="1310" y="1194"/>
                  </a:cubicBezTo>
                  <a:cubicBezTo>
                    <a:pt x="1310" y="1193"/>
                    <a:pt x="1310" y="1192"/>
                    <a:pt x="1311" y="1190"/>
                  </a:cubicBezTo>
                  <a:cubicBezTo>
                    <a:pt x="1311" y="1189"/>
                    <a:pt x="1313" y="1188"/>
                    <a:pt x="1315" y="1185"/>
                  </a:cubicBezTo>
                  <a:cubicBezTo>
                    <a:pt x="1318" y="1182"/>
                    <a:pt x="1316" y="1182"/>
                    <a:pt x="1317" y="1179"/>
                  </a:cubicBezTo>
                  <a:cubicBezTo>
                    <a:pt x="1317" y="1176"/>
                    <a:pt x="1318" y="1176"/>
                    <a:pt x="1318" y="1173"/>
                  </a:cubicBezTo>
                  <a:cubicBezTo>
                    <a:pt x="1318" y="1171"/>
                    <a:pt x="1318" y="1170"/>
                    <a:pt x="1318" y="1168"/>
                  </a:cubicBezTo>
                  <a:cubicBezTo>
                    <a:pt x="1318" y="1166"/>
                    <a:pt x="1317" y="1163"/>
                    <a:pt x="1317" y="1161"/>
                  </a:cubicBezTo>
                  <a:cubicBezTo>
                    <a:pt x="1317" y="1159"/>
                    <a:pt x="1316" y="1156"/>
                    <a:pt x="1315" y="1154"/>
                  </a:cubicBezTo>
                  <a:cubicBezTo>
                    <a:pt x="1314" y="1151"/>
                    <a:pt x="1315" y="1150"/>
                    <a:pt x="1315" y="1148"/>
                  </a:cubicBezTo>
                  <a:cubicBezTo>
                    <a:pt x="1315" y="1146"/>
                    <a:pt x="1315" y="1144"/>
                    <a:pt x="1317" y="1142"/>
                  </a:cubicBezTo>
                  <a:cubicBezTo>
                    <a:pt x="1318" y="1139"/>
                    <a:pt x="1321" y="1137"/>
                    <a:pt x="1322" y="1136"/>
                  </a:cubicBezTo>
                  <a:cubicBezTo>
                    <a:pt x="1323" y="1135"/>
                    <a:pt x="1325" y="1137"/>
                    <a:pt x="1326" y="1137"/>
                  </a:cubicBezTo>
                  <a:cubicBezTo>
                    <a:pt x="1326" y="1137"/>
                    <a:pt x="1327" y="1137"/>
                    <a:pt x="1328" y="1135"/>
                  </a:cubicBezTo>
                  <a:cubicBezTo>
                    <a:pt x="1330" y="1134"/>
                    <a:pt x="1330" y="1134"/>
                    <a:pt x="1330" y="1132"/>
                  </a:cubicBezTo>
                  <a:cubicBezTo>
                    <a:pt x="1330" y="1130"/>
                    <a:pt x="1331" y="1130"/>
                    <a:pt x="1333" y="1129"/>
                  </a:cubicBezTo>
                  <a:cubicBezTo>
                    <a:pt x="1335" y="1128"/>
                    <a:pt x="1336" y="1130"/>
                    <a:pt x="1338" y="1129"/>
                  </a:cubicBezTo>
                  <a:cubicBezTo>
                    <a:pt x="1340" y="1129"/>
                    <a:pt x="1342" y="1128"/>
                    <a:pt x="1343" y="1127"/>
                  </a:cubicBezTo>
                  <a:cubicBezTo>
                    <a:pt x="1345" y="1125"/>
                    <a:pt x="1344" y="1126"/>
                    <a:pt x="1345" y="1124"/>
                  </a:cubicBezTo>
                  <a:cubicBezTo>
                    <a:pt x="1345" y="1122"/>
                    <a:pt x="1346" y="1121"/>
                    <a:pt x="1345" y="1120"/>
                  </a:cubicBezTo>
                  <a:cubicBezTo>
                    <a:pt x="1345" y="1118"/>
                    <a:pt x="1347" y="1119"/>
                    <a:pt x="1350" y="1117"/>
                  </a:cubicBezTo>
                  <a:cubicBezTo>
                    <a:pt x="1353" y="1115"/>
                    <a:pt x="1352" y="1117"/>
                    <a:pt x="1354" y="1114"/>
                  </a:cubicBezTo>
                  <a:cubicBezTo>
                    <a:pt x="1356" y="1111"/>
                    <a:pt x="1357" y="1111"/>
                    <a:pt x="1358" y="1111"/>
                  </a:cubicBezTo>
                  <a:cubicBezTo>
                    <a:pt x="1359" y="1110"/>
                    <a:pt x="1362" y="1108"/>
                    <a:pt x="1363" y="1107"/>
                  </a:cubicBezTo>
                  <a:cubicBezTo>
                    <a:pt x="1364" y="1106"/>
                    <a:pt x="1366" y="1105"/>
                    <a:pt x="1366" y="1104"/>
                  </a:cubicBezTo>
                  <a:cubicBezTo>
                    <a:pt x="1367" y="1104"/>
                    <a:pt x="1369" y="1102"/>
                    <a:pt x="1371" y="1101"/>
                  </a:cubicBezTo>
                  <a:cubicBezTo>
                    <a:pt x="1372" y="1099"/>
                    <a:pt x="1374" y="1099"/>
                    <a:pt x="1375" y="1097"/>
                  </a:cubicBezTo>
                  <a:cubicBezTo>
                    <a:pt x="1375" y="1096"/>
                    <a:pt x="1378" y="1094"/>
                    <a:pt x="1378" y="1093"/>
                  </a:cubicBezTo>
                  <a:cubicBezTo>
                    <a:pt x="1378" y="1092"/>
                    <a:pt x="1381" y="1091"/>
                    <a:pt x="1382" y="1089"/>
                  </a:cubicBezTo>
                  <a:cubicBezTo>
                    <a:pt x="1383" y="1088"/>
                    <a:pt x="1385" y="1085"/>
                    <a:pt x="1387" y="1083"/>
                  </a:cubicBezTo>
                  <a:cubicBezTo>
                    <a:pt x="1388" y="1082"/>
                    <a:pt x="1389" y="1084"/>
                    <a:pt x="1391" y="1083"/>
                  </a:cubicBezTo>
                  <a:cubicBezTo>
                    <a:pt x="1391" y="1083"/>
                    <a:pt x="1392" y="1082"/>
                    <a:pt x="1394" y="1081"/>
                  </a:cubicBezTo>
                  <a:cubicBezTo>
                    <a:pt x="1395" y="1080"/>
                    <a:pt x="1396" y="1081"/>
                    <a:pt x="1397" y="1080"/>
                  </a:cubicBezTo>
                  <a:cubicBezTo>
                    <a:pt x="1398" y="1079"/>
                    <a:pt x="1399" y="1080"/>
                    <a:pt x="1400" y="1079"/>
                  </a:cubicBezTo>
                  <a:cubicBezTo>
                    <a:pt x="1401" y="1078"/>
                    <a:pt x="1401" y="1077"/>
                    <a:pt x="1402" y="1077"/>
                  </a:cubicBezTo>
                  <a:cubicBezTo>
                    <a:pt x="1402" y="1076"/>
                    <a:pt x="1404" y="1075"/>
                    <a:pt x="1405" y="1073"/>
                  </a:cubicBezTo>
                  <a:cubicBezTo>
                    <a:pt x="1407" y="1071"/>
                    <a:pt x="1407" y="1072"/>
                    <a:pt x="1408" y="1070"/>
                  </a:cubicBezTo>
                  <a:cubicBezTo>
                    <a:pt x="1408" y="1068"/>
                    <a:pt x="1408" y="1068"/>
                    <a:pt x="1408" y="1066"/>
                  </a:cubicBezTo>
                  <a:cubicBezTo>
                    <a:pt x="1407" y="1064"/>
                    <a:pt x="1408" y="1063"/>
                    <a:pt x="1407" y="1061"/>
                  </a:cubicBezTo>
                  <a:cubicBezTo>
                    <a:pt x="1407" y="1060"/>
                    <a:pt x="1410" y="1059"/>
                    <a:pt x="1411" y="1058"/>
                  </a:cubicBezTo>
                  <a:cubicBezTo>
                    <a:pt x="1412" y="1057"/>
                    <a:pt x="1414" y="1058"/>
                    <a:pt x="1414" y="1058"/>
                  </a:cubicBezTo>
                  <a:cubicBezTo>
                    <a:pt x="1414" y="1058"/>
                    <a:pt x="1419" y="1055"/>
                    <a:pt x="1421" y="1055"/>
                  </a:cubicBezTo>
                  <a:cubicBezTo>
                    <a:pt x="1422" y="1057"/>
                    <a:pt x="1422" y="1057"/>
                    <a:pt x="1422" y="1057"/>
                  </a:cubicBezTo>
                  <a:cubicBezTo>
                    <a:pt x="1422" y="1057"/>
                    <a:pt x="1426" y="1055"/>
                    <a:pt x="1427" y="1054"/>
                  </a:cubicBezTo>
                  <a:cubicBezTo>
                    <a:pt x="1428" y="1053"/>
                    <a:pt x="1429" y="1055"/>
                    <a:pt x="1429" y="1055"/>
                  </a:cubicBezTo>
                  <a:cubicBezTo>
                    <a:pt x="1434" y="1055"/>
                    <a:pt x="1434" y="1055"/>
                    <a:pt x="1434" y="1055"/>
                  </a:cubicBezTo>
                  <a:cubicBezTo>
                    <a:pt x="1434" y="1055"/>
                    <a:pt x="1434" y="1056"/>
                    <a:pt x="1435" y="1056"/>
                  </a:cubicBezTo>
                  <a:cubicBezTo>
                    <a:pt x="1436" y="1057"/>
                    <a:pt x="1438" y="1057"/>
                    <a:pt x="1439" y="1056"/>
                  </a:cubicBezTo>
                  <a:cubicBezTo>
                    <a:pt x="1439" y="1056"/>
                    <a:pt x="1442" y="1054"/>
                    <a:pt x="1444" y="1052"/>
                  </a:cubicBezTo>
                  <a:cubicBezTo>
                    <a:pt x="1444" y="1051"/>
                    <a:pt x="1449" y="1047"/>
                    <a:pt x="1449" y="1047"/>
                  </a:cubicBezTo>
                  <a:cubicBezTo>
                    <a:pt x="1449" y="1047"/>
                    <a:pt x="1449" y="1049"/>
                    <a:pt x="1449" y="1051"/>
                  </a:cubicBezTo>
                  <a:cubicBezTo>
                    <a:pt x="1450" y="1052"/>
                    <a:pt x="1451" y="1052"/>
                    <a:pt x="1453" y="1051"/>
                  </a:cubicBezTo>
                  <a:cubicBezTo>
                    <a:pt x="1454" y="1050"/>
                    <a:pt x="1455" y="1052"/>
                    <a:pt x="1455" y="1051"/>
                  </a:cubicBezTo>
                  <a:cubicBezTo>
                    <a:pt x="1456" y="1051"/>
                    <a:pt x="1458" y="1049"/>
                    <a:pt x="1459" y="1048"/>
                  </a:cubicBezTo>
                  <a:cubicBezTo>
                    <a:pt x="1460" y="1048"/>
                    <a:pt x="1462" y="1049"/>
                    <a:pt x="1462" y="1048"/>
                  </a:cubicBezTo>
                  <a:cubicBezTo>
                    <a:pt x="1463" y="1047"/>
                    <a:pt x="1465" y="1046"/>
                    <a:pt x="1466" y="1045"/>
                  </a:cubicBezTo>
                  <a:cubicBezTo>
                    <a:pt x="1467" y="1043"/>
                    <a:pt x="1468" y="1044"/>
                    <a:pt x="1469" y="1043"/>
                  </a:cubicBezTo>
                  <a:cubicBezTo>
                    <a:pt x="1470" y="1042"/>
                    <a:pt x="1472" y="1044"/>
                    <a:pt x="1473" y="1044"/>
                  </a:cubicBezTo>
                  <a:cubicBezTo>
                    <a:pt x="1473" y="1045"/>
                    <a:pt x="1474" y="1047"/>
                    <a:pt x="1474" y="1049"/>
                  </a:cubicBezTo>
                  <a:cubicBezTo>
                    <a:pt x="1474" y="1050"/>
                    <a:pt x="1475" y="1053"/>
                    <a:pt x="1474" y="1055"/>
                  </a:cubicBezTo>
                  <a:cubicBezTo>
                    <a:pt x="1474" y="1056"/>
                    <a:pt x="1476" y="1058"/>
                    <a:pt x="1476" y="1060"/>
                  </a:cubicBezTo>
                  <a:cubicBezTo>
                    <a:pt x="1476" y="1060"/>
                    <a:pt x="1476" y="1061"/>
                    <a:pt x="1476" y="1062"/>
                  </a:cubicBezTo>
                  <a:cubicBezTo>
                    <a:pt x="1477" y="1061"/>
                    <a:pt x="1478" y="1062"/>
                    <a:pt x="1479" y="1061"/>
                  </a:cubicBezTo>
                  <a:cubicBezTo>
                    <a:pt x="1480" y="1061"/>
                    <a:pt x="1479" y="1060"/>
                    <a:pt x="1480" y="1060"/>
                  </a:cubicBezTo>
                  <a:cubicBezTo>
                    <a:pt x="1481" y="1059"/>
                    <a:pt x="1482" y="1060"/>
                    <a:pt x="1483" y="1059"/>
                  </a:cubicBezTo>
                  <a:cubicBezTo>
                    <a:pt x="1484" y="1059"/>
                    <a:pt x="1484" y="1059"/>
                    <a:pt x="1484" y="1058"/>
                  </a:cubicBezTo>
                  <a:cubicBezTo>
                    <a:pt x="1485" y="1058"/>
                    <a:pt x="1485" y="1058"/>
                    <a:pt x="1485" y="1058"/>
                  </a:cubicBezTo>
                  <a:cubicBezTo>
                    <a:pt x="1485" y="1057"/>
                    <a:pt x="1486" y="1055"/>
                    <a:pt x="1486" y="1054"/>
                  </a:cubicBezTo>
                  <a:cubicBezTo>
                    <a:pt x="1486" y="1052"/>
                    <a:pt x="1486" y="1051"/>
                    <a:pt x="1486" y="1049"/>
                  </a:cubicBezTo>
                  <a:cubicBezTo>
                    <a:pt x="1487" y="1050"/>
                    <a:pt x="1487" y="1050"/>
                    <a:pt x="1487" y="1050"/>
                  </a:cubicBezTo>
                  <a:cubicBezTo>
                    <a:pt x="1487" y="1051"/>
                    <a:pt x="1486" y="1052"/>
                    <a:pt x="1486" y="1054"/>
                  </a:cubicBezTo>
                  <a:cubicBezTo>
                    <a:pt x="1486" y="1055"/>
                    <a:pt x="1486" y="1057"/>
                    <a:pt x="1484" y="1058"/>
                  </a:cubicBezTo>
                  <a:cubicBezTo>
                    <a:pt x="1483" y="1061"/>
                    <a:pt x="1480" y="1062"/>
                    <a:pt x="1477" y="1063"/>
                  </a:cubicBezTo>
                  <a:cubicBezTo>
                    <a:pt x="1478" y="1065"/>
                    <a:pt x="1479" y="1066"/>
                    <a:pt x="1479" y="1067"/>
                  </a:cubicBezTo>
                  <a:cubicBezTo>
                    <a:pt x="1480" y="1069"/>
                    <a:pt x="1480" y="1069"/>
                    <a:pt x="1480" y="1069"/>
                  </a:cubicBezTo>
                  <a:cubicBezTo>
                    <a:pt x="1480" y="1069"/>
                    <a:pt x="1482" y="1070"/>
                    <a:pt x="1483" y="1070"/>
                  </a:cubicBezTo>
                  <a:cubicBezTo>
                    <a:pt x="1484" y="1070"/>
                    <a:pt x="1485" y="1073"/>
                    <a:pt x="1485" y="1073"/>
                  </a:cubicBezTo>
                  <a:cubicBezTo>
                    <a:pt x="1486" y="1074"/>
                    <a:pt x="1487" y="1077"/>
                    <a:pt x="1487" y="1077"/>
                  </a:cubicBezTo>
                  <a:cubicBezTo>
                    <a:pt x="1487" y="1077"/>
                    <a:pt x="1489" y="1078"/>
                    <a:pt x="1491" y="1078"/>
                  </a:cubicBezTo>
                  <a:cubicBezTo>
                    <a:pt x="1492" y="1078"/>
                    <a:pt x="1493" y="1080"/>
                    <a:pt x="1494" y="1080"/>
                  </a:cubicBezTo>
                  <a:cubicBezTo>
                    <a:pt x="1496" y="1079"/>
                    <a:pt x="1497" y="1083"/>
                    <a:pt x="1498" y="1084"/>
                  </a:cubicBezTo>
                  <a:cubicBezTo>
                    <a:pt x="1499" y="1084"/>
                    <a:pt x="1499" y="1086"/>
                    <a:pt x="1499" y="1086"/>
                  </a:cubicBezTo>
                  <a:cubicBezTo>
                    <a:pt x="1499" y="1086"/>
                    <a:pt x="1499" y="1089"/>
                    <a:pt x="1498" y="1090"/>
                  </a:cubicBezTo>
                  <a:cubicBezTo>
                    <a:pt x="1498" y="1091"/>
                    <a:pt x="1497" y="1095"/>
                    <a:pt x="1497" y="1095"/>
                  </a:cubicBezTo>
                  <a:cubicBezTo>
                    <a:pt x="1497" y="1095"/>
                    <a:pt x="1498" y="1097"/>
                    <a:pt x="1499" y="1096"/>
                  </a:cubicBezTo>
                  <a:cubicBezTo>
                    <a:pt x="1500" y="1096"/>
                    <a:pt x="1500" y="1095"/>
                    <a:pt x="1501" y="1094"/>
                  </a:cubicBezTo>
                  <a:cubicBezTo>
                    <a:pt x="1503" y="1092"/>
                    <a:pt x="1501" y="1094"/>
                    <a:pt x="1504" y="1093"/>
                  </a:cubicBezTo>
                  <a:cubicBezTo>
                    <a:pt x="1506" y="1093"/>
                    <a:pt x="1505" y="1094"/>
                    <a:pt x="1505" y="1095"/>
                  </a:cubicBezTo>
                  <a:cubicBezTo>
                    <a:pt x="1505" y="1096"/>
                    <a:pt x="1508" y="1104"/>
                    <a:pt x="1509" y="1108"/>
                  </a:cubicBezTo>
                  <a:cubicBezTo>
                    <a:pt x="1511" y="1113"/>
                    <a:pt x="1510" y="1111"/>
                    <a:pt x="1510" y="1113"/>
                  </a:cubicBezTo>
                  <a:cubicBezTo>
                    <a:pt x="1509" y="1114"/>
                    <a:pt x="1509" y="1116"/>
                    <a:pt x="1510" y="1117"/>
                  </a:cubicBezTo>
                  <a:cubicBezTo>
                    <a:pt x="1510" y="1117"/>
                    <a:pt x="1510" y="1125"/>
                    <a:pt x="1510" y="1126"/>
                  </a:cubicBezTo>
                  <a:cubicBezTo>
                    <a:pt x="1510" y="1127"/>
                    <a:pt x="1509" y="1130"/>
                    <a:pt x="1508" y="1131"/>
                  </a:cubicBezTo>
                  <a:cubicBezTo>
                    <a:pt x="1508" y="1132"/>
                    <a:pt x="1509" y="1134"/>
                    <a:pt x="1510" y="1134"/>
                  </a:cubicBezTo>
                  <a:cubicBezTo>
                    <a:pt x="1511" y="1134"/>
                    <a:pt x="1514" y="1134"/>
                    <a:pt x="1515" y="1134"/>
                  </a:cubicBezTo>
                  <a:cubicBezTo>
                    <a:pt x="1516" y="1134"/>
                    <a:pt x="1520" y="1137"/>
                    <a:pt x="1522" y="1137"/>
                  </a:cubicBezTo>
                  <a:cubicBezTo>
                    <a:pt x="1524" y="1137"/>
                    <a:pt x="1524" y="1136"/>
                    <a:pt x="1525" y="1135"/>
                  </a:cubicBezTo>
                  <a:cubicBezTo>
                    <a:pt x="1525" y="1134"/>
                    <a:pt x="1528" y="1132"/>
                    <a:pt x="1528" y="1132"/>
                  </a:cubicBezTo>
                  <a:cubicBezTo>
                    <a:pt x="1529" y="1131"/>
                    <a:pt x="1532" y="1131"/>
                    <a:pt x="1533" y="1130"/>
                  </a:cubicBezTo>
                  <a:cubicBezTo>
                    <a:pt x="1534" y="1130"/>
                    <a:pt x="1535" y="1125"/>
                    <a:pt x="1536" y="1123"/>
                  </a:cubicBezTo>
                  <a:cubicBezTo>
                    <a:pt x="1536" y="1122"/>
                    <a:pt x="1539" y="1121"/>
                    <a:pt x="1540" y="1120"/>
                  </a:cubicBezTo>
                  <a:cubicBezTo>
                    <a:pt x="1542" y="1119"/>
                    <a:pt x="1543" y="1117"/>
                    <a:pt x="1544" y="1117"/>
                  </a:cubicBezTo>
                  <a:cubicBezTo>
                    <a:pt x="1545" y="1118"/>
                    <a:pt x="1545" y="1119"/>
                    <a:pt x="1545" y="1121"/>
                  </a:cubicBezTo>
                  <a:cubicBezTo>
                    <a:pt x="1545" y="1123"/>
                    <a:pt x="1548" y="1125"/>
                    <a:pt x="1548" y="1126"/>
                  </a:cubicBezTo>
                  <a:cubicBezTo>
                    <a:pt x="1548" y="1127"/>
                    <a:pt x="1550" y="1127"/>
                    <a:pt x="1552" y="1130"/>
                  </a:cubicBezTo>
                  <a:cubicBezTo>
                    <a:pt x="1554" y="1132"/>
                    <a:pt x="1552" y="1134"/>
                    <a:pt x="1552" y="1135"/>
                  </a:cubicBezTo>
                  <a:cubicBezTo>
                    <a:pt x="1552" y="1137"/>
                    <a:pt x="1553" y="1140"/>
                    <a:pt x="1553" y="1141"/>
                  </a:cubicBezTo>
                  <a:cubicBezTo>
                    <a:pt x="1554" y="1142"/>
                    <a:pt x="1555" y="1145"/>
                    <a:pt x="1555" y="1147"/>
                  </a:cubicBezTo>
                  <a:cubicBezTo>
                    <a:pt x="1555" y="1148"/>
                    <a:pt x="1554" y="1151"/>
                    <a:pt x="1554" y="1152"/>
                  </a:cubicBezTo>
                  <a:cubicBezTo>
                    <a:pt x="1553" y="1153"/>
                    <a:pt x="1555" y="1156"/>
                    <a:pt x="1555" y="1156"/>
                  </a:cubicBezTo>
                  <a:cubicBezTo>
                    <a:pt x="1555" y="1156"/>
                    <a:pt x="1556" y="1158"/>
                    <a:pt x="1557" y="1159"/>
                  </a:cubicBezTo>
                  <a:cubicBezTo>
                    <a:pt x="1558" y="1159"/>
                    <a:pt x="1559" y="1162"/>
                    <a:pt x="1559" y="1168"/>
                  </a:cubicBezTo>
                  <a:cubicBezTo>
                    <a:pt x="1559" y="1173"/>
                    <a:pt x="1561" y="1171"/>
                    <a:pt x="1561" y="1171"/>
                  </a:cubicBezTo>
                  <a:cubicBezTo>
                    <a:pt x="1561" y="1171"/>
                    <a:pt x="1562" y="1172"/>
                    <a:pt x="1563" y="1173"/>
                  </a:cubicBezTo>
                  <a:cubicBezTo>
                    <a:pt x="1565" y="1174"/>
                    <a:pt x="1564" y="1176"/>
                    <a:pt x="1564" y="1176"/>
                  </a:cubicBezTo>
                  <a:cubicBezTo>
                    <a:pt x="1564" y="1177"/>
                    <a:pt x="1566" y="1181"/>
                    <a:pt x="1566" y="1182"/>
                  </a:cubicBezTo>
                  <a:cubicBezTo>
                    <a:pt x="1566" y="1183"/>
                    <a:pt x="1566" y="1185"/>
                    <a:pt x="1565" y="1186"/>
                  </a:cubicBezTo>
                  <a:cubicBezTo>
                    <a:pt x="1564" y="1187"/>
                    <a:pt x="1565" y="1187"/>
                    <a:pt x="1563" y="1187"/>
                  </a:cubicBezTo>
                  <a:cubicBezTo>
                    <a:pt x="1562" y="1187"/>
                    <a:pt x="1564" y="1192"/>
                    <a:pt x="1565" y="1193"/>
                  </a:cubicBezTo>
                  <a:cubicBezTo>
                    <a:pt x="1565" y="1194"/>
                    <a:pt x="1566" y="1191"/>
                    <a:pt x="1567" y="1191"/>
                  </a:cubicBezTo>
                  <a:cubicBezTo>
                    <a:pt x="1568" y="1191"/>
                    <a:pt x="1568" y="1200"/>
                    <a:pt x="1567" y="1203"/>
                  </a:cubicBezTo>
                  <a:cubicBezTo>
                    <a:pt x="1567" y="1206"/>
                    <a:pt x="1568" y="1204"/>
                    <a:pt x="1567" y="1205"/>
                  </a:cubicBezTo>
                  <a:cubicBezTo>
                    <a:pt x="1566" y="1206"/>
                    <a:pt x="1565" y="1208"/>
                    <a:pt x="1565" y="1208"/>
                  </a:cubicBezTo>
                  <a:cubicBezTo>
                    <a:pt x="1565" y="1208"/>
                    <a:pt x="1566" y="1208"/>
                    <a:pt x="1566" y="1209"/>
                  </a:cubicBezTo>
                  <a:cubicBezTo>
                    <a:pt x="1567" y="1209"/>
                    <a:pt x="1567" y="1210"/>
                    <a:pt x="1568" y="1210"/>
                  </a:cubicBezTo>
                  <a:cubicBezTo>
                    <a:pt x="1568" y="1210"/>
                    <a:pt x="1568" y="1213"/>
                    <a:pt x="1568" y="1213"/>
                  </a:cubicBezTo>
                  <a:cubicBezTo>
                    <a:pt x="1568" y="1213"/>
                    <a:pt x="1566" y="1217"/>
                    <a:pt x="1565" y="1217"/>
                  </a:cubicBezTo>
                  <a:cubicBezTo>
                    <a:pt x="1564" y="1218"/>
                    <a:pt x="1564" y="1221"/>
                    <a:pt x="1563" y="1222"/>
                  </a:cubicBezTo>
                  <a:cubicBezTo>
                    <a:pt x="1562" y="1224"/>
                    <a:pt x="1562" y="1224"/>
                    <a:pt x="1562" y="1226"/>
                  </a:cubicBezTo>
                  <a:cubicBezTo>
                    <a:pt x="1561" y="1227"/>
                    <a:pt x="1562" y="1229"/>
                    <a:pt x="1562" y="1231"/>
                  </a:cubicBezTo>
                  <a:cubicBezTo>
                    <a:pt x="1561" y="1233"/>
                    <a:pt x="1560" y="1236"/>
                    <a:pt x="1559" y="1239"/>
                  </a:cubicBezTo>
                  <a:cubicBezTo>
                    <a:pt x="1559" y="1239"/>
                    <a:pt x="1561" y="1240"/>
                    <a:pt x="1562" y="1239"/>
                  </a:cubicBezTo>
                  <a:cubicBezTo>
                    <a:pt x="1562" y="1238"/>
                    <a:pt x="1565" y="1239"/>
                    <a:pt x="1566" y="1240"/>
                  </a:cubicBezTo>
                  <a:cubicBezTo>
                    <a:pt x="1568" y="1241"/>
                    <a:pt x="1568" y="1242"/>
                    <a:pt x="1568" y="1242"/>
                  </a:cubicBezTo>
                  <a:cubicBezTo>
                    <a:pt x="1568" y="1242"/>
                    <a:pt x="1570" y="1245"/>
                    <a:pt x="1572" y="1246"/>
                  </a:cubicBezTo>
                  <a:cubicBezTo>
                    <a:pt x="1573" y="1246"/>
                    <a:pt x="1575" y="1250"/>
                    <a:pt x="1575" y="1251"/>
                  </a:cubicBezTo>
                  <a:cubicBezTo>
                    <a:pt x="1575" y="1252"/>
                    <a:pt x="1576" y="1254"/>
                    <a:pt x="1576" y="1254"/>
                  </a:cubicBezTo>
                  <a:cubicBezTo>
                    <a:pt x="1577" y="1255"/>
                    <a:pt x="1579" y="1257"/>
                    <a:pt x="1580" y="1258"/>
                  </a:cubicBezTo>
                  <a:cubicBezTo>
                    <a:pt x="1580" y="1259"/>
                    <a:pt x="1582" y="1261"/>
                    <a:pt x="1582" y="1262"/>
                  </a:cubicBezTo>
                  <a:cubicBezTo>
                    <a:pt x="1582" y="1262"/>
                    <a:pt x="1581" y="1262"/>
                    <a:pt x="1580" y="1263"/>
                  </a:cubicBezTo>
                  <a:cubicBezTo>
                    <a:pt x="1579" y="1263"/>
                    <a:pt x="1578" y="1264"/>
                    <a:pt x="1577" y="1264"/>
                  </a:cubicBezTo>
                  <a:cubicBezTo>
                    <a:pt x="1577" y="1264"/>
                    <a:pt x="1580" y="1265"/>
                    <a:pt x="1580" y="1266"/>
                  </a:cubicBezTo>
                  <a:cubicBezTo>
                    <a:pt x="1581" y="1267"/>
                    <a:pt x="1584" y="1266"/>
                    <a:pt x="1584" y="1266"/>
                  </a:cubicBezTo>
                  <a:cubicBezTo>
                    <a:pt x="1584" y="1266"/>
                    <a:pt x="1586" y="1266"/>
                    <a:pt x="1587" y="1267"/>
                  </a:cubicBezTo>
                  <a:cubicBezTo>
                    <a:pt x="1587" y="1269"/>
                    <a:pt x="1589" y="1270"/>
                    <a:pt x="1589" y="1272"/>
                  </a:cubicBezTo>
                  <a:cubicBezTo>
                    <a:pt x="1589" y="1274"/>
                    <a:pt x="1588" y="1276"/>
                    <a:pt x="1588" y="1278"/>
                  </a:cubicBezTo>
                  <a:cubicBezTo>
                    <a:pt x="1588" y="1280"/>
                    <a:pt x="1589" y="1282"/>
                    <a:pt x="1590" y="1283"/>
                  </a:cubicBezTo>
                  <a:cubicBezTo>
                    <a:pt x="1591" y="1284"/>
                    <a:pt x="1591" y="1287"/>
                    <a:pt x="1591" y="1290"/>
                  </a:cubicBezTo>
                  <a:cubicBezTo>
                    <a:pt x="1591" y="1292"/>
                    <a:pt x="1591" y="1293"/>
                    <a:pt x="1591" y="1293"/>
                  </a:cubicBezTo>
                  <a:cubicBezTo>
                    <a:pt x="1591" y="1294"/>
                    <a:pt x="1594" y="1297"/>
                    <a:pt x="1594" y="1298"/>
                  </a:cubicBezTo>
                  <a:cubicBezTo>
                    <a:pt x="1595" y="1299"/>
                    <a:pt x="1599" y="1305"/>
                    <a:pt x="1599" y="1307"/>
                  </a:cubicBezTo>
                  <a:cubicBezTo>
                    <a:pt x="1599" y="1308"/>
                    <a:pt x="1601" y="1311"/>
                    <a:pt x="1601" y="1311"/>
                  </a:cubicBezTo>
                  <a:cubicBezTo>
                    <a:pt x="1601" y="1312"/>
                    <a:pt x="1605" y="1315"/>
                    <a:pt x="1606" y="1316"/>
                  </a:cubicBezTo>
                  <a:cubicBezTo>
                    <a:pt x="1608" y="1317"/>
                    <a:pt x="1611" y="1320"/>
                    <a:pt x="1612" y="1320"/>
                  </a:cubicBezTo>
                  <a:cubicBezTo>
                    <a:pt x="1613" y="1320"/>
                    <a:pt x="1618" y="1327"/>
                    <a:pt x="1619" y="1327"/>
                  </a:cubicBezTo>
                  <a:cubicBezTo>
                    <a:pt x="1619" y="1328"/>
                    <a:pt x="1624" y="1331"/>
                    <a:pt x="1624" y="1331"/>
                  </a:cubicBezTo>
                  <a:cubicBezTo>
                    <a:pt x="1633" y="1334"/>
                    <a:pt x="1633" y="1334"/>
                    <a:pt x="1633" y="1334"/>
                  </a:cubicBezTo>
                  <a:cubicBezTo>
                    <a:pt x="1639" y="1337"/>
                    <a:pt x="1639" y="1337"/>
                    <a:pt x="1639" y="1337"/>
                  </a:cubicBezTo>
                  <a:cubicBezTo>
                    <a:pt x="1639" y="1337"/>
                    <a:pt x="1641" y="1335"/>
                    <a:pt x="1642" y="1333"/>
                  </a:cubicBezTo>
                  <a:cubicBezTo>
                    <a:pt x="1642" y="1330"/>
                    <a:pt x="1642" y="1330"/>
                    <a:pt x="1642" y="1329"/>
                  </a:cubicBezTo>
                  <a:cubicBezTo>
                    <a:pt x="1641" y="1327"/>
                    <a:pt x="1641" y="1326"/>
                    <a:pt x="1639" y="1325"/>
                  </a:cubicBezTo>
                  <a:cubicBezTo>
                    <a:pt x="1638" y="1323"/>
                    <a:pt x="1637" y="1322"/>
                    <a:pt x="1636" y="1321"/>
                  </a:cubicBezTo>
                  <a:cubicBezTo>
                    <a:pt x="1635" y="1320"/>
                    <a:pt x="1635" y="1317"/>
                    <a:pt x="1635" y="1314"/>
                  </a:cubicBezTo>
                  <a:cubicBezTo>
                    <a:pt x="1634" y="1311"/>
                    <a:pt x="1632" y="1312"/>
                    <a:pt x="1630" y="1309"/>
                  </a:cubicBezTo>
                  <a:cubicBezTo>
                    <a:pt x="1628" y="1306"/>
                    <a:pt x="1630" y="1306"/>
                    <a:pt x="1630" y="1301"/>
                  </a:cubicBezTo>
                  <a:cubicBezTo>
                    <a:pt x="1629" y="1296"/>
                    <a:pt x="1630" y="1297"/>
                    <a:pt x="1630" y="1293"/>
                  </a:cubicBezTo>
                  <a:cubicBezTo>
                    <a:pt x="1630" y="1290"/>
                    <a:pt x="1631" y="1290"/>
                    <a:pt x="1631" y="1287"/>
                  </a:cubicBezTo>
                  <a:cubicBezTo>
                    <a:pt x="1631" y="1285"/>
                    <a:pt x="1628" y="1283"/>
                    <a:pt x="1628" y="1282"/>
                  </a:cubicBezTo>
                  <a:cubicBezTo>
                    <a:pt x="1627" y="1281"/>
                    <a:pt x="1624" y="1277"/>
                    <a:pt x="1623" y="1276"/>
                  </a:cubicBezTo>
                  <a:cubicBezTo>
                    <a:pt x="1622" y="1275"/>
                    <a:pt x="1620" y="1274"/>
                    <a:pt x="1620" y="1273"/>
                  </a:cubicBezTo>
                  <a:cubicBezTo>
                    <a:pt x="1619" y="1272"/>
                    <a:pt x="1617" y="1270"/>
                    <a:pt x="1616" y="1269"/>
                  </a:cubicBezTo>
                  <a:cubicBezTo>
                    <a:pt x="1615" y="1268"/>
                    <a:pt x="1614" y="1269"/>
                    <a:pt x="1612" y="1268"/>
                  </a:cubicBezTo>
                  <a:cubicBezTo>
                    <a:pt x="1612" y="1268"/>
                    <a:pt x="1612" y="1268"/>
                    <a:pt x="1612" y="1268"/>
                  </a:cubicBezTo>
                  <a:cubicBezTo>
                    <a:pt x="1610" y="1268"/>
                    <a:pt x="1611" y="1267"/>
                    <a:pt x="1611" y="1264"/>
                  </a:cubicBezTo>
                  <a:cubicBezTo>
                    <a:pt x="1611" y="1262"/>
                    <a:pt x="1608" y="1262"/>
                    <a:pt x="1607" y="1262"/>
                  </a:cubicBezTo>
                  <a:cubicBezTo>
                    <a:pt x="1607" y="1262"/>
                    <a:pt x="1604" y="1260"/>
                    <a:pt x="1604" y="1260"/>
                  </a:cubicBezTo>
                  <a:cubicBezTo>
                    <a:pt x="1604" y="1260"/>
                    <a:pt x="1603" y="1260"/>
                    <a:pt x="1601" y="1258"/>
                  </a:cubicBezTo>
                  <a:cubicBezTo>
                    <a:pt x="1600" y="1258"/>
                    <a:pt x="1599" y="1258"/>
                    <a:pt x="1598" y="1257"/>
                  </a:cubicBezTo>
                  <a:cubicBezTo>
                    <a:pt x="1597" y="1257"/>
                    <a:pt x="1597" y="1258"/>
                    <a:pt x="1596" y="1257"/>
                  </a:cubicBezTo>
                  <a:cubicBezTo>
                    <a:pt x="1595" y="1256"/>
                    <a:pt x="1595" y="1257"/>
                    <a:pt x="1594" y="1256"/>
                  </a:cubicBezTo>
                  <a:cubicBezTo>
                    <a:pt x="1593" y="1256"/>
                    <a:pt x="1592" y="1254"/>
                    <a:pt x="1591" y="1254"/>
                  </a:cubicBezTo>
                  <a:cubicBezTo>
                    <a:pt x="1590" y="1253"/>
                    <a:pt x="1590" y="1252"/>
                    <a:pt x="1589" y="1251"/>
                  </a:cubicBezTo>
                  <a:cubicBezTo>
                    <a:pt x="1588" y="1250"/>
                    <a:pt x="1589" y="1249"/>
                    <a:pt x="1589" y="1248"/>
                  </a:cubicBezTo>
                  <a:cubicBezTo>
                    <a:pt x="1589" y="1247"/>
                    <a:pt x="1588" y="1244"/>
                    <a:pt x="1588" y="1243"/>
                  </a:cubicBezTo>
                  <a:cubicBezTo>
                    <a:pt x="1587" y="1242"/>
                    <a:pt x="1589" y="1243"/>
                    <a:pt x="1588" y="1240"/>
                  </a:cubicBezTo>
                  <a:cubicBezTo>
                    <a:pt x="1587" y="1237"/>
                    <a:pt x="1585" y="1238"/>
                    <a:pt x="1585" y="1237"/>
                  </a:cubicBezTo>
                  <a:cubicBezTo>
                    <a:pt x="1585" y="1236"/>
                    <a:pt x="1585" y="1236"/>
                    <a:pt x="1585" y="1235"/>
                  </a:cubicBezTo>
                  <a:cubicBezTo>
                    <a:pt x="1584" y="1234"/>
                    <a:pt x="1583" y="1233"/>
                    <a:pt x="1581" y="1231"/>
                  </a:cubicBezTo>
                  <a:cubicBezTo>
                    <a:pt x="1580" y="1229"/>
                    <a:pt x="1582" y="1230"/>
                    <a:pt x="1582" y="1228"/>
                  </a:cubicBezTo>
                  <a:cubicBezTo>
                    <a:pt x="1582" y="1227"/>
                    <a:pt x="1581" y="1227"/>
                    <a:pt x="1580" y="1226"/>
                  </a:cubicBezTo>
                  <a:cubicBezTo>
                    <a:pt x="1579" y="1225"/>
                    <a:pt x="1580" y="1226"/>
                    <a:pt x="1579" y="1226"/>
                  </a:cubicBezTo>
                  <a:cubicBezTo>
                    <a:pt x="1577" y="1226"/>
                    <a:pt x="1577" y="1226"/>
                    <a:pt x="1575" y="1225"/>
                  </a:cubicBezTo>
                  <a:cubicBezTo>
                    <a:pt x="1574" y="1224"/>
                    <a:pt x="1574" y="1223"/>
                    <a:pt x="1574" y="1221"/>
                  </a:cubicBezTo>
                  <a:cubicBezTo>
                    <a:pt x="1573" y="1219"/>
                    <a:pt x="1574" y="1218"/>
                    <a:pt x="1574" y="1216"/>
                  </a:cubicBezTo>
                  <a:cubicBezTo>
                    <a:pt x="1574" y="1215"/>
                    <a:pt x="1574" y="1211"/>
                    <a:pt x="1574" y="1210"/>
                  </a:cubicBezTo>
                  <a:cubicBezTo>
                    <a:pt x="1575" y="1208"/>
                    <a:pt x="1581" y="1194"/>
                    <a:pt x="1581" y="1192"/>
                  </a:cubicBezTo>
                  <a:cubicBezTo>
                    <a:pt x="1581" y="1190"/>
                    <a:pt x="1583" y="1190"/>
                    <a:pt x="1583" y="1189"/>
                  </a:cubicBezTo>
                  <a:cubicBezTo>
                    <a:pt x="1584" y="1187"/>
                    <a:pt x="1585" y="1186"/>
                    <a:pt x="1585" y="1184"/>
                  </a:cubicBezTo>
                  <a:cubicBezTo>
                    <a:pt x="1585" y="1182"/>
                    <a:pt x="1585" y="1180"/>
                    <a:pt x="1585" y="1176"/>
                  </a:cubicBezTo>
                  <a:cubicBezTo>
                    <a:pt x="1585" y="1172"/>
                    <a:pt x="1585" y="1172"/>
                    <a:pt x="1586" y="1169"/>
                  </a:cubicBezTo>
                  <a:cubicBezTo>
                    <a:pt x="1587" y="1166"/>
                    <a:pt x="1588" y="1169"/>
                    <a:pt x="1589" y="1168"/>
                  </a:cubicBezTo>
                  <a:cubicBezTo>
                    <a:pt x="1590" y="1166"/>
                    <a:pt x="1593" y="1167"/>
                    <a:pt x="1594" y="1167"/>
                  </a:cubicBezTo>
                  <a:cubicBezTo>
                    <a:pt x="1595" y="1168"/>
                    <a:pt x="1596" y="1169"/>
                    <a:pt x="1596" y="1170"/>
                  </a:cubicBezTo>
                  <a:cubicBezTo>
                    <a:pt x="1595" y="1172"/>
                    <a:pt x="1596" y="1174"/>
                    <a:pt x="1596" y="1175"/>
                  </a:cubicBezTo>
                  <a:cubicBezTo>
                    <a:pt x="1595" y="1177"/>
                    <a:pt x="1596" y="1179"/>
                    <a:pt x="1596" y="1180"/>
                  </a:cubicBezTo>
                  <a:cubicBezTo>
                    <a:pt x="1597" y="1180"/>
                    <a:pt x="1604" y="1180"/>
                    <a:pt x="1606" y="1180"/>
                  </a:cubicBezTo>
                  <a:cubicBezTo>
                    <a:pt x="1608" y="1179"/>
                    <a:pt x="1610" y="1181"/>
                    <a:pt x="1611" y="1182"/>
                  </a:cubicBezTo>
                  <a:cubicBezTo>
                    <a:pt x="1612" y="1182"/>
                    <a:pt x="1614" y="1183"/>
                    <a:pt x="1614" y="1184"/>
                  </a:cubicBezTo>
                  <a:cubicBezTo>
                    <a:pt x="1614" y="1185"/>
                    <a:pt x="1617" y="1190"/>
                    <a:pt x="1620" y="1190"/>
                  </a:cubicBezTo>
                  <a:cubicBezTo>
                    <a:pt x="1620" y="1190"/>
                    <a:pt x="1621" y="1190"/>
                    <a:pt x="1622" y="1191"/>
                  </a:cubicBezTo>
                  <a:cubicBezTo>
                    <a:pt x="1623" y="1192"/>
                    <a:pt x="1623" y="1193"/>
                    <a:pt x="1624" y="1194"/>
                  </a:cubicBezTo>
                  <a:cubicBezTo>
                    <a:pt x="1624" y="1194"/>
                    <a:pt x="1627" y="1198"/>
                    <a:pt x="1628" y="1199"/>
                  </a:cubicBezTo>
                  <a:cubicBezTo>
                    <a:pt x="1629" y="1201"/>
                    <a:pt x="1629" y="1202"/>
                    <a:pt x="1630" y="1203"/>
                  </a:cubicBezTo>
                  <a:cubicBezTo>
                    <a:pt x="1630" y="1204"/>
                    <a:pt x="1632" y="1207"/>
                    <a:pt x="1634" y="1207"/>
                  </a:cubicBezTo>
                  <a:cubicBezTo>
                    <a:pt x="1636" y="1207"/>
                    <a:pt x="1637" y="1210"/>
                    <a:pt x="1637" y="1211"/>
                  </a:cubicBezTo>
                  <a:cubicBezTo>
                    <a:pt x="1637" y="1211"/>
                    <a:pt x="1638" y="1215"/>
                    <a:pt x="1638" y="1215"/>
                  </a:cubicBezTo>
                  <a:cubicBezTo>
                    <a:pt x="1638" y="1215"/>
                    <a:pt x="1641" y="1213"/>
                    <a:pt x="1641" y="1211"/>
                  </a:cubicBezTo>
                  <a:cubicBezTo>
                    <a:pt x="1641" y="1210"/>
                    <a:pt x="1642" y="1212"/>
                    <a:pt x="1644" y="1212"/>
                  </a:cubicBezTo>
                  <a:cubicBezTo>
                    <a:pt x="1645" y="1212"/>
                    <a:pt x="1645" y="1213"/>
                    <a:pt x="1646" y="1213"/>
                  </a:cubicBezTo>
                  <a:cubicBezTo>
                    <a:pt x="1647" y="1214"/>
                    <a:pt x="1648" y="1215"/>
                    <a:pt x="1648" y="1215"/>
                  </a:cubicBezTo>
                  <a:cubicBezTo>
                    <a:pt x="1649" y="1215"/>
                    <a:pt x="1650" y="1216"/>
                    <a:pt x="1651" y="1217"/>
                  </a:cubicBezTo>
                  <a:cubicBezTo>
                    <a:pt x="1651" y="1218"/>
                    <a:pt x="1652" y="1218"/>
                    <a:pt x="1653" y="1220"/>
                  </a:cubicBezTo>
                  <a:cubicBezTo>
                    <a:pt x="1653" y="1221"/>
                    <a:pt x="1652" y="1221"/>
                    <a:pt x="1651" y="1222"/>
                  </a:cubicBezTo>
                  <a:cubicBezTo>
                    <a:pt x="1651" y="1223"/>
                    <a:pt x="1650" y="1225"/>
                    <a:pt x="1649" y="1227"/>
                  </a:cubicBezTo>
                  <a:cubicBezTo>
                    <a:pt x="1647" y="1229"/>
                    <a:pt x="1648" y="1234"/>
                    <a:pt x="1648" y="1235"/>
                  </a:cubicBezTo>
                  <a:cubicBezTo>
                    <a:pt x="1649" y="1236"/>
                    <a:pt x="1650" y="1236"/>
                    <a:pt x="1651" y="1236"/>
                  </a:cubicBezTo>
                  <a:cubicBezTo>
                    <a:pt x="1652" y="1235"/>
                    <a:pt x="1654" y="1234"/>
                    <a:pt x="1655" y="1232"/>
                  </a:cubicBezTo>
                  <a:cubicBezTo>
                    <a:pt x="1656" y="1231"/>
                    <a:pt x="1657" y="1230"/>
                    <a:pt x="1658" y="1229"/>
                  </a:cubicBezTo>
                  <a:cubicBezTo>
                    <a:pt x="1660" y="1228"/>
                    <a:pt x="1663" y="1229"/>
                    <a:pt x="1666" y="1227"/>
                  </a:cubicBezTo>
                  <a:cubicBezTo>
                    <a:pt x="1669" y="1224"/>
                    <a:pt x="1668" y="1224"/>
                    <a:pt x="1668" y="1224"/>
                  </a:cubicBezTo>
                  <a:cubicBezTo>
                    <a:pt x="1668" y="1224"/>
                    <a:pt x="1669" y="1224"/>
                    <a:pt x="1672" y="1224"/>
                  </a:cubicBezTo>
                  <a:cubicBezTo>
                    <a:pt x="1675" y="1224"/>
                    <a:pt x="1673" y="1223"/>
                    <a:pt x="1673" y="1220"/>
                  </a:cubicBezTo>
                  <a:cubicBezTo>
                    <a:pt x="1673" y="1217"/>
                    <a:pt x="1671" y="1218"/>
                    <a:pt x="1670" y="1216"/>
                  </a:cubicBezTo>
                  <a:cubicBezTo>
                    <a:pt x="1668" y="1213"/>
                    <a:pt x="1670" y="1214"/>
                    <a:pt x="1670" y="1214"/>
                  </a:cubicBezTo>
                  <a:cubicBezTo>
                    <a:pt x="1670" y="1214"/>
                    <a:pt x="1672" y="1213"/>
                    <a:pt x="1673" y="1210"/>
                  </a:cubicBezTo>
                  <a:cubicBezTo>
                    <a:pt x="1675" y="1207"/>
                    <a:pt x="1674" y="1209"/>
                    <a:pt x="1676" y="1207"/>
                  </a:cubicBezTo>
                  <a:cubicBezTo>
                    <a:pt x="1679" y="1204"/>
                    <a:pt x="1678" y="1208"/>
                    <a:pt x="1678" y="1209"/>
                  </a:cubicBezTo>
                  <a:cubicBezTo>
                    <a:pt x="1678" y="1209"/>
                    <a:pt x="1680" y="1209"/>
                    <a:pt x="1682" y="1210"/>
                  </a:cubicBezTo>
                  <a:cubicBezTo>
                    <a:pt x="1683" y="1210"/>
                    <a:pt x="1686" y="1209"/>
                    <a:pt x="1688" y="1208"/>
                  </a:cubicBezTo>
                  <a:cubicBezTo>
                    <a:pt x="1690" y="1207"/>
                    <a:pt x="1694" y="1206"/>
                    <a:pt x="1695" y="1203"/>
                  </a:cubicBezTo>
                  <a:cubicBezTo>
                    <a:pt x="1697" y="1200"/>
                    <a:pt x="1697" y="1202"/>
                    <a:pt x="1701" y="1200"/>
                  </a:cubicBezTo>
                  <a:cubicBezTo>
                    <a:pt x="1704" y="1198"/>
                    <a:pt x="1706" y="1197"/>
                    <a:pt x="1707" y="1193"/>
                  </a:cubicBezTo>
                  <a:cubicBezTo>
                    <a:pt x="1708" y="1190"/>
                    <a:pt x="1709" y="1190"/>
                    <a:pt x="1708" y="1189"/>
                  </a:cubicBezTo>
                  <a:cubicBezTo>
                    <a:pt x="1707" y="1187"/>
                    <a:pt x="1708" y="1184"/>
                    <a:pt x="1709" y="1184"/>
                  </a:cubicBezTo>
                  <a:cubicBezTo>
                    <a:pt x="1709" y="1183"/>
                    <a:pt x="1711" y="1181"/>
                    <a:pt x="1712" y="1178"/>
                  </a:cubicBezTo>
                  <a:cubicBezTo>
                    <a:pt x="1712" y="1175"/>
                    <a:pt x="1712" y="1176"/>
                    <a:pt x="1712" y="1175"/>
                  </a:cubicBezTo>
                  <a:cubicBezTo>
                    <a:pt x="1712" y="1173"/>
                    <a:pt x="1710" y="1172"/>
                    <a:pt x="1708" y="1170"/>
                  </a:cubicBezTo>
                  <a:cubicBezTo>
                    <a:pt x="1706" y="1168"/>
                    <a:pt x="1709" y="1169"/>
                    <a:pt x="1708" y="1165"/>
                  </a:cubicBezTo>
                  <a:cubicBezTo>
                    <a:pt x="1707" y="1161"/>
                    <a:pt x="1707" y="1159"/>
                    <a:pt x="1707" y="1156"/>
                  </a:cubicBezTo>
                  <a:cubicBezTo>
                    <a:pt x="1708" y="1153"/>
                    <a:pt x="1707" y="1152"/>
                    <a:pt x="1705" y="1149"/>
                  </a:cubicBezTo>
                  <a:cubicBezTo>
                    <a:pt x="1704" y="1146"/>
                    <a:pt x="1704" y="1146"/>
                    <a:pt x="1704" y="1144"/>
                  </a:cubicBezTo>
                  <a:cubicBezTo>
                    <a:pt x="1703" y="1142"/>
                    <a:pt x="1700" y="1139"/>
                    <a:pt x="1698" y="1137"/>
                  </a:cubicBezTo>
                  <a:cubicBezTo>
                    <a:pt x="1696" y="1135"/>
                    <a:pt x="1687" y="1126"/>
                    <a:pt x="1686" y="1124"/>
                  </a:cubicBezTo>
                  <a:cubicBezTo>
                    <a:pt x="1684" y="1122"/>
                    <a:pt x="1683" y="1122"/>
                    <a:pt x="1683" y="1122"/>
                  </a:cubicBezTo>
                  <a:cubicBezTo>
                    <a:pt x="1683" y="1122"/>
                    <a:pt x="1680" y="1120"/>
                    <a:pt x="1679" y="1119"/>
                  </a:cubicBezTo>
                  <a:cubicBezTo>
                    <a:pt x="1677" y="1118"/>
                    <a:pt x="1678" y="1118"/>
                    <a:pt x="1678" y="1116"/>
                  </a:cubicBezTo>
                  <a:cubicBezTo>
                    <a:pt x="1678" y="1114"/>
                    <a:pt x="1676" y="1114"/>
                    <a:pt x="1674" y="1112"/>
                  </a:cubicBezTo>
                  <a:cubicBezTo>
                    <a:pt x="1671" y="1110"/>
                    <a:pt x="1672" y="1110"/>
                    <a:pt x="1672" y="1108"/>
                  </a:cubicBezTo>
                  <a:cubicBezTo>
                    <a:pt x="1672" y="1106"/>
                    <a:pt x="1672" y="1107"/>
                    <a:pt x="1671" y="1105"/>
                  </a:cubicBezTo>
                  <a:cubicBezTo>
                    <a:pt x="1669" y="1103"/>
                    <a:pt x="1668" y="1104"/>
                    <a:pt x="1667" y="1102"/>
                  </a:cubicBezTo>
                  <a:cubicBezTo>
                    <a:pt x="1665" y="1100"/>
                    <a:pt x="1665" y="1100"/>
                    <a:pt x="1665" y="1100"/>
                  </a:cubicBezTo>
                  <a:cubicBezTo>
                    <a:pt x="1664" y="1099"/>
                    <a:pt x="1664" y="1098"/>
                    <a:pt x="1663" y="1096"/>
                  </a:cubicBezTo>
                  <a:cubicBezTo>
                    <a:pt x="1662" y="1094"/>
                    <a:pt x="1661" y="1094"/>
                    <a:pt x="1660" y="1093"/>
                  </a:cubicBezTo>
                  <a:cubicBezTo>
                    <a:pt x="1660" y="1092"/>
                    <a:pt x="1662" y="1092"/>
                    <a:pt x="1662" y="1091"/>
                  </a:cubicBezTo>
                  <a:cubicBezTo>
                    <a:pt x="1662" y="1089"/>
                    <a:pt x="1662" y="1089"/>
                    <a:pt x="1662" y="1087"/>
                  </a:cubicBezTo>
                  <a:cubicBezTo>
                    <a:pt x="1661" y="1086"/>
                    <a:pt x="1663" y="1084"/>
                    <a:pt x="1664" y="1081"/>
                  </a:cubicBezTo>
                  <a:cubicBezTo>
                    <a:pt x="1664" y="1079"/>
                    <a:pt x="1666" y="1079"/>
                    <a:pt x="1667" y="1078"/>
                  </a:cubicBezTo>
                  <a:cubicBezTo>
                    <a:pt x="1667" y="1078"/>
                    <a:pt x="1672" y="1076"/>
                    <a:pt x="1673" y="1074"/>
                  </a:cubicBezTo>
                  <a:cubicBezTo>
                    <a:pt x="1673" y="1073"/>
                    <a:pt x="1673" y="1070"/>
                    <a:pt x="1673" y="1069"/>
                  </a:cubicBezTo>
                  <a:cubicBezTo>
                    <a:pt x="1672" y="1069"/>
                    <a:pt x="1673" y="1068"/>
                    <a:pt x="1673" y="1067"/>
                  </a:cubicBezTo>
                  <a:cubicBezTo>
                    <a:pt x="1673" y="1065"/>
                    <a:pt x="1675" y="1066"/>
                    <a:pt x="1676" y="1065"/>
                  </a:cubicBezTo>
                  <a:cubicBezTo>
                    <a:pt x="1677" y="1064"/>
                    <a:pt x="1679" y="1064"/>
                    <a:pt x="1681" y="1063"/>
                  </a:cubicBezTo>
                  <a:cubicBezTo>
                    <a:pt x="1684" y="1063"/>
                    <a:pt x="1684" y="1063"/>
                    <a:pt x="1685" y="1062"/>
                  </a:cubicBezTo>
                  <a:cubicBezTo>
                    <a:pt x="1685" y="1062"/>
                    <a:pt x="1687" y="1060"/>
                    <a:pt x="1687" y="1059"/>
                  </a:cubicBezTo>
                  <a:cubicBezTo>
                    <a:pt x="1688" y="1058"/>
                    <a:pt x="1689" y="1057"/>
                    <a:pt x="1691" y="1057"/>
                  </a:cubicBezTo>
                  <a:cubicBezTo>
                    <a:pt x="1692" y="1057"/>
                    <a:pt x="1692" y="1057"/>
                    <a:pt x="1692" y="1057"/>
                  </a:cubicBezTo>
                  <a:cubicBezTo>
                    <a:pt x="1694" y="1057"/>
                    <a:pt x="1695" y="1056"/>
                    <a:pt x="1696" y="1055"/>
                  </a:cubicBezTo>
                  <a:cubicBezTo>
                    <a:pt x="1696" y="1054"/>
                    <a:pt x="1699" y="1052"/>
                    <a:pt x="1699" y="1052"/>
                  </a:cubicBezTo>
                  <a:cubicBezTo>
                    <a:pt x="1701" y="1055"/>
                    <a:pt x="1701" y="1055"/>
                    <a:pt x="1701" y="1055"/>
                  </a:cubicBezTo>
                  <a:cubicBezTo>
                    <a:pt x="1703" y="1056"/>
                    <a:pt x="1703" y="1056"/>
                    <a:pt x="1703" y="1056"/>
                  </a:cubicBezTo>
                  <a:cubicBezTo>
                    <a:pt x="1703" y="1056"/>
                    <a:pt x="1707" y="1059"/>
                    <a:pt x="1708" y="1058"/>
                  </a:cubicBezTo>
                  <a:cubicBezTo>
                    <a:pt x="1709" y="1058"/>
                    <a:pt x="1711" y="1058"/>
                    <a:pt x="1711" y="1057"/>
                  </a:cubicBezTo>
                  <a:cubicBezTo>
                    <a:pt x="1712" y="1056"/>
                    <a:pt x="1712" y="1055"/>
                    <a:pt x="1713" y="1055"/>
                  </a:cubicBezTo>
                  <a:cubicBezTo>
                    <a:pt x="1714" y="1055"/>
                    <a:pt x="1717" y="1058"/>
                    <a:pt x="1717" y="1058"/>
                  </a:cubicBezTo>
                  <a:cubicBezTo>
                    <a:pt x="1717" y="1059"/>
                    <a:pt x="1716" y="1064"/>
                    <a:pt x="1715" y="1065"/>
                  </a:cubicBezTo>
                  <a:cubicBezTo>
                    <a:pt x="1715" y="1067"/>
                    <a:pt x="1717" y="1069"/>
                    <a:pt x="1717" y="1069"/>
                  </a:cubicBezTo>
                  <a:cubicBezTo>
                    <a:pt x="1722" y="1074"/>
                    <a:pt x="1722" y="1074"/>
                    <a:pt x="1722" y="1074"/>
                  </a:cubicBezTo>
                  <a:cubicBezTo>
                    <a:pt x="1722" y="1074"/>
                    <a:pt x="1725" y="1074"/>
                    <a:pt x="1726" y="1073"/>
                  </a:cubicBezTo>
                  <a:cubicBezTo>
                    <a:pt x="1726" y="1072"/>
                    <a:pt x="1726" y="1072"/>
                    <a:pt x="1725" y="1070"/>
                  </a:cubicBezTo>
                  <a:cubicBezTo>
                    <a:pt x="1724" y="1068"/>
                    <a:pt x="1724" y="1068"/>
                    <a:pt x="1723" y="1065"/>
                  </a:cubicBezTo>
                  <a:cubicBezTo>
                    <a:pt x="1722" y="1062"/>
                    <a:pt x="1724" y="1064"/>
                    <a:pt x="1725" y="1062"/>
                  </a:cubicBezTo>
                  <a:cubicBezTo>
                    <a:pt x="1726" y="1060"/>
                    <a:pt x="1727" y="1059"/>
                    <a:pt x="1728" y="1058"/>
                  </a:cubicBezTo>
                  <a:cubicBezTo>
                    <a:pt x="1729" y="1057"/>
                    <a:pt x="1730" y="1059"/>
                    <a:pt x="1731" y="1059"/>
                  </a:cubicBezTo>
                  <a:cubicBezTo>
                    <a:pt x="1733" y="1059"/>
                    <a:pt x="1734" y="1059"/>
                    <a:pt x="1735" y="1059"/>
                  </a:cubicBezTo>
                  <a:cubicBezTo>
                    <a:pt x="1736" y="1058"/>
                    <a:pt x="1738" y="1057"/>
                    <a:pt x="1740" y="1055"/>
                  </a:cubicBezTo>
                  <a:cubicBezTo>
                    <a:pt x="1742" y="1052"/>
                    <a:pt x="1742" y="1055"/>
                    <a:pt x="1743" y="1056"/>
                  </a:cubicBezTo>
                  <a:cubicBezTo>
                    <a:pt x="1744" y="1056"/>
                    <a:pt x="1747" y="1055"/>
                    <a:pt x="1748" y="1055"/>
                  </a:cubicBezTo>
                  <a:cubicBezTo>
                    <a:pt x="1750" y="1055"/>
                    <a:pt x="1750" y="1055"/>
                    <a:pt x="1751" y="1055"/>
                  </a:cubicBezTo>
                  <a:cubicBezTo>
                    <a:pt x="1752" y="1054"/>
                    <a:pt x="1753" y="1054"/>
                    <a:pt x="1755" y="1053"/>
                  </a:cubicBezTo>
                  <a:cubicBezTo>
                    <a:pt x="1756" y="1053"/>
                    <a:pt x="1756" y="1052"/>
                    <a:pt x="1758" y="1051"/>
                  </a:cubicBezTo>
                  <a:cubicBezTo>
                    <a:pt x="1759" y="1050"/>
                    <a:pt x="1760" y="1050"/>
                    <a:pt x="1761" y="1049"/>
                  </a:cubicBezTo>
                  <a:cubicBezTo>
                    <a:pt x="1762" y="1049"/>
                    <a:pt x="1766" y="1051"/>
                    <a:pt x="1770" y="1049"/>
                  </a:cubicBezTo>
                  <a:cubicBezTo>
                    <a:pt x="1774" y="1048"/>
                    <a:pt x="1772" y="1045"/>
                    <a:pt x="1773" y="1043"/>
                  </a:cubicBezTo>
                  <a:cubicBezTo>
                    <a:pt x="1773" y="1041"/>
                    <a:pt x="1776" y="1043"/>
                    <a:pt x="1778" y="1044"/>
                  </a:cubicBezTo>
                  <a:cubicBezTo>
                    <a:pt x="1780" y="1044"/>
                    <a:pt x="1781" y="1044"/>
                    <a:pt x="1782" y="1043"/>
                  </a:cubicBezTo>
                  <a:cubicBezTo>
                    <a:pt x="1783" y="1041"/>
                    <a:pt x="1786" y="1041"/>
                    <a:pt x="1787" y="1040"/>
                  </a:cubicBezTo>
                  <a:cubicBezTo>
                    <a:pt x="1787" y="1040"/>
                    <a:pt x="1792" y="1040"/>
                    <a:pt x="1795" y="1040"/>
                  </a:cubicBezTo>
                  <a:cubicBezTo>
                    <a:pt x="1797" y="1039"/>
                    <a:pt x="1799" y="1039"/>
                    <a:pt x="1802" y="1038"/>
                  </a:cubicBezTo>
                  <a:cubicBezTo>
                    <a:pt x="1805" y="1037"/>
                    <a:pt x="1805" y="1036"/>
                    <a:pt x="1808" y="1034"/>
                  </a:cubicBezTo>
                  <a:cubicBezTo>
                    <a:pt x="1810" y="1032"/>
                    <a:pt x="1810" y="1032"/>
                    <a:pt x="1813" y="1028"/>
                  </a:cubicBezTo>
                  <a:cubicBezTo>
                    <a:pt x="1815" y="1024"/>
                    <a:pt x="1817" y="1026"/>
                    <a:pt x="1820" y="1025"/>
                  </a:cubicBezTo>
                  <a:cubicBezTo>
                    <a:pt x="1822" y="1024"/>
                    <a:pt x="1823" y="1023"/>
                    <a:pt x="1825" y="1022"/>
                  </a:cubicBezTo>
                  <a:cubicBezTo>
                    <a:pt x="1826" y="1021"/>
                    <a:pt x="1827" y="1021"/>
                    <a:pt x="1828" y="1020"/>
                  </a:cubicBezTo>
                  <a:cubicBezTo>
                    <a:pt x="1829" y="1018"/>
                    <a:pt x="1829" y="1017"/>
                    <a:pt x="1828" y="1016"/>
                  </a:cubicBezTo>
                  <a:cubicBezTo>
                    <a:pt x="1827" y="1015"/>
                    <a:pt x="1827" y="1015"/>
                    <a:pt x="1828" y="1014"/>
                  </a:cubicBezTo>
                  <a:cubicBezTo>
                    <a:pt x="1829" y="1013"/>
                    <a:pt x="1831" y="1013"/>
                    <a:pt x="1833" y="1012"/>
                  </a:cubicBezTo>
                  <a:cubicBezTo>
                    <a:pt x="1835" y="1010"/>
                    <a:pt x="1835" y="1010"/>
                    <a:pt x="1836" y="1010"/>
                  </a:cubicBezTo>
                  <a:cubicBezTo>
                    <a:pt x="1838" y="1010"/>
                    <a:pt x="1839" y="1009"/>
                    <a:pt x="1840" y="1008"/>
                  </a:cubicBezTo>
                  <a:cubicBezTo>
                    <a:pt x="1842" y="1007"/>
                    <a:pt x="1843" y="1006"/>
                    <a:pt x="1846" y="1003"/>
                  </a:cubicBezTo>
                  <a:cubicBezTo>
                    <a:pt x="1846" y="1002"/>
                    <a:pt x="1849" y="1002"/>
                    <a:pt x="1850" y="1001"/>
                  </a:cubicBezTo>
                  <a:cubicBezTo>
                    <a:pt x="1851" y="1000"/>
                    <a:pt x="1850" y="1000"/>
                    <a:pt x="1850" y="998"/>
                  </a:cubicBezTo>
                  <a:cubicBezTo>
                    <a:pt x="1850" y="996"/>
                    <a:pt x="1848" y="995"/>
                    <a:pt x="1848" y="994"/>
                  </a:cubicBezTo>
                  <a:cubicBezTo>
                    <a:pt x="1847" y="992"/>
                    <a:pt x="1849" y="994"/>
                    <a:pt x="1850" y="993"/>
                  </a:cubicBezTo>
                  <a:cubicBezTo>
                    <a:pt x="1852" y="992"/>
                    <a:pt x="1853" y="992"/>
                    <a:pt x="1853" y="990"/>
                  </a:cubicBezTo>
                  <a:cubicBezTo>
                    <a:pt x="1853" y="988"/>
                    <a:pt x="1852" y="989"/>
                    <a:pt x="1853" y="985"/>
                  </a:cubicBezTo>
                  <a:cubicBezTo>
                    <a:pt x="1853" y="985"/>
                    <a:pt x="1855" y="986"/>
                    <a:pt x="1855" y="985"/>
                  </a:cubicBezTo>
                  <a:cubicBezTo>
                    <a:pt x="1856" y="983"/>
                    <a:pt x="1856" y="982"/>
                    <a:pt x="1856" y="979"/>
                  </a:cubicBezTo>
                  <a:cubicBezTo>
                    <a:pt x="1857" y="977"/>
                    <a:pt x="1858" y="976"/>
                    <a:pt x="1861" y="976"/>
                  </a:cubicBezTo>
                  <a:cubicBezTo>
                    <a:pt x="1863" y="975"/>
                    <a:pt x="1863" y="974"/>
                    <a:pt x="1864" y="973"/>
                  </a:cubicBezTo>
                  <a:cubicBezTo>
                    <a:pt x="1865" y="972"/>
                    <a:pt x="1865" y="969"/>
                    <a:pt x="1865" y="968"/>
                  </a:cubicBezTo>
                  <a:cubicBezTo>
                    <a:pt x="1865" y="966"/>
                    <a:pt x="1866" y="964"/>
                    <a:pt x="1867" y="964"/>
                  </a:cubicBezTo>
                  <a:cubicBezTo>
                    <a:pt x="1867" y="963"/>
                    <a:pt x="1871" y="962"/>
                    <a:pt x="1873" y="961"/>
                  </a:cubicBezTo>
                  <a:cubicBezTo>
                    <a:pt x="1876" y="961"/>
                    <a:pt x="1875" y="959"/>
                    <a:pt x="1876" y="958"/>
                  </a:cubicBezTo>
                  <a:cubicBezTo>
                    <a:pt x="1876" y="956"/>
                    <a:pt x="1878" y="951"/>
                    <a:pt x="1877" y="950"/>
                  </a:cubicBezTo>
                  <a:cubicBezTo>
                    <a:pt x="1877" y="948"/>
                    <a:pt x="1876" y="947"/>
                    <a:pt x="1878" y="945"/>
                  </a:cubicBezTo>
                  <a:cubicBezTo>
                    <a:pt x="1879" y="944"/>
                    <a:pt x="1883" y="935"/>
                    <a:pt x="1883" y="935"/>
                  </a:cubicBezTo>
                  <a:cubicBezTo>
                    <a:pt x="1882" y="935"/>
                    <a:pt x="1881" y="935"/>
                    <a:pt x="1879" y="936"/>
                  </a:cubicBezTo>
                  <a:cubicBezTo>
                    <a:pt x="1878" y="937"/>
                    <a:pt x="1877" y="936"/>
                    <a:pt x="1876" y="934"/>
                  </a:cubicBezTo>
                  <a:cubicBezTo>
                    <a:pt x="1876" y="932"/>
                    <a:pt x="1875" y="931"/>
                    <a:pt x="1874" y="930"/>
                  </a:cubicBezTo>
                  <a:cubicBezTo>
                    <a:pt x="1874" y="929"/>
                    <a:pt x="1873" y="929"/>
                    <a:pt x="1869" y="930"/>
                  </a:cubicBezTo>
                  <a:cubicBezTo>
                    <a:pt x="1865" y="930"/>
                    <a:pt x="1866" y="930"/>
                    <a:pt x="1867" y="928"/>
                  </a:cubicBezTo>
                  <a:cubicBezTo>
                    <a:pt x="1868" y="926"/>
                    <a:pt x="1869" y="927"/>
                    <a:pt x="1870" y="926"/>
                  </a:cubicBezTo>
                  <a:cubicBezTo>
                    <a:pt x="1871" y="924"/>
                    <a:pt x="1874" y="923"/>
                    <a:pt x="1875" y="923"/>
                  </a:cubicBezTo>
                  <a:cubicBezTo>
                    <a:pt x="1876" y="923"/>
                    <a:pt x="1879" y="923"/>
                    <a:pt x="1880" y="921"/>
                  </a:cubicBezTo>
                  <a:cubicBezTo>
                    <a:pt x="1882" y="919"/>
                    <a:pt x="1879" y="919"/>
                    <a:pt x="1878" y="918"/>
                  </a:cubicBezTo>
                  <a:cubicBezTo>
                    <a:pt x="1877" y="916"/>
                    <a:pt x="1877" y="914"/>
                    <a:pt x="1876" y="912"/>
                  </a:cubicBezTo>
                  <a:cubicBezTo>
                    <a:pt x="1875" y="909"/>
                    <a:pt x="1879" y="910"/>
                    <a:pt x="1880" y="910"/>
                  </a:cubicBezTo>
                  <a:cubicBezTo>
                    <a:pt x="1881" y="910"/>
                    <a:pt x="1880" y="908"/>
                    <a:pt x="1880" y="907"/>
                  </a:cubicBezTo>
                  <a:cubicBezTo>
                    <a:pt x="1880" y="906"/>
                    <a:pt x="1878" y="905"/>
                    <a:pt x="1877" y="904"/>
                  </a:cubicBezTo>
                  <a:cubicBezTo>
                    <a:pt x="1876" y="903"/>
                    <a:pt x="1874" y="901"/>
                    <a:pt x="1874" y="900"/>
                  </a:cubicBezTo>
                  <a:cubicBezTo>
                    <a:pt x="1873" y="899"/>
                    <a:pt x="1870" y="899"/>
                    <a:pt x="1869" y="896"/>
                  </a:cubicBezTo>
                  <a:cubicBezTo>
                    <a:pt x="1869" y="893"/>
                    <a:pt x="1868" y="892"/>
                    <a:pt x="1867" y="890"/>
                  </a:cubicBezTo>
                  <a:cubicBezTo>
                    <a:pt x="1866" y="888"/>
                    <a:pt x="1863" y="887"/>
                    <a:pt x="1862" y="885"/>
                  </a:cubicBezTo>
                  <a:cubicBezTo>
                    <a:pt x="1861" y="883"/>
                    <a:pt x="1862" y="882"/>
                    <a:pt x="1862" y="880"/>
                  </a:cubicBezTo>
                  <a:cubicBezTo>
                    <a:pt x="1862" y="878"/>
                    <a:pt x="1859" y="873"/>
                    <a:pt x="1858" y="871"/>
                  </a:cubicBezTo>
                  <a:cubicBezTo>
                    <a:pt x="1857" y="870"/>
                    <a:pt x="1853" y="866"/>
                    <a:pt x="1851" y="865"/>
                  </a:cubicBezTo>
                  <a:cubicBezTo>
                    <a:pt x="1849" y="864"/>
                    <a:pt x="1849" y="864"/>
                    <a:pt x="1847" y="864"/>
                  </a:cubicBezTo>
                  <a:cubicBezTo>
                    <a:pt x="1844" y="863"/>
                    <a:pt x="1846" y="861"/>
                    <a:pt x="1845" y="859"/>
                  </a:cubicBezTo>
                  <a:cubicBezTo>
                    <a:pt x="1844" y="857"/>
                    <a:pt x="1846" y="858"/>
                    <a:pt x="1846" y="857"/>
                  </a:cubicBezTo>
                  <a:cubicBezTo>
                    <a:pt x="1847" y="856"/>
                    <a:pt x="1849" y="854"/>
                    <a:pt x="1851" y="853"/>
                  </a:cubicBezTo>
                  <a:cubicBezTo>
                    <a:pt x="1852" y="851"/>
                    <a:pt x="1853" y="849"/>
                    <a:pt x="1854" y="847"/>
                  </a:cubicBezTo>
                  <a:cubicBezTo>
                    <a:pt x="1856" y="846"/>
                    <a:pt x="1859" y="844"/>
                    <a:pt x="1860" y="844"/>
                  </a:cubicBezTo>
                  <a:cubicBezTo>
                    <a:pt x="1860" y="843"/>
                    <a:pt x="1862" y="842"/>
                    <a:pt x="1865" y="839"/>
                  </a:cubicBezTo>
                  <a:cubicBezTo>
                    <a:pt x="1868" y="836"/>
                    <a:pt x="1866" y="837"/>
                    <a:pt x="1868" y="836"/>
                  </a:cubicBezTo>
                  <a:cubicBezTo>
                    <a:pt x="1870" y="834"/>
                    <a:pt x="1874" y="832"/>
                    <a:pt x="1877" y="831"/>
                  </a:cubicBezTo>
                  <a:cubicBezTo>
                    <a:pt x="1879" y="830"/>
                    <a:pt x="1880" y="831"/>
                    <a:pt x="1883" y="831"/>
                  </a:cubicBezTo>
                  <a:cubicBezTo>
                    <a:pt x="1886" y="831"/>
                    <a:pt x="1887" y="830"/>
                    <a:pt x="1889" y="829"/>
                  </a:cubicBezTo>
                  <a:cubicBezTo>
                    <a:pt x="1891" y="827"/>
                    <a:pt x="1889" y="825"/>
                    <a:pt x="1889" y="824"/>
                  </a:cubicBezTo>
                  <a:cubicBezTo>
                    <a:pt x="1889" y="823"/>
                    <a:pt x="1887" y="823"/>
                    <a:pt x="1885" y="823"/>
                  </a:cubicBezTo>
                  <a:cubicBezTo>
                    <a:pt x="1883" y="822"/>
                    <a:pt x="1881" y="822"/>
                    <a:pt x="1879" y="822"/>
                  </a:cubicBezTo>
                  <a:cubicBezTo>
                    <a:pt x="1877" y="823"/>
                    <a:pt x="1876" y="823"/>
                    <a:pt x="1875" y="823"/>
                  </a:cubicBezTo>
                  <a:cubicBezTo>
                    <a:pt x="1874" y="823"/>
                    <a:pt x="1871" y="820"/>
                    <a:pt x="1870" y="819"/>
                  </a:cubicBezTo>
                  <a:cubicBezTo>
                    <a:pt x="1869" y="817"/>
                    <a:pt x="1868" y="816"/>
                    <a:pt x="1867" y="815"/>
                  </a:cubicBezTo>
                  <a:cubicBezTo>
                    <a:pt x="1866" y="815"/>
                    <a:pt x="1864" y="815"/>
                    <a:pt x="1862" y="815"/>
                  </a:cubicBezTo>
                  <a:cubicBezTo>
                    <a:pt x="1861" y="815"/>
                    <a:pt x="1860" y="817"/>
                    <a:pt x="1858" y="818"/>
                  </a:cubicBezTo>
                  <a:cubicBezTo>
                    <a:pt x="1857" y="819"/>
                    <a:pt x="1852" y="822"/>
                    <a:pt x="1851" y="824"/>
                  </a:cubicBezTo>
                  <a:cubicBezTo>
                    <a:pt x="1849" y="826"/>
                    <a:pt x="1844" y="826"/>
                    <a:pt x="1844" y="826"/>
                  </a:cubicBezTo>
                  <a:cubicBezTo>
                    <a:pt x="1844" y="826"/>
                    <a:pt x="1842" y="825"/>
                    <a:pt x="1841" y="823"/>
                  </a:cubicBezTo>
                  <a:cubicBezTo>
                    <a:pt x="1841" y="820"/>
                    <a:pt x="1841" y="818"/>
                    <a:pt x="1842" y="816"/>
                  </a:cubicBezTo>
                  <a:cubicBezTo>
                    <a:pt x="1842" y="815"/>
                    <a:pt x="1841" y="814"/>
                    <a:pt x="1841" y="813"/>
                  </a:cubicBezTo>
                  <a:cubicBezTo>
                    <a:pt x="1841" y="812"/>
                    <a:pt x="1840" y="811"/>
                    <a:pt x="1839" y="811"/>
                  </a:cubicBezTo>
                  <a:cubicBezTo>
                    <a:pt x="1838" y="811"/>
                    <a:pt x="1834" y="811"/>
                    <a:pt x="1833" y="810"/>
                  </a:cubicBezTo>
                  <a:cubicBezTo>
                    <a:pt x="1833" y="809"/>
                    <a:pt x="1832" y="809"/>
                    <a:pt x="1830" y="809"/>
                  </a:cubicBezTo>
                  <a:cubicBezTo>
                    <a:pt x="1829" y="809"/>
                    <a:pt x="1827" y="808"/>
                    <a:pt x="1826" y="807"/>
                  </a:cubicBezTo>
                  <a:cubicBezTo>
                    <a:pt x="1825" y="805"/>
                    <a:pt x="1823" y="805"/>
                    <a:pt x="1823" y="801"/>
                  </a:cubicBezTo>
                  <a:cubicBezTo>
                    <a:pt x="1824" y="798"/>
                    <a:pt x="1824" y="798"/>
                    <a:pt x="1825" y="796"/>
                  </a:cubicBezTo>
                  <a:cubicBezTo>
                    <a:pt x="1826" y="794"/>
                    <a:pt x="1829" y="795"/>
                    <a:pt x="1830" y="795"/>
                  </a:cubicBezTo>
                  <a:cubicBezTo>
                    <a:pt x="1832" y="794"/>
                    <a:pt x="1837" y="795"/>
                    <a:pt x="1839" y="795"/>
                  </a:cubicBezTo>
                  <a:cubicBezTo>
                    <a:pt x="1841" y="796"/>
                    <a:pt x="1842" y="794"/>
                    <a:pt x="1844" y="791"/>
                  </a:cubicBezTo>
                  <a:cubicBezTo>
                    <a:pt x="1846" y="789"/>
                    <a:pt x="1846" y="789"/>
                    <a:pt x="1847" y="787"/>
                  </a:cubicBezTo>
                  <a:cubicBezTo>
                    <a:pt x="1848" y="785"/>
                    <a:pt x="1850" y="785"/>
                    <a:pt x="1850" y="783"/>
                  </a:cubicBezTo>
                  <a:cubicBezTo>
                    <a:pt x="1851" y="781"/>
                    <a:pt x="1853" y="781"/>
                    <a:pt x="1855" y="780"/>
                  </a:cubicBezTo>
                  <a:cubicBezTo>
                    <a:pt x="1857" y="780"/>
                    <a:pt x="1858" y="779"/>
                    <a:pt x="1859" y="779"/>
                  </a:cubicBezTo>
                  <a:cubicBezTo>
                    <a:pt x="1859" y="778"/>
                    <a:pt x="1861" y="777"/>
                    <a:pt x="1863" y="774"/>
                  </a:cubicBezTo>
                  <a:cubicBezTo>
                    <a:pt x="1864" y="770"/>
                    <a:pt x="1868" y="769"/>
                    <a:pt x="1869" y="769"/>
                  </a:cubicBezTo>
                  <a:cubicBezTo>
                    <a:pt x="1871" y="768"/>
                    <a:pt x="1875" y="767"/>
                    <a:pt x="1878" y="768"/>
                  </a:cubicBezTo>
                  <a:cubicBezTo>
                    <a:pt x="1881" y="768"/>
                    <a:pt x="1880" y="768"/>
                    <a:pt x="1881" y="768"/>
                  </a:cubicBezTo>
                  <a:cubicBezTo>
                    <a:pt x="1883" y="769"/>
                    <a:pt x="1884" y="772"/>
                    <a:pt x="1884" y="773"/>
                  </a:cubicBezTo>
                  <a:cubicBezTo>
                    <a:pt x="1884" y="773"/>
                    <a:pt x="1884" y="774"/>
                    <a:pt x="1883" y="776"/>
                  </a:cubicBezTo>
                  <a:cubicBezTo>
                    <a:pt x="1882" y="777"/>
                    <a:pt x="1881" y="778"/>
                    <a:pt x="1880" y="780"/>
                  </a:cubicBezTo>
                  <a:cubicBezTo>
                    <a:pt x="1878" y="781"/>
                    <a:pt x="1876" y="783"/>
                    <a:pt x="1875" y="784"/>
                  </a:cubicBezTo>
                  <a:cubicBezTo>
                    <a:pt x="1874" y="785"/>
                    <a:pt x="1873" y="789"/>
                    <a:pt x="1873" y="789"/>
                  </a:cubicBezTo>
                  <a:cubicBezTo>
                    <a:pt x="1873" y="789"/>
                    <a:pt x="1875" y="790"/>
                    <a:pt x="1876" y="790"/>
                  </a:cubicBezTo>
                  <a:cubicBezTo>
                    <a:pt x="1877" y="790"/>
                    <a:pt x="1877" y="791"/>
                    <a:pt x="1877" y="792"/>
                  </a:cubicBezTo>
                  <a:cubicBezTo>
                    <a:pt x="1876" y="792"/>
                    <a:pt x="1874" y="796"/>
                    <a:pt x="1873" y="796"/>
                  </a:cubicBezTo>
                  <a:cubicBezTo>
                    <a:pt x="1872" y="796"/>
                    <a:pt x="1869" y="800"/>
                    <a:pt x="1869" y="800"/>
                  </a:cubicBezTo>
                  <a:cubicBezTo>
                    <a:pt x="1869" y="800"/>
                    <a:pt x="1873" y="801"/>
                    <a:pt x="1875" y="799"/>
                  </a:cubicBezTo>
                  <a:cubicBezTo>
                    <a:pt x="1877" y="796"/>
                    <a:pt x="1877" y="797"/>
                    <a:pt x="1879" y="796"/>
                  </a:cubicBezTo>
                  <a:cubicBezTo>
                    <a:pt x="1880" y="795"/>
                    <a:pt x="1883" y="794"/>
                    <a:pt x="1887" y="791"/>
                  </a:cubicBezTo>
                  <a:cubicBezTo>
                    <a:pt x="1891" y="788"/>
                    <a:pt x="1893" y="787"/>
                    <a:pt x="1895" y="786"/>
                  </a:cubicBezTo>
                  <a:cubicBezTo>
                    <a:pt x="1897" y="785"/>
                    <a:pt x="1900" y="786"/>
                    <a:pt x="1901" y="786"/>
                  </a:cubicBezTo>
                  <a:cubicBezTo>
                    <a:pt x="1902" y="785"/>
                    <a:pt x="1910" y="783"/>
                    <a:pt x="1911" y="784"/>
                  </a:cubicBezTo>
                  <a:cubicBezTo>
                    <a:pt x="1912" y="784"/>
                    <a:pt x="1912" y="785"/>
                    <a:pt x="1913" y="785"/>
                  </a:cubicBezTo>
                  <a:cubicBezTo>
                    <a:pt x="1914" y="785"/>
                    <a:pt x="1915" y="786"/>
                    <a:pt x="1916" y="786"/>
                  </a:cubicBezTo>
                  <a:cubicBezTo>
                    <a:pt x="1919" y="786"/>
                    <a:pt x="1923" y="787"/>
                    <a:pt x="1925" y="787"/>
                  </a:cubicBezTo>
                  <a:cubicBezTo>
                    <a:pt x="1927" y="788"/>
                    <a:pt x="1927" y="790"/>
                    <a:pt x="1927" y="792"/>
                  </a:cubicBezTo>
                  <a:cubicBezTo>
                    <a:pt x="1927" y="793"/>
                    <a:pt x="1927" y="798"/>
                    <a:pt x="1925" y="799"/>
                  </a:cubicBezTo>
                  <a:cubicBezTo>
                    <a:pt x="1924" y="800"/>
                    <a:pt x="1924" y="801"/>
                    <a:pt x="1922" y="803"/>
                  </a:cubicBezTo>
                  <a:cubicBezTo>
                    <a:pt x="1920" y="804"/>
                    <a:pt x="1920" y="809"/>
                    <a:pt x="1920" y="812"/>
                  </a:cubicBezTo>
                  <a:cubicBezTo>
                    <a:pt x="1920" y="814"/>
                    <a:pt x="1926" y="816"/>
                    <a:pt x="1928" y="817"/>
                  </a:cubicBezTo>
                  <a:cubicBezTo>
                    <a:pt x="1930" y="818"/>
                    <a:pt x="1930" y="818"/>
                    <a:pt x="1930" y="817"/>
                  </a:cubicBezTo>
                  <a:cubicBezTo>
                    <a:pt x="1931" y="817"/>
                    <a:pt x="1933" y="815"/>
                    <a:pt x="1935" y="815"/>
                  </a:cubicBezTo>
                  <a:cubicBezTo>
                    <a:pt x="1937" y="814"/>
                    <a:pt x="1940" y="815"/>
                    <a:pt x="1942" y="816"/>
                  </a:cubicBezTo>
                  <a:cubicBezTo>
                    <a:pt x="1943" y="817"/>
                    <a:pt x="1943" y="818"/>
                    <a:pt x="1942" y="819"/>
                  </a:cubicBezTo>
                  <a:cubicBezTo>
                    <a:pt x="1942" y="819"/>
                    <a:pt x="1942" y="819"/>
                    <a:pt x="1942" y="819"/>
                  </a:cubicBezTo>
                  <a:cubicBezTo>
                    <a:pt x="1942" y="820"/>
                    <a:pt x="1945" y="824"/>
                    <a:pt x="1946" y="824"/>
                  </a:cubicBezTo>
                  <a:cubicBezTo>
                    <a:pt x="1947" y="824"/>
                    <a:pt x="1946" y="830"/>
                    <a:pt x="1946" y="830"/>
                  </a:cubicBezTo>
                  <a:cubicBezTo>
                    <a:pt x="1945" y="830"/>
                    <a:pt x="1938" y="830"/>
                    <a:pt x="1938" y="830"/>
                  </a:cubicBezTo>
                  <a:cubicBezTo>
                    <a:pt x="1938" y="830"/>
                    <a:pt x="1944" y="838"/>
                    <a:pt x="1942" y="838"/>
                  </a:cubicBezTo>
                  <a:cubicBezTo>
                    <a:pt x="1940" y="839"/>
                    <a:pt x="1943" y="839"/>
                    <a:pt x="1943" y="839"/>
                  </a:cubicBezTo>
                  <a:cubicBezTo>
                    <a:pt x="1945" y="846"/>
                    <a:pt x="1945" y="846"/>
                    <a:pt x="1945" y="846"/>
                  </a:cubicBezTo>
                  <a:cubicBezTo>
                    <a:pt x="1945" y="846"/>
                    <a:pt x="1945" y="854"/>
                    <a:pt x="1943" y="856"/>
                  </a:cubicBezTo>
                  <a:cubicBezTo>
                    <a:pt x="1942" y="857"/>
                    <a:pt x="1937" y="862"/>
                    <a:pt x="1935" y="863"/>
                  </a:cubicBezTo>
                  <a:cubicBezTo>
                    <a:pt x="1934" y="865"/>
                    <a:pt x="1935" y="869"/>
                    <a:pt x="1935" y="870"/>
                  </a:cubicBezTo>
                  <a:cubicBezTo>
                    <a:pt x="1935" y="870"/>
                    <a:pt x="1938" y="871"/>
                    <a:pt x="1939" y="871"/>
                  </a:cubicBezTo>
                  <a:cubicBezTo>
                    <a:pt x="1939" y="870"/>
                    <a:pt x="1945" y="864"/>
                    <a:pt x="1945" y="864"/>
                  </a:cubicBezTo>
                  <a:cubicBezTo>
                    <a:pt x="1945" y="870"/>
                    <a:pt x="1945" y="870"/>
                    <a:pt x="1945" y="870"/>
                  </a:cubicBezTo>
                  <a:cubicBezTo>
                    <a:pt x="1952" y="866"/>
                    <a:pt x="1952" y="866"/>
                    <a:pt x="1952" y="866"/>
                  </a:cubicBezTo>
                  <a:cubicBezTo>
                    <a:pt x="1956" y="866"/>
                    <a:pt x="1956" y="866"/>
                    <a:pt x="1956" y="866"/>
                  </a:cubicBezTo>
                  <a:cubicBezTo>
                    <a:pt x="1956" y="866"/>
                    <a:pt x="1959" y="866"/>
                    <a:pt x="1959" y="866"/>
                  </a:cubicBezTo>
                  <a:cubicBezTo>
                    <a:pt x="1959" y="865"/>
                    <a:pt x="1963" y="861"/>
                    <a:pt x="1964" y="861"/>
                  </a:cubicBezTo>
                  <a:cubicBezTo>
                    <a:pt x="1964" y="861"/>
                    <a:pt x="1967" y="860"/>
                    <a:pt x="1969" y="861"/>
                  </a:cubicBezTo>
                  <a:cubicBezTo>
                    <a:pt x="1970" y="863"/>
                    <a:pt x="1971" y="862"/>
                    <a:pt x="1972" y="862"/>
                  </a:cubicBezTo>
                  <a:cubicBezTo>
                    <a:pt x="1972" y="862"/>
                    <a:pt x="1976" y="861"/>
                    <a:pt x="1977" y="859"/>
                  </a:cubicBezTo>
                  <a:cubicBezTo>
                    <a:pt x="1978" y="856"/>
                    <a:pt x="1982" y="856"/>
                    <a:pt x="1984" y="856"/>
                  </a:cubicBezTo>
                  <a:cubicBezTo>
                    <a:pt x="1985" y="856"/>
                    <a:pt x="1989" y="856"/>
                    <a:pt x="1989" y="856"/>
                  </a:cubicBezTo>
                  <a:cubicBezTo>
                    <a:pt x="1987" y="854"/>
                    <a:pt x="1987" y="854"/>
                    <a:pt x="1987" y="854"/>
                  </a:cubicBezTo>
                  <a:cubicBezTo>
                    <a:pt x="1987" y="854"/>
                    <a:pt x="1987" y="851"/>
                    <a:pt x="1986" y="850"/>
                  </a:cubicBezTo>
                  <a:cubicBezTo>
                    <a:pt x="1986" y="849"/>
                    <a:pt x="1983" y="847"/>
                    <a:pt x="1982" y="846"/>
                  </a:cubicBezTo>
                  <a:cubicBezTo>
                    <a:pt x="1982" y="844"/>
                    <a:pt x="1984" y="841"/>
                    <a:pt x="1984" y="840"/>
                  </a:cubicBezTo>
                  <a:cubicBezTo>
                    <a:pt x="1984" y="839"/>
                    <a:pt x="1982" y="826"/>
                    <a:pt x="1981" y="825"/>
                  </a:cubicBezTo>
                  <a:cubicBezTo>
                    <a:pt x="1981" y="823"/>
                    <a:pt x="1979" y="821"/>
                    <a:pt x="1979" y="820"/>
                  </a:cubicBezTo>
                  <a:cubicBezTo>
                    <a:pt x="1979" y="819"/>
                    <a:pt x="1977" y="817"/>
                    <a:pt x="1976" y="816"/>
                  </a:cubicBezTo>
                  <a:cubicBezTo>
                    <a:pt x="1976" y="815"/>
                    <a:pt x="1970" y="811"/>
                    <a:pt x="1970" y="811"/>
                  </a:cubicBezTo>
                  <a:cubicBezTo>
                    <a:pt x="1969" y="810"/>
                    <a:pt x="1969" y="807"/>
                    <a:pt x="1970" y="806"/>
                  </a:cubicBezTo>
                  <a:cubicBezTo>
                    <a:pt x="1970" y="806"/>
                    <a:pt x="1969" y="805"/>
                    <a:pt x="1969" y="805"/>
                  </a:cubicBezTo>
                  <a:cubicBezTo>
                    <a:pt x="1968" y="804"/>
                    <a:pt x="1967" y="803"/>
                    <a:pt x="1967" y="803"/>
                  </a:cubicBezTo>
                  <a:cubicBezTo>
                    <a:pt x="1967" y="803"/>
                    <a:pt x="1962" y="799"/>
                    <a:pt x="1961" y="798"/>
                  </a:cubicBezTo>
                  <a:cubicBezTo>
                    <a:pt x="1960" y="798"/>
                    <a:pt x="1957" y="792"/>
                    <a:pt x="1956" y="791"/>
                  </a:cubicBezTo>
                  <a:cubicBezTo>
                    <a:pt x="1956" y="790"/>
                    <a:pt x="1958" y="788"/>
                    <a:pt x="1959" y="787"/>
                  </a:cubicBezTo>
                  <a:cubicBezTo>
                    <a:pt x="1959" y="786"/>
                    <a:pt x="1960" y="783"/>
                    <a:pt x="1961" y="780"/>
                  </a:cubicBezTo>
                  <a:cubicBezTo>
                    <a:pt x="1962" y="777"/>
                    <a:pt x="1966" y="778"/>
                    <a:pt x="1967" y="777"/>
                  </a:cubicBezTo>
                  <a:cubicBezTo>
                    <a:pt x="1969" y="776"/>
                    <a:pt x="1973" y="773"/>
                    <a:pt x="1976" y="774"/>
                  </a:cubicBezTo>
                  <a:cubicBezTo>
                    <a:pt x="1978" y="776"/>
                    <a:pt x="1982" y="770"/>
                    <a:pt x="1982" y="769"/>
                  </a:cubicBezTo>
                  <a:cubicBezTo>
                    <a:pt x="1982" y="768"/>
                    <a:pt x="1987" y="755"/>
                    <a:pt x="1988" y="754"/>
                  </a:cubicBezTo>
                  <a:cubicBezTo>
                    <a:pt x="1989" y="754"/>
                    <a:pt x="1990" y="752"/>
                    <a:pt x="1990" y="750"/>
                  </a:cubicBezTo>
                  <a:cubicBezTo>
                    <a:pt x="1991" y="748"/>
                    <a:pt x="1996" y="745"/>
                    <a:pt x="1997" y="743"/>
                  </a:cubicBezTo>
                  <a:cubicBezTo>
                    <a:pt x="1998" y="743"/>
                    <a:pt x="1999" y="742"/>
                    <a:pt x="2000" y="742"/>
                  </a:cubicBezTo>
                  <a:cubicBezTo>
                    <a:pt x="2002" y="741"/>
                    <a:pt x="2003" y="740"/>
                    <a:pt x="2003" y="740"/>
                  </a:cubicBezTo>
                  <a:cubicBezTo>
                    <a:pt x="2004" y="740"/>
                    <a:pt x="2009" y="736"/>
                    <a:pt x="2009" y="735"/>
                  </a:cubicBezTo>
                  <a:cubicBezTo>
                    <a:pt x="2009" y="734"/>
                    <a:pt x="2015" y="727"/>
                    <a:pt x="2015" y="727"/>
                  </a:cubicBezTo>
                  <a:cubicBezTo>
                    <a:pt x="2018" y="727"/>
                    <a:pt x="2016" y="732"/>
                    <a:pt x="2018" y="732"/>
                  </a:cubicBezTo>
                  <a:cubicBezTo>
                    <a:pt x="2020" y="731"/>
                    <a:pt x="2020" y="730"/>
                    <a:pt x="2021" y="730"/>
                  </a:cubicBezTo>
                  <a:cubicBezTo>
                    <a:pt x="2022" y="729"/>
                    <a:pt x="2022" y="732"/>
                    <a:pt x="2027" y="734"/>
                  </a:cubicBezTo>
                  <a:cubicBezTo>
                    <a:pt x="2031" y="736"/>
                    <a:pt x="2033" y="738"/>
                    <a:pt x="2036" y="739"/>
                  </a:cubicBezTo>
                  <a:cubicBezTo>
                    <a:pt x="2038" y="739"/>
                    <a:pt x="2042" y="735"/>
                    <a:pt x="2042" y="735"/>
                  </a:cubicBezTo>
                  <a:cubicBezTo>
                    <a:pt x="2042" y="735"/>
                    <a:pt x="2046" y="734"/>
                    <a:pt x="2047" y="732"/>
                  </a:cubicBezTo>
                  <a:cubicBezTo>
                    <a:pt x="2049" y="731"/>
                    <a:pt x="2054" y="727"/>
                    <a:pt x="2056" y="725"/>
                  </a:cubicBezTo>
                  <a:cubicBezTo>
                    <a:pt x="2057" y="722"/>
                    <a:pt x="2061" y="720"/>
                    <a:pt x="2062" y="718"/>
                  </a:cubicBezTo>
                  <a:cubicBezTo>
                    <a:pt x="2064" y="716"/>
                    <a:pt x="2067" y="714"/>
                    <a:pt x="2069" y="711"/>
                  </a:cubicBezTo>
                  <a:cubicBezTo>
                    <a:pt x="2072" y="708"/>
                    <a:pt x="2079" y="701"/>
                    <a:pt x="2079" y="701"/>
                  </a:cubicBezTo>
                  <a:cubicBezTo>
                    <a:pt x="2079" y="701"/>
                    <a:pt x="2083" y="697"/>
                    <a:pt x="2085" y="695"/>
                  </a:cubicBezTo>
                  <a:cubicBezTo>
                    <a:pt x="2087" y="693"/>
                    <a:pt x="2096" y="684"/>
                    <a:pt x="2097" y="682"/>
                  </a:cubicBezTo>
                  <a:cubicBezTo>
                    <a:pt x="2099" y="681"/>
                    <a:pt x="2098" y="679"/>
                    <a:pt x="2099" y="677"/>
                  </a:cubicBezTo>
                  <a:cubicBezTo>
                    <a:pt x="2100" y="675"/>
                    <a:pt x="2103" y="673"/>
                    <a:pt x="2104" y="671"/>
                  </a:cubicBezTo>
                  <a:cubicBezTo>
                    <a:pt x="2105" y="669"/>
                    <a:pt x="2106" y="667"/>
                    <a:pt x="2108" y="662"/>
                  </a:cubicBezTo>
                  <a:cubicBezTo>
                    <a:pt x="2110" y="656"/>
                    <a:pt x="2110" y="659"/>
                    <a:pt x="2111" y="657"/>
                  </a:cubicBezTo>
                  <a:cubicBezTo>
                    <a:pt x="2113" y="656"/>
                    <a:pt x="2117" y="654"/>
                    <a:pt x="2117" y="654"/>
                  </a:cubicBezTo>
                  <a:cubicBezTo>
                    <a:pt x="2117" y="654"/>
                    <a:pt x="2121" y="648"/>
                    <a:pt x="2123" y="647"/>
                  </a:cubicBezTo>
                  <a:cubicBezTo>
                    <a:pt x="2125" y="645"/>
                    <a:pt x="2128" y="640"/>
                    <a:pt x="2128" y="640"/>
                  </a:cubicBezTo>
                  <a:cubicBezTo>
                    <a:pt x="2128" y="640"/>
                    <a:pt x="2130" y="632"/>
                    <a:pt x="2131" y="630"/>
                  </a:cubicBezTo>
                  <a:cubicBezTo>
                    <a:pt x="2131" y="628"/>
                    <a:pt x="2130" y="626"/>
                    <a:pt x="2131" y="625"/>
                  </a:cubicBezTo>
                  <a:cubicBezTo>
                    <a:pt x="2131" y="624"/>
                    <a:pt x="2132" y="621"/>
                    <a:pt x="2132" y="619"/>
                  </a:cubicBezTo>
                  <a:cubicBezTo>
                    <a:pt x="2132" y="617"/>
                    <a:pt x="2132" y="613"/>
                    <a:pt x="2133" y="612"/>
                  </a:cubicBezTo>
                  <a:cubicBezTo>
                    <a:pt x="2133" y="610"/>
                    <a:pt x="2131" y="605"/>
                    <a:pt x="2131" y="603"/>
                  </a:cubicBezTo>
                  <a:cubicBezTo>
                    <a:pt x="2131" y="602"/>
                    <a:pt x="2133" y="596"/>
                    <a:pt x="2134" y="595"/>
                  </a:cubicBezTo>
                  <a:cubicBezTo>
                    <a:pt x="2135" y="594"/>
                    <a:pt x="2142" y="576"/>
                    <a:pt x="2142" y="575"/>
                  </a:cubicBezTo>
                  <a:cubicBezTo>
                    <a:pt x="2142" y="575"/>
                    <a:pt x="2144" y="572"/>
                    <a:pt x="2144" y="572"/>
                  </a:cubicBezTo>
                  <a:cubicBezTo>
                    <a:pt x="2144" y="572"/>
                    <a:pt x="2144" y="566"/>
                    <a:pt x="2143" y="565"/>
                  </a:cubicBezTo>
                  <a:cubicBezTo>
                    <a:pt x="2142" y="563"/>
                    <a:pt x="2141" y="559"/>
                    <a:pt x="2141" y="558"/>
                  </a:cubicBezTo>
                  <a:cubicBezTo>
                    <a:pt x="2142" y="557"/>
                    <a:pt x="2144" y="555"/>
                    <a:pt x="2144" y="554"/>
                  </a:cubicBezTo>
                  <a:cubicBezTo>
                    <a:pt x="2143" y="553"/>
                    <a:pt x="2140" y="552"/>
                    <a:pt x="2140" y="552"/>
                  </a:cubicBezTo>
                  <a:cubicBezTo>
                    <a:pt x="2136" y="548"/>
                    <a:pt x="2136" y="548"/>
                    <a:pt x="2136" y="548"/>
                  </a:cubicBezTo>
                  <a:cubicBezTo>
                    <a:pt x="2136" y="548"/>
                    <a:pt x="2128" y="544"/>
                    <a:pt x="2127" y="544"/>
                  </a:cubicBezTo>
                  <a:cubicBezTo>
                    <a:pt x="2126" y="543"/>
                    <a:pt x="2125" y="537"/>
                    <a:pt x="2123" y="536"/>
                  </a:cubicBezTo>
                  <a:cubicBezTo>
                    <a:pt x="2121" y="535"/>
                    <a:pt x="2119" y="535"/>
                    <a:pt x="2118" y="535"/>
                  </a:cubicBezTo>
                  <a:cubicBezTo>
                    <a:pt x="2118" y="535"/>
                    <a:pt x="2113" y="535"/>
                    <a:pt x="2113" y="535"/>
                  </a:cubicBezTo>
                  <a:cubicBezTo>
                    <a:pt x="2109" y="537"/>
                    <a:pt x="2109" y="537"/>
                    <a:pt x="2109" y="537"/>
                  </a:cubicBezTo>
                  <a:cubicBezTo>
                    <a:pt x="2108" y="540"/>
                    <a:pt x="2108" y="540"/>
                    <a:pt x="2108" y="540"/>
                  </a:cubicBezTo>
                  <a:cubicBezTo>
                    <a:pt x="2108" y="540"/>
                    <a:pt x="2105" y="544"/>
                    <a:pt x="2104" y="546"/>
                  </a:cubicBezTo>
                  <a:cubicBezTo>
                    <a:pt x="2103" y="547"/>
                    <a:pt x="2100" y="548"/>
                    <a:pt x="2100" y="548"/>
                  </a:cubicBezTo>
                  <a:cubicBezTo>
                    <a:pt x="2099" y="547"/>
                    <a:pt x="2097" y="549"/>
                    <a:pt x="2095" y="549"/>
                  </a:cubicBezTo>
                  <a:cubicBezTo>
                    <a:pt x="2093" y="549"/>
                    <a:pt x="2092" y="549"/>
                    <a:pt x="2092" y="548"/>
                  </a:cubicBezTo>
                  <a:cubicBezTo>
                    <a:pt x="2092" y="548"/>
                    <a:pt x="2095" y="545"/>
                    <a:pt x="2095" y="545"/>
                  </a:cubicBezTo>
                  <a:cubicBezTo>
                    <a:pt x="2095" y="545"/>
                    <a:pt x="2095" y="543"/>
                    <a:pt x="2094" y="542"/>
                  </a:cubicBezTo>
                  <a:cubicBezTo>
                    <a:pt x="2093" y="541"/>
                    <a:pt x="2092" y="541"/>
                    <a:pt x="2092" y="541"/>
                  </a:cubicBezTo>
                  <a:cubicBezTo>
                    <a:pt x="2092" y="541"/>
                    <a:pt x="2091" y="537"/>
                    <a:pt x="2091" y="536"/>
                  </a:cubicBezTo>
                  <a:cubicBezTo>
                    <a:pt x="2091" y="535"/>
                    <a:pt x="2095" y="534"/>
                    <a:pt x="2095" y="534"/>
                  </a:cubicBezTo>
                  <a:cubicBezTo>
                    <a:pt x="2096" y="532"/>
                    <a:pt x="2096" y="532"/>
                    <a:pt x="2096" y="532"/>
                  </a:cubicBezTo>
                  <a:cubicBezTo>
                    <a:pt x="2096" y="532"/>
                    <a:pt x="2094" y="531"/>
                    <a:pt x="2093" y="532"/>
                  </a:cubicBezTo>
                  <a:cubicBezTo>
                    <a:pt x="2093" y="532"/>
                    <a:pt x="2089" y="535"/>
                    <a:pt x="2090" y="535"/>
                  </a:cubicBezTo>
                  <a:cubicBezTo>
                    <a:pt x="2090" y="535"/>
                    <a:pt x="2088" y="539"/>
                    <a:pt x="2089" y="539"/>
                  </a:cubicBezTo>
                  <a:cubicBezTo>
                    <a:pt x="2090" y="539"/>
                    <a:pt x="2087" y="542"/>
                    <a:pt x="2087" y="543"/>
                  </a:cubicBezTo>
                  <a:cubicBezTo>
                    <a:pt x="2087" y="544"/>
                    <a:pt x="2084" y="544"/>
                    <a:pt x="2082" y="544"/>
                  </a:cubicBezTo>
                  <a:cubicBezTo>
                    <a:pt x="2081" y="543"/>
                    <a:pt x="2080" y="542"/>
                    <a:pt x="2080" y="542"/>
                  </a:cubicBezTo>
                  <a:cubicBezTo>
                    <a:pt x="2080" y="541"/>
                    <a:pt x="2081" y="536"/>
                    <a:pt x="2081" y="535"/>
                  </a:cubicBezTo>
                  <a:cubicBezTo>
                    <a:pt x="2082" y="534"/>
                    <a:pt x="2081" y="532"/>
                    <a:pt x="2082" y="531"/>
                  </a:cubicBezTo>
                  <a:cubicBezTo>
                    <a:pt x="2083" y="530"/>
                    <a:pt x="2081" y="530"/>
                    <a:pt x="2081" y="529"/>
                  </a:cubicBezTo>
                  <a:cubicBezTo>
                    <a:pt x="2081" y="528"/>
                    <a:pt x="2077" y="529"/>
                    <a:pt x="2077" y="529"/>
                  </a:cubicBezTo>
                  <a:cubicBezTo>
                    <a:pt x="2077" y="529"/>
                    <a:pt x="2074" y="530"/>
                    <a:pt x="2073" y="530"/>
                  </a:cubicBezTo>
                  <a:cubicBezTo>
                    <a:pt x="2072" y="529"/>
                    <a:pt x="2070" y="530"/>
                    <a:pt x="2069" y="529"/>
                  </a:cubicBezTo>
                  <a:cubicBezTo>
                    <a:pt x="2067" y="529"/>
                    <a:pt x="2065" y="528"/>
                    <a:pt x="2064" y="527"/>
                  </a:cubicBezTo>
                  <a:cubicBezTo>
                    <a:pt x="2063" y="527"/>
                    <a:pt x="2061" y="527"/>
                    <a:pt x="2061" y="524"/>
                  </a:cubicBezTo>
                  <a:cubicBezTo>
                    <a:pt x="2061" y="523"/>
                    <a:pt x="2063" y="523"/>
                    <a:pt x="2064" y="522"/>
                  </a:cubicBezTo>
                  <a:cubicBezTo>
                    <a:pt x="2065" y="520"/>
                    <a:pt x="2066" y="520"/>
                    <a:pt x="2068" y="519"/>
                  </a:cubicBezTo>
                  <a:cubicBezTo>
                    <a:pt x="2070" y="518"/>
                    <a:pt x="2070" y="517"/>
                    <a:pt x="2072" y="516"/>
                  </a:cubicBezTo>
                  <a:cubicBezTo>
                    <a:pt x="2074" y="514"/>
                    <a:pt x="2074" y="514"/>
                    <a:pt x="2075" y="513"/>
                  </a:cubicBezTo>
                  <a:cubicBezTo>
                    <a:pt x="2076" y="512"/>
                    <a:pt x="2079" y="511"/>
                    <a:pt x="2081" y="509"/>
                  </a:cubicBezTo>
                  <a:cubicBezTo>
                    <a:pt x="2083" y="507"/>
                    <a:pt x="2084" y="507"/>
                    <a:pt x="2086" y="505"/>
                  </a:cubicBezTo>
                  <a:cubicBezTo>
                    <a:pt x="2089" y="504"/>
                    <a:pt x="2088" y="504"/>
                    <a:pt x="2089" y="504"/>
                  </a:cubicBezTo>
                  <a:cubicBezTo>
                    <a:pt x="2090" y="503"/>
                    <a:pt x="2091" y="502"/>
                    <a:pt x="2096" y="499"/>
                  </a:cubicBezTo>
                  <a:cubicBezTo>
                    <a:pt x="2100" y="497"/>
                    <a:pt x="2098" y="497"/>
                    <a:pt x="2098" y="494"/>
                  </a:cubicBezTo>
                  <a:cubicBezTo>
                    <a:pt x="2099" y="491"/>
                    <a:pt x="2098" y="494"/>
                    <a:pt x="2101" y="493"/>
                  </a:cubicBezTo>
                  <a:cubicBezTo>
                    <a:pt x="2103" y="491"/>
                    <a:pt x="2103" y="492"/>
                    <a:pt x="2104" y="489"/>
                  </a:cubicBezTo>
                  <a:cubicBezTo>
                    <a:pt x="2106" y="487"/>
                    <a:pt x="2106" y="488"/>
                    <a:pt x="2109" y="484"/>
                  </a:cubicBezTo>
                  <a:cubicBezTo>
                    <a:pt x="2111" y="481"/>
                    <a:pt x="2113" y="481"/>
                    <a:pt x="2117" y="478"/>
                  </a:cubicBezTo>
                  <a:cubicBezTo>
                    <a:pt x="2121" y="476"/>
                    <a:pt x="2121" y="475"/>
                    <a:pt x="2121" y="475"/>
                  </a:cubicBezTo>
                  <a:cubicBezTo>
                    <a:pt x="2121" y="475"/>
                    <a:pt x="2127" y="472"/>
                    <a:pt x="2129" y="470"/>
                  </a:cubicBezTo>
                  <a:cubicBezTo>
                    <a:pt x="2131" y="468"/>
                    <a:pt x="2131" y="469"/>
                    <a:pt x="2132" y="468"/>
                  </a:cubicBezTo>
                  <a:cubicBezTo>
                    <a:pt x="2134" y="466"/>
                    <a:pt x="2132" y="468"/>
                    <a:pt x="2134" y="465"/>
                  </a:cubicBezTo>
                  <a:cubicBezTo>
                    <a:pt x="2136" y="462"/>
                    <a:pt x="2134" y="463"/>
                    <a:pt x="2135" y="462"/>
                  </a:cubicBezTo>
                  <a:cubicBezTo>
                    <a:pt x="2135" y="461"/>
                    <a:pt x="2136" y="460"/>
                    <a:pt x="2138" y="459"/>
                  </a:cubicBezTo>
                  <a:cubicBezTo>
                    <a:pt x="2139" y="457"/>
                    <a:pt x="2139" y="458"/>
                    <a:pt x="2143" y="457"/>
                  </a:cubicBezTo>
                  <a:cubicBezTo>
                    <a:pt x="2146" y="455"/>
                    <a:pt x="2144" y="455"/>
                    <a:pt x="2146" y="454"/>
                  </a:cubicBezTo>
                  <a:cubicBezTo>
                    <a:pt x="2147" y="452"/>
                    <a:pt x="2148" y="451"/>
                    <a:pt x="2150" y="448"/>
                  </a:cubicBezTo>
                  <a:cubicBezTo>
                    <a:pt x="2152" y="445"/>
                    <a:pt x="2155" y="444"/>
                    <a:pt x="2157" y="443"/>
                  </a:cubicBezTo>
                  <a:cubicBezTo>
                    <a:pt x="2159" y="441"/>
                    <a:pt x="2157" y="443"/>
                    <a:pt x="2161" y="442"/>
                  </a:cubicBezTo>
                  <a:cubicBezTo>
                    <a:pt x="2165" y="441"/>
                    <a:pt x="2167" y="440"/>
                    <a:pt x="2168" y="439"/>
                  </a:cubicBezTo>
                  <a:cubicBezTo>
                    <a:pt x="2170" y="438"/>
                    <a:pt x="2174" y="438"/>
                    <a:pt x="2175" y="438"/>
                  </a:cubicBezTo>
                  <a:cubicBezTo>
                    <a:pt x="2176" y="438"/>
                    <a:pt x="2184" y="441"/>
                    <a:pt x="2187" y="439"/>
                  </a:cubicBezTo>
                  <a:cubicBezTo>
                    <a:pt x="2190" y="437"/>
                    <a:pt x="2191" y="439"/>
                    <a:pt x="2193" y="438"/>
                  </a:cubicBezTo>
                  <a:cubicBezTo>
                    <a:pt x="2195" y="437"/>
                    <a:pt x="2198" y="437"/>
                    <a:pt x="2199" y="437"/>
                  </a:cubicBezTo>
                  <a:cubicBezTo>
                    <a:pt x="2200" y="437"/>
                    <a:pt x="2203" y="439"/>
                    <a:pt x="2205" y="439"/>
                  </a:cubicBezTo>
                  <a:cubicBezTo>
                    <a:pt x="2206" y="440"/>
                    <a:pt x="2207" y="443"/>
                    <a:pt x="2208" y="442"/>
                  </a:cubicBezTo>
                  <a:cubicBezTo>
                    <a:pt x="2209" y="440"/>
                    <a:pt x="2209" y="440"/>
                    <a:pt x="2210" y="439"/>
                  </a:cubicBezTo>
                  <a:cubicBezTo>
                    <a:pt x="2211" y="437"/>
                    <a:pt x="2213" y="437"/>
                    <a:pt x="2216" y="436"/>
                  </a:cubicBezTo>
                  <a:cubicBezTo>
                    <a:pt x="2218" y="436"/>
                    <a:pt x="2219" y="438"/>
                    <a:pt x="2220" y="439"/>
                  </a:cubicBezTo>
                  <a:cubicBezTo>
                    <a:pt x="2221" y="440"/>
                    <a:pt x="2221" y="440"/>
                    <a:pt x="2221" y="440"/>
                  </a:cubicBezTo>
                  <a:cubicBezTo>
                    <a:pt x="2222" y="440"/>
                    <a:pt x="2223" y="441"/>
                    <a:pt x="2223" y="441"/>
                  </a:cubicBezTo>
                  <a:cubicBezTo>
                    <a:pt x="2223" y="441"/>
                    <a:pt x="2227" y="441"/>
                    <a:pt x="2231" y="438"/>
                  </a:cubicBezTo>
                  <a:cubicBezTo>
                    <a:pt x="2234" y="439"/>
                    <a:pt x="2234" y="439"/>
                    <a:pt x="2234" y="439"/>
                  </a:cubicBezTo>
                  <a:cubicBezTo>
                    <a:pt x="2236" y="442"/>
                    <a:pt x="2236" y="442"/>
                    <a:pt x="2236" y="442"/>
                  </a:cubicBezTo>
                  <a:cubicBezTo>
                    <a:pt x="2236" y="442"/>
                    <a:pt x="2240" y="440"/>
                    <a:pt x="2241" y="438"/>
                  </a:cubicBezTo>
                  <a:cubicBezTo>
                    <a:pt x="2241" y="438"/>
                    <a:pt x="2248" y="437"/>
                    <a:pt x="2249" y="435"/>
                  </a:cubicBezTo>
                  <a:cubicBezTo>
                    <a:pt x="2251" y="432"/>
                    <a:pt x="2252" y="432"/>
                    <a:pt x="2254" y="431"/>
                  </a:cubicBezTo>
                  <a:cubicBezTo>
                    <a:pt x="2256" y="430"/>
                    <a:pt x="2259" y="431"/>
                    <a:pt x="2261" y="431"/>
                  </a:cubicBezTo>
                  <a:cubicBezTo>
                    <a:pt x="2263" y="431"/>
                    <a:pt x="2264" y="433"/>
                    <a:pt x="2266" y="434"/>
                  </a:cubicBezTo>
                  <a:cubicBezTo>
                    <a:pt x="2268" y="434"/>
                    <a:pt x="2267" y="436"/>
                    <a:pt x="2269" y="437"/>
                  </a:cubicBezTo>
                  <a:cubicBezTo>
                    <a:pt x="2270" y="437"/>
                    <a:pt x="2270" y="435"/>
                    <a:pt x="2274" y="433"/>
                  </a:cubicBezTo>
                  <a:cubicBezTo>
                    <a:pt x="2277" y="431"/>
                    <a:pt x="2276" y="435"/>
                    <a:pt x="2277" y="435"/>
                  </a:cubicBezTo>
                  <a:cubicBezTo>
                    <a:pt x="2278" y="435"/>
                    <a:pt x="2289" y="442"/>
                    <a:pt x="2289" y="442"/>
                  </a:cubicBezTo>
                  <a:cubicBezTo>
                    <a:pt x="2289" y="442"/>
                    <a:pt x="2286" y="442"/>
                    <a:pt x="2285" y="441"/>
                  </a:cubicBezTo>
                  <a:cubicBezTo>
                    <a:pt x="2284" y="441"/>
                    <a:pt x="2281" y="441"/>
                    <a:pt x="2281" y="441"/>
                  </a:cubicBezTo>
                  <a:cubicBezTo>
                    <a:pt x="2281" y="441"/>
                    <a:pt x="2277" y="443"/>
                    <a:pt x="2275" y="445"/>
                  </a:cubicBezTo>
                  <a:cubicBezTo>
                    <a:pt x="2273" y="446"/>
                    <a:pt x="2277" y="447"/>
                    <a:pt x="2277" y="448"/>
                  </a:cubicBezTo>
                  <a:cubicBezTo>
                    <a:pt x="2278" y="448"/>
                    <a:pt x="2280" y="448"/>
                    <a:pt x="2282" y="447"/>
                  </a:cubicBezTo>
                  <a:cubicBezTo>
                    <a:pt x="2284" y="447"/>
                    <a:pt x="2284" y="449"/>
                    <a:pt x="2285" y="448"/>
                  </a:cubicBezTo>
                  <a:cubicBezTo>
                    <a:pt x="2287" y="448"/>
                    <a:pt x="2288" y="448"/>
                    <a:pt x="2289" y="447"/>
                  </a:cubicBezTo>
                  <a:cubicBezTo>
                    <a:pt x="2290" y="446"/>
                    <a:pt x="2291" y="445"/>
                    <a:pt x="2293" y="446"/>
                  </a:cubicBezTo>
                  <a:cubicBezTo>
                    <a:pt x="2295" y="446"/>
                    <a:pt x="2295" y="447"/>
                    <a:pt x="2297" y="447"/>
                  </a:cubicBezTo>
                  <a:cubicBezTo>
                    <a:pt x="2298" y="447"/>
                    <a:pt x="2298" y="448"/>
                    <a:pt x="2300" y="446"/>
                  </a:cubicBezTo>
                  <a:cubicBezTo>
                    <a:pt x="2303" y="444"/>
                    <a:pt x="2303" y="443"/>
                    <a:pt x="2304" y="442"/>
                  </a:cubicBezTo>
                  <a:cubicBezTo>
                    <a:pt x="2306" y="442"/>
                    <a:pt x="2307" y="441"/>
                    <a:pt x="2308" y="441"/>
                  </a:cubicBezTo>
                  <a:cubicBezTo>
                    <a:pt x="2309" y="441"/>
                    <a:pt x="2311" y="443"/>
                    <a:pt x="2312" y="444"/>
                  </a:cubicBezTo>
                  <a:cubicBezTo>
                    <a:pt x="2312" y="445"/>
                    <a:pt x="2313" y="445"/>
                    <a:pt x="2315" y="443"/>
                  </a:cubicBezTo>
                  <a:cubicBezTo>
                    <a:pt x="2316" y="441"/>
                    <a:pt x="2317" y="442"/>
                    <a:pt x="2318" y="441"/>
                  </a:cubicBezTo>
                  <a:cubicBezTo>
                    <a:pt x="2320" y="441"/>
                    <a:pt x="2322" y="442"/>
                    <a:pt x="2324" y="442"/>
                  </a:cubicBezTo>
                  <a:cubicBezTo>
                    <a:pt x="2327" y="442"/>
                    <a:pt x="2329" y="441"/>
                    <a:pt x="2329" y="441"/>
                  </a:cubicBezTo>
                  <a:cubicBezTo>
                    <a:pt x="2330" y="441"/>
                    <a:pt x="2330" y="440"/>
                    <a:pt x="2331" y="439"/>
                  </a:cubicBezTo>
                  <a:cubicBezTo>
                    <a:pt x="2331" y="438"/>
                    <a:pt x="2331" y="437"/>
                    <a:pt x="2330" y="436"/>
                  </a:cubicBezTo>
                  <a:cubicBezTo>
                    <a:pt x="2330" y="435"/>
                    <a:pt x="2328" y="434"/>
                    <a:pt x="2327" y="434"/>
                  </a:cubicBezTo>
                  <a:cubicBezTo>
                    <a:pt x="2326" y="434"/>
                    <a:pt x="2323" y="435"/>
                    <a:pt x="2321" y="435"/>
                  </a:cubicBezTo>
                  <a:cubicBezTo>
                    <a:pt x="2320" y="435"/>
                    <a:pt x="2318" y="435"/>
                    <a:pt x="2318" y="435"/>
                  </a:cubicBezTo>
                  <a:cubicBezTo>
                    <a:pt x="2318" y="435"/>
                    <a:pt x="2318" y="431"/>
                    <a:pt x="2318" y="429"/>
                  </a:cubicBezTo>
                  <a:cubicBezTo>
                    <a:pt x="2317" y="428"/>
                    <a:pt x="2318" y="427"/>
                    <a:pt x="2319" y="426"/>
                  </a:cubicBezTo>
                  <a:cubicBezTo>
                    <a:pt x="2320" y="425"/>
                    <a:pt x="2321" y="425"/>
                    <a:pt x="2321" y="423"/>
                  </a:cubicBezTo>
                  <a:cubicBezTo>
                    <a:pt x="2322" y="422"/>
                    <a:pt x="2324" y="420"/>
                    <a:pt x="2326" y="419"/>
                  </a:cubicBezTo>
                  <a:cubicBezTo>
                    <a:pt x="2328" y="417"/>
                    <a:pt x="2329" y="415"/>
                    <a:pt x="2330" y="414"/>
                  </a:cubicBezTo>
                  <a:cubicBezTo>
                    <a:pt x="2330" y="414"/>
                    <a:pt x="2334" y="413"/>
                    <a:pt x="2337" y="411"/>
                  </a:cubicBezTo>
                  <a:cubicBezTo>
                    <a:pt x="2339" y="409"/>
                    <a:pt x="2340" y="408"/>
                    <a:pt x="2341" y="406"/>
                  </a:cubicBezTo>
                  <a:cubicBezTo>
                    <a:pt x="2343" y="404"/>
                    <a:pt x="2350" y="399"/>
                    <a:pt x="2354" y="395"/>
                  </a:cubicBezTo>
                  <a:cubicBezTo>
                    <a:pt x="2357" y="392"/>
                    <a:pt x="2355" y="394"/>
                    <a:pt x="2357" y="392"/>
                  </a:cubicBezTo>
                  <a:cubicBezTo>
                    <a:pt x="2359" y="391"/>
                    <a:pt x="2358" y="391"/>
                    <a:pt x="2362" y="389"/>
                  </a:cubicBezTo>
                  <a:cubicBezTo>
                    <a:pt x="2365" y="387"/>
                    <a:pt x="2363" y="389"/>
                    <a:pt x="2364" y="389"/>
                  </a:cubicBezTo>
                  <a:cubicBezTo>
                    <a:pt x="2365" y="388"/>
                    <a:pt x="2366" y="389"/>
                    <a:pt x="2368" y="389"/>
                  </a:cubicBezTo>
                  <a:cubicBezTo>
                    <a:pt x="2369" y="388"/>
                    <a:pt x="2370" y="389"/>
                    <a:pt x="2371" y="389"/>
                  </a:cubicBezTo>
                  <a:cubicBezTo>
                    <a:pt x="2372" y="389"/>
                    <a:pt x="2373" y="390"/>
                    <a:pt x="2375" y="390"/>
                  </a:cubicBezTo>
                  <a:cubicBezTo>
                    <a:pt x="2376" y="390"/>
                    <a:pt x="2377" y="390"/>
                    <a:pt x="2378" y="389"/>
                  </a:cubicBezTo>
                  <a:cubicBezTo>
                    <a:pt x="2379" y="388"/>
                    <a:pt x="2380" y="388"/>
                    <a:pt x="2382" y="386"/>
                  </a:cubicBezTo>
                  <a:cubicBezTo>
                    <a:pt x="2384" y="385"/>
                    <a:pt x="2383" y="387"/>
                    <a:pt x="2384" y="387"/>
                  </a:cubicBezTo>
                  <a:cubicBezTo>
                    <a:pt x="2385" y="387"/>
                    <a:pt x="2386" y="388"/>
                    <a:pt x="2386" y="389"/>
                  </a:cubicBezTo>
                  <a:cubicBezTo>
                    <a:pt x="2387" y="390"/>
                    <a:pt x="2388" y="391"/>
                    <a:pt x="2390" y="391"/>
                  </a:cubicBezTo>
                  <a:cubicBezTo>
                    <a:pt x="2393" y="391"/>
                    <a:pt x="2392" y="393"/>
                    <a:pt x="2393" y="392"/>
                  </a:cubicBezTo>
                  <a:cubicBezTo>
                    <a:pt x="2395" y="391"/>
                    <a:pt x="2394" y="390"/>
                    <a:pt x="2396" y="388"/>
                  </a:cubicBezTo>
                  <a:cubicBezTo>
                    <a:pt x="2398" y="387"/>
                    <a:pt x="2397" y="389"/>
                    <a:pt x="2398" y="389"/>
                  </a:cubicBezTo>
                  <a:cubicBezTo>
                    <a:pt x="2399" y="388"/>
                    <a:pt x="2401" y="390"/>
                    <a:pt x="2401" y="391"/>
                  </a:cubicBezTo>
                  <a:cubicBezTo>
                    <a:pt x="2400" y="393"/>
                    <a:pt x="2397" y="395"/>
                    <a:pt x="2396" y="396"/>
                  </a:cubicBezTo>
                  <a:cubicBezTo>
                    <a:pt x="2395" y="397"/>
                    <a:pt x="2394" y="400"/>
                    <a:pt x="2393" y="401"/>
                  </a:cubicBezTo>
                  <a:cubicBezTo>
                    <a:pt x="2393" y="402"/>
                    <a:pt x="2393" y="404"/>
                    <a:pt x="2394" y="404"/>
                  </a:cubicBezTo>
                  <a:cubicBezTo>
                    <a:pt x="2395" y="404"/>
                    <a:pt x="2398" y="404"/>
                    <a:pt x="2399" y="404"/>
                  </a:cubicBezTo>
                  <a:cubicBezTo>
                    <a:pt x="2400" y="404"/>
                    <a:pt x="2400" y="406"/>
                    <a:pt x="2400" y="406"/>
                  </a:cubicBezTo>
                  <a:cubicBezTo>
                    <a:pt x="2397" y="411"/>
                    <a:pt x="2397" y="411"/>
                    <a:pt x="2397" y="411"/>
                  </a:cubicBezTo>
                  <a:cubicBezTo>
                    <a:pt x="2397" y="411"/>
                    <a:pt x="2398" y="412"/>
                    <a:pt x="2401" y="411"/>
                  </a:cubicBezTo>
                  <a:cubicBezTo>
                    <a:pt x="2403" y="410"/>
                    <a:pt x="2404" y="410"/>
                    <a:pt x="2405" y="409"/>
                  </a:cubicBezTo>
                  <a:cubicBezTo>
                    <a:pt x="2407" y="407"/>
                    <a:pt x="2408" y="407"/>
                    <a:pt x="2411" y="405"/>
                  </a:cubicBezTo>
                  <a:cubicBezTo>
                    <a:pt x="2414" y="403"/>
                    <a:pt x="2414" y="403"/>
                    <a:pt x="2414" y="403"/>
                  </a:cubicBezTo>
                  <a:cubicBezTo>
                    <a:pt x="2414" y="403"/>
                    <a:pt x="2418" y="401"/>
                    <a:pt x="2421" y="400"/>
                  </a:cubicBezTo>
                  <a:cubicBezTo>
                    <a:pt x="2423" y="398"/>
                    <a:pt x="2422" y="398"/>
                    <a:pt x="2423" y="397"/>
                  </a:cubicBezTo>
                  <a:cubicBezTo>
                    <a:pt x="2424" y="395"/>
                    <a:pt x="2423" y="396"/>
                    <a:pt x="2425" y="394"/>
                  </a:cubicBezTo>
                  <a:cubicBezTo>
                    <a:pt x="2426" y="393"/>
                    <a:pt x="2428" y="392"/>
                    <a:pt x="2429" y="393"/>
                  </a:cubicBezTo>
                  <a:cubicBezTo>
                    <a:pt x="2430" y="393"/>
                    <a:pt x="2430" y="393"/>
                    <a:pt x="2430" y="393"/>
                  </a:cubicBezTo>
                  <a:cubicBezTo>
                    <a:pt x="2430" y="393"/>
                    <a:pt x="2433" y="394"/>
                    <a:pt x="2434" y="394"/>
                  </a:cubicBezTo>
                  <a:cubicBezTo>
                    <a:pt x="2435" y="394"/>
                    <a:pt x="2437" y="393"/>
                    <a:pt x="2438" y="392"/>
                  </a:cubicBezTo>
                  <a:cubicBezTo>
                    <a:pt x="2438" y="391"/>
                    <a:pt x="2437" y="391"/>
                    <a:pt x="2435" y="391"/>
                  </a:cubicBezTo>
                  <a:cubicBezTo>
                    <a:pt x="2434" y="391"/>
                    <a:pt x="2434" y="390"/>
                    <a:pt x="2434" y="388"/>
                  </a:cubicBezTo>
                  <a:cubicBezTo>
                    <a:pt x="2434" y="387"/>
                    <a:pt x="2435" y="385"/>
                    <a:pt x="2436" y="383"/>
                  </a:cubicBezTo>
                  <a:cubicBezTo>
                    <a:pt x="2437" y="381"/>
                    <a:pt x="2439" y="379"/>
                    <a:pt x="2440" y="377"/>
                  </a:cubicBezTo>
                  <a:cubicBezTo>
                    <a:pt x="2442" y="374"/>
                    <a:pt x="2442" y="376"/>
                    <a:pt x="2444" y="374"/>
                  </a:cubicBezTo>
                  <a:cubicBezTo>
                    <a:pt x="2447" y="373"/>
                    <a:pt x="2444" y="374"/>
                    <a:pt x="2445" y="373"/>
                  </a:cubicBezTo>
                  <a:cubicBezTo>
                    <a:pt x="2446" y="372"/>
                    <a:pt x="2447" y="371"/>
                    <a:pt x="2448" y="370"/>
                  </a:cubicBezTo>
                  <a:cubicBezTo>
                    <a:pt x="2449" y="370"/>
                    <a:pt x="2453" y="369"/>
                    <a:pt x="2454" y="369"/>
                  </a:cubicBezTo>
                  <a:cubicBezTo>
                    <a:pt x="2455" y="369"/>
                    <a:pt x="2457" y="368"/>
                    <a:pt x="2459" y="371"/>
                  </a:cubicBezTo>
                  <a:cubicBezTo>
                    <a:pt x="2462" y="373"/>
                    <a:pt x="2466" y="373"/>
                    <a:pt x="2464" y="374"/>
                  </a:cubicBezTo>
                  <a:cubicBezTo>
                    <a:pt x="2462" y="375"/>
                    <a:pt x="2460" y="373"/>
                    <a:pt x="2460" y="373"/>
                  </a:cubicBezTo>
                  <a:cubicBezTo>
                    <a:pt x="2460" y="373"/>
                    <a:pt x="2458" y="375"/>
                    <a:pt x="2457" y="375"/>
                  </a:cubicBezTo>
                  <a:cubicBezTo>
                    <a:pt x="2457" y="376"/>
                    <a:pt x="2454" y="377"/>
                    <a:pt x="2453" y="377"/>
                  </a:cubicBezTo>
                  <a:cubicBezTo>
                    <a:pt x="2452" y="377"/>
                    <a:pt x="2452" y="380"/>
                    <a:pt x="2451" y="381"/>
                  </a:cubicBezTo>
                  <a:cubicBezTo>
                    <a:pt x="2451" y="381"/>
                    <a:pt x="2449" y="384"/>
                    <a:pt x="2449" y="385"/>
                  </a:cubicBezTo>
                  <a:cubicBezTo>
                    <a:pt x="2449" y="387"/>
                    <a:pt x="2449" y="389"/>
                    <a:pt x="2449" y="391"/>
                  </a:cubicBezTo>
                  <a:cubicBezTo>
                    <a:pt x="2448" y="392"/>
                    <a:pt x="2448" y="391"/>
                    <a:pt x="2447" y="392"/>
                  </a:cubicBezTo>
                  <a:cubicBezTo>
                    <a:pt x="2447" y="393"/>
                    <a:pt x="2446" y="396"/>
                    <a:pt x="2446" y="397"/>
                  </a:cubicBezTo>
                  <a:cubicBezTo>
                    <a:pt x="2446" y="398"/>
                    <a:pt x="2446" y="399"/>
                    <a:pt x="2446" y="401"/>
                  </a:cubicBezTo>
                  <a:cubicBezTo>
                    <a:pt x="2446" y="402"/>
                    <a:pt x="2445" y="404"/>
                    <a:pt x="2444" y="405"/>
                  </a:cubicBezTo>
                  <a:cubicBezTo>
                    <a:pt x="2444" y="405"/>
                    <a:pt x="2443" y="406"/>
                    <a:pt x="2442" y="406"/>
                  </a:cubicBezTo>
                  <a:cubicBezTo>
                    <a:pt x="2441" y="407"/>
                    <a:pt x="2440" y="408"/>
                    <a:pt x="2439" y="408"/>
                  </a:cubicBezTo>
                  <a:cubicBezTo>
                    <a:pt x="2439" y="408"/>
                    <a:pt x="2438" y="409"/>
                    <a:pt x="2437" y="409"/>
                  </a:cubicBezTo>
                  <a:cubicBezTo>
                    <a:pt x="2437" y="410"/>
                    <a:pt x="2434" y="411"/>
                    <a:pt x="2433" y="412"/>
                  </a:cubicBezTo>
                  <a:cubicBezTo>
                    <a:pt x="2432" y="412"/>
                    <a:pt x="2430" y="413"/>
                    <a:pt x="2429" y="414"/>
                  </a:cubicBezTo>
                  <a:cubicBezTo>
                    <a:pt x="2428" y="414"/>
                    <a:pt x="2426" y="415"/>
                    <a:pt x="2425" y="416"/>
                  </a:cubicBezTo>
                  <a:cubicBezTo>
                    <a:pt x="2423" y="416"/>
                    <a:pt x="2423" y="417"/>
                    <a:pt x="2422" y="417"/>
                  </a:cubicBezTo>
                  <a:cubicBezTo>
                    <a:pt x="2421" y="417"/>
                    <a:pt x="2421" y="418"/>
                    <a:pt x="2419" y="420"/>
                  </a:cubicBezTo>
                  <a:cubicBezTo>
                    <a:pt x="2418" y="422"/>
                    <a:pt x="2418" y="423"/>
                    <a:pt x="2418" y="423"/>
                  </a:cubicBezTo>
                  <a:cubicBezTo>
                    <a:pt x="2417" y="424"/>
                    <a:pt x="2414" y="427"/>
                    <a:pt x="2413" y="427"/>
                  </a:cubicBezTo>
                  <a:cubicBezTo>
                    <a:pt x="2412" y="428"/>
                    <a:pt x="2411" y="429"/>
                    <a:pt x="2411" y="429"/>
                  </a:cubicBezTo>
                  <a:cubicBezTo>
                    <a:pt x="2411" y="430"/>
                    <a:pt x="2408" y="431"/>
                    <a:pt x="2408" y="432"/>
                  </a:cubicBezTo>
                  <a:cubicBezTo>
                    <a:pt x="2407" y="433"/>
                    <a:pt x="2404" y="434"/>
                    <a:pt x="2402" y="435"/>
                  </a:cubicBezTo>
                  <a:cubicBezTo>
                    <a:pt x="2400" y="437"/>
                    <a:pt x="2398" y="440"/>
                    <a:pt x="2398" y="440"/>
                  </a:cubicBezTo>
                  <a:cubicBezTo>
                    <a:pt x="2398" y="440"/>
                    <a:pt x="2388" y="451"/>
                    <a:pt x="2387" y="453"/>
                  </a:cubicBezTo>
                  <a:cubicBezTo>
                    <a:pt x="2386" y="454"/>
                    <a:pt x="2383" y="455"/>
                    <a:pt x="2381" y="456"/>
                  </a:cubicBezTo>
                  <a:cubicBezTo>
                    <a:pt x="2379" y="458"/>
                    <a:pt x="2379" y="459"/>
                    <a:pt x="2377" y="460"/>
                  </a:cubicBezTo>
                  <a:cubicBezTo>
                    <a:pt x="2376" y="460"/>
                    <a:pt x="2373" y="461"/>
                    <a:pt x="2373" y="461"/>
                  </a:cubicBezTo>
                  <a:cubicBezTo>
                    <a:pt x="2373" y="461"/>
                    <a:pt x="2371" y="463"/>
                    <a:pt x="2370" y="463"/>
                  </a:cubicBezTo>
                  <a:cubicBezTo>
                    <a:pt x="2369" y="464"/>
                    <a:pt x="2368" y="465"/>
                    <a:pt x="2367" y="465"/>
                  </a:cubicBezTo>
                  <a:cubicBezTo>
                    <a:pt x="2366" y="466"/>
                    <a:pt x="2358" y="470"/>
                    <a:pt x="2357" y="469"/>
                  </a:cubicBezTo>
                  <a:cubicBezTo>
                    <a:pt x="2357" y="469"/>
                    <a:pt x="2352" y="470"/>
                    <a:pt x="2352" y="470"/>
                  </a:cubicBezTo>
                  <a:cubicBezTo>
                    <a:pt x="2352" y="470"/>
                    <a:pt x="2355" y="474"/>
                    <a:pt x="2355" y="476"/>
                  </a:cubicBezTo>
                  <a:cubicBezTo>
                    <a:pt x="2355" y="477"/>
                    <a:pt x="2354" y="478"/>
                    <a:pt x="2354" y="479"/>
                  </a:cubicBezTo>
                  <a:cubicBezTo>
                    <a:pt x="2353" y="480"/>
                    <a:pt x="2352" y="481"/>
                    <a:pt x="2351" y="483"/>
                  </a:cubicBezTo>
                  <a:cubicBezTo>
                    <a:pt x="2349" y="486"/>
                    <a:pt x="2348" y="486"/>
                    <a:pt x="2347" y="487"/>
                  </a:cubicBezTo>
                  <a:cubicBezTo>
                    <a:pt x="2345" y="488"/>
                    <a:pt x="2344" y="489"/>
                    <a:pt x="2343" y="490"/>
                  </a:cubicBezTo>
                  <a:cubicBezTo>
                    <a:pt x="2341" y="491"/>
                    <a:pt x="2341" y="494"/>
                    <a:pt x="2340" y="495"/>
                  </a:cubicBezTo>
                  <a:cubicBezTo>
                    <a:pt x="2339" y="496"/>
                    <a:pt x="2339" y="500"/>
                    <a:pt x="2337" y="502"/>
                  </a:cubicBezTo>
                  <a:cubicBezTo>
                    <a:pt x="2336" y="503"/>
                    <a:pt x="2337" y="506"/>
                    <a:pt x="2336" y="507"/>
                  </a:cubicBezTo>
                  <a:cubicBezTo>
                    <a:pt x="2336" y="509"/>
                    <a:pt x="2335" y="514"/>
                    <a:pt x="2335" y="517"/>
                  </a:cubicBezTo>
                  <a:cubicBezTo>
                    <a:pt x="2335" y="519"/>
                    <a:pt x="2336" y="524"/>
                    <a:pt x="2336" y="527"/>
                  </a:cubicBezTo>
                  <a:cubicBezTo>
                    <a:pt x="2337" y="530"/>
                    <a:pt x="2338" y="535"/>
                    <a:pt x="2339" y="536"/>
                  </a:cubicBezTo>
                  <a:cubicBezTo>
                    <a:pt x="2340" y="537"/>
                    <a:pt x="2342" y="547"/>
                    <a:pt x="2342" y="548"/>
                  </a:cubicBezTo>
                  <a:cubicBezTo>
                    <a:pt x="2342" y="549"/>
                    <a:pt x="2342" y="559"/>
                    <a:pt x="2341" y="560"/>
                  </a:cubicBezTo>
                  <a:cubicBezTo>
                    <a:pt x="2340" y="562"/>
                    <a:pt x="2343" y="565"/>
                    <a:pt x="2344" y="566"/>
                  </a:cubicBezTo>
                  <a:cubicBezTo>
                    <a:pt x="2345" y="568"/>
                    <a:pt x="2346" y="570"/>
                    <a:pt x="2346" y="575"/>
                  </a:cubicBezTo>
                  <a:cubicBezTo>
                    <a:pt x="2346" y="579"/>
                    <a:pt x="2346" y="581"/>
                    <a:pt x="2346" y="583"/>
                  </a:cubicBezTo>
                  <a:cubicBezTo>
                    <a:pt x="2347" y="586"/>
                    <a:pt x="2349" y="591"/>
                    <a:pt x="2349" y="593"/>
                  </a:cubicBezTo>
                  <a:cubicBezTo>
                    <a:pt x="2349" y="594"/>
                    <a:pt x="2350" y="600"/>
                    <a:pt x="2351" y="599"/>
                  </a:cubicBezTo>
                  <a:cubicBezTo>
                    <a:pt x="2352" y="597"/>
                    <a:pt x="2353" y="597"/>
                    <a:pt x="2355" y="594"/>
                  </a:cubicBezTo>
                  <a:cubicBezTo>
                    <a:pt x="2356" y="592"/>
                    <a:pt x="2358" y="591"/>
                    <a:pt x="2360" y="589"/>
                  </a:cubicBezTo>
                  <a:cubicBezTo>
                    <a:pt x="2362" y="586"/>
                    <a:pt x="2367" y="585"/>
                    <a:pt x="2369" y="585"/>
                  </a:cubicBezTo>
                  <a:cubicBezTo>
                    <a:pt x="2370" y="584"/>
                    <a:pt x="2373" y="580"/>
                    <a:pt x="2373" y="578"/>
                  </a:cubicBezTo>
                  <a:cubicBezTo>
                    <a:pt x="2373" y="576"/>
                    <a:pt x="2374" y="573"/>
                    <a:pt x="2374" y="570"/>
                  </a:cubicBezTo>
                  <a:cubicBezTo>
                    <a:pt x="2374" y="567"/>
                    <a:pt x="2377" y="565"/>
                    <a:pt x="2378" y="565"/>
                  </a:cubicBezTo>
                  <a:cubicBezTo>
                    <a:pt x="2378" y="564"/>
                    <a:pt x="2380" y="562"/>
                    <a:pt x="2382" y="559"/>
                  </a:cubicBezTo>
                  <a:cubicBezTo>
                    <a:pt x="2384" y="556"/>
                    <a:pt x="2388" y="557"/>
                    <a:pt x="2389" y="556"/>
                  </a:cubicBezTo>
                  <a:cubicBezTo>
                    <a:pt x="2390" y="556"/>
                    <a:pt x="2395" y="558"/>
                    <a:pt x="2396" y="556"/>
                  </a:cubicBezTo>
                  <a:cubicBezTo>
                    <a:pt x="2396" y="553"/>
                    <a:pt x="2396" y="554"/>
                    <a:pt x="2395" y="551"/>
                  </a:cubicBezTo>
                  <a:cubicBezTo>
                    <a:pt x="2394" y="549"/>
                    <a:pt x="2395" y="546"/>
                    <a:pt x="2394" y="544"/>
                  </a:cubicBezTo>
                  <a:cubicBezTo>
                    <a:pt x="2394" y="541"/>
                    <a:pt x="2397" y="539"/>
                    <a:pt x="2398" y="537"/>
                  </a:cubicBezTo>
                  <a:cubicBezTo>
                    <a:pt x="2399" y="536"/>
                    <a:pt x="2402" y="535"/>
                    <a:pt x="2404" y="533"/>
                  </a:cubicBezTo>
                  <a:cubicBezTo>
                    <a:pt x="2406" y="530"/>
                    <a:pt x="2407" y="532"/>
                    <a:pt x="2409" y="532"/>
                  </a:cubicBezTo>
                  <a:cubicBezTo>
                    <a:pt x="2411" y="531"/>
                    <a:pt x="2416" y="532"/>
                    <a:pt x="2417" y="531"/>
                  </a:cubicBezTo>
                  <a:cubicBezTo>
                    <a:pt x="2419" y="530"/>
                    <a:pt x="2424" y="527"/>
                    <a:pt x="2425" y="526"/>
                  </a:cubicBezTo>
                  <a:cubicBezTo>
                    <a:pt x="2425" y="525"/>
                    <a:pt x="2424" y="524"/>
                    <a:pt x="2423" y="522"/>
                  </a:cubicBezTo>
                  <a:cubicBezTo>
                    <a:pt x="2422" y="520"/>
                    <a:pt x="2420" y="520"/>
                    <a:pt x="2419" y="517"/>
                  </a:cubicBezTo>
                  <a:cubicBezTo>
                    <a:pt x="2418" y="515"/>
                    <a:pt x="2419" y="515"/>
                    <a:pt x="2420" y="512"/>
                  </a:cubicBezTo>
                  <a:cubicBezTo>
                    <a:pt x="2421" y="509"/>
                    <a:pt x="2422" y="510"/>
                    <a:pt x="2423" y="508"/>
                  </a:cubicBezTo>
                  <a:cubicBezTo>
                    <a:pt x="2424" y="507"/>
                    <a:pt x="2426" y="501"/>
                    <a:pt x="2426" y="500"/>
                  </a:cubicBezTo>
                  <a:cubicBezTo>
                    <a:pt x="2426" y="499"/>
                    <a:pt x="2430" y="496"/>
                    <a:pt x="2431" y="496"/>
                  </a:cubicBezTo>
                  <a:cubicBezTo>
                    <a:pt x="2432" y="496"/>
                    <a:pt x="2431" y="499"/>
                    <a:pt x="2431" y="500"/>
                  </a:cubicBezTo>
                  <a:cubicBezTo>
                    <a:pt x="2431" y="501"/>
                    <a:pt x="2434" y="503"/>
                    <a:pt x="2434" y="503"/>
                  </a:cubicBezTo>
                  <a:cubicBezTo>
                    <a:pt x="2434" y="503"/>
                    <a:pt x="2440" y="500"/>
                    <a:pt x="2440" y="499"/>
                  </a:cubicBezTo>
                  <a:cubicBezTo>
                    <a:pt x="2441" y="497"/>
                    <a:pt x="2442" y="496"/>
                    <a:pt x="2442" y="495"/>
                  </a:cubicBezTo>
                  <a:cubicBezTo>
                    <a:pt x="2442" y="493"/>
                    <a:pt x="2440" y="490"/>
                    <a:pt x="2439" y="490"/>
                  </a:cubicBezTo>
                  <a:cubicBezTo>
                    <a:pt x="2437" y="490"/>
                    <a:pt x="2435" y="488"/>
                    <a:pt x="2435" y="488"/>
                  </a:cubicBezTo>
                  <a:cubicBezTo>
                    <a:pt x="2435" y="488"/>
                    <a:pt x="2435" y="486"/>
                    <a:pt x="2434" y="485"/>
                  </a:cubicBezTo>
                  <a:cubicBezTo>
                    <a:pt x="2432" y="483"/>
                    <a:pt x="2433" y="481"/>
                    <a:pt x="2433" y="479"/>
                  </a:cubicBezTo>
                  <a:cubicBezTo>
                    <a:pt x="2434" y="477"/>
                    <a:pt x="2437" y="474"/>
                    <a:pt x="2439" y="473"/>
                  </a:cubicBezTo>
                  <a:cubicBezTo>
                    <a:pt x="2440" y="472"/>
                    <a:pt x="2439" y="470"/>
                    <a:pt x="2439" y="469"/>
                  </a:cubicBezTo>
                  <a:cubicBezTo>
                    <a:pt x="2439" y="468"/>
                    <a:pt x="2432" y="465"/>
                    <a:pt x="2431" y="466"/>
                  </a:cubicBezTo>
                  <a:cubicBezTo>
                    <a:pt x="2430" y="466"/>
                    <a:pt x="2429" y="468"/>
                    <a:pt x="2428" y="469"/>
                  </a:cubicBezTo>
                  <a:cubicBezTo>
                    <a:pt x="2426" y="470"/>
                    <a:pt x="2425" y="467"/>
                    <a:pt x="2424" y="467"/>
                  </a:cubicBezTo>
                  <a:cubicBezTo>
                    <a:pt x="2423" y="467"/>
                    <a:pt x="2422" y="463"/>
                    <a:pt x="2421" y="461"/>
                  </a:cubicBezTo>
                  <a:cubicBezTo>
                    <a:pt x="2420" y="458"/>
                    <a:pt x="2424" y="456"/>
                    <a:pt x="2426" y="453"/>
                  </a:cubicBezTo>
                  <a:cubicBezTo>
                    <a:pt x="2427" y="450"/>
                    <a:pt x="2430" y="451"/>
                    <a:pt x="2432" y="448"/>
                  </a:cubicBezTo>
                  <a:cubicBezTo>
                    <a:pt x="2434" y="445"/>
                    <a:pt x="2436" y="444"/>
                    <a:pt x="2437" y="441"/>
                  </a:cubicBezTo>
                  <a:cubicBezTo>
                    <a:pt x="2439" y="439"/>
                    <a:pt x="2445" y="428"/>
                    <a:pt x="2445" y="428"/>
                  </a:cubicBezTo>
                  <a:cubicBezTo>
                    <a:pt x="2445" y="428"/>
                    <a:pt x="2447" y="428"/>
                    <a:pt x="2449" y="427"/>
                  </a:cubicBezTo>
                  <a:cubicBezTo>
                    <a:pt x="2451" y="426"/>
                    <a:pt x="2453" y="426"/>
                    <a:pt x="2453" y="426"/>
                  </a:cubicBezTo>
                  <a:cubicBezTo>
                    <a:pt x="2453" y="426"/>
                    <a:pt x="2457" y="428"/>
                    <a:pt x="2460" y="428"/>
                  </a:cubicBezTo>
                  <a:cubicBezTo>
                    <a:pt x="2462" y="429"/>
                    <a:pt x="2464" y="428"/>
                    <a:pt x="2465" y="425"/>
                  </a:cubicBezTo>
                  <a:cubicBezTo>
                    <a:pt x="2466" y="422"/>
                    <a:pt x="2469" y="423"/>
                    <a:pt x="2472" y="421"/>
                  </a:cubicBezTo>
                  <a:cubicBezTo>
                    <a:pt x="2475" y="419"/>
                    <a:pt x="2477" y="417"/>
                    <a:pt x="2478" y="416"/>
                  </a:cubicBezTo>
                  <a:cubicBezTo>
                    <a:pt x="2479" y="415"/>
                    <a:pt x="2480" y="421"/>
                    <a:pt x="2479" y="422"/>
                  </a:cubicBezTo>
                  <a:cubicBezTo>
                    <a:pt x="2479" y="422"/>
                    <a:pt x="2478" y="431"/>
                    <a:pt x="2478" y="431"/>
                  </a:cubicBezTo>
                  <a:cubicBezTo>
                    <a:pt x="2478" y="431"/>
                    <a:pt x="2481" y="429"/>
                    <a:pt x="2482" y="427"/>
                  </a:cubicBezTo>
                  <a:cubicBezTo>
                    <a:pt x="2483" y="424"/>
                    <a:pt x="2486" y="423"/>
                    <a:pt x="2488" y="422"/>
                  </a:cubicBezTo>
                  <a:cubicBezTo>
                    <a:pt x="2490" y="420"/>
                    <a:pt x="2493" y="419"/>
                    <a:pt x="2496" y="418"/>
                  </a:cubicBezTo>
                  <a:cubicBezTo>
                    <a:pt x="2498" y="416"/>
                    <a:pt x="2501" y="415"/>
                    <a:pt x="2502" y="413"/>
                  </a:cubicBezTo>
                  <a:cubicBezTo>
                    <a:pt x="2503" y="411"/>
                    <a:pt x="2507" y="413"/>
                    <a:pt x="2509" y="413"/>
                  </a:cubicBezTo>
                  <a:cubicBezTo>
                    <a:pt x="2511" y="413"/>
                    <a:pt x="2516" y="413"/>
                    <a:pt x="2517" y="413"/>
                  </a:cubicBezTo>
                  <a:cubicBezTo>
                    <a:pt x="2518" y="412"/>
                    <a:pt x="2521" y="412"/>
                    <a:pt x="2521" y="412"/>
                  </a:cubicBezTo>
                  <a:cubicBezTo>
                    <a:pt x="2534" y="428"/>
                    <a:pt x="2534" y="428"/>
                    <a:pt x="2534" y="428"/>
                  </a:cubicBezTo>
                  <a:cubicBezTo>
                    <a:pt x="2534" y="428"/>
                    <a:pt x="2535" y="427"/>
                    <a:pt x="2535" y="425"/>
                  </a:cubicBezTo>
                  <a:cubicBezTo>
                    <a:pt x="2536" y="423"/>
                    <a:pt x="2536" y="422"/>
                    <a:pt x="2536" y="420"/>
                  </a:cubicBezTo>
                  <a:cubicBezTo>
                    <a:pt x="2536" y="418"/>
                    <a:pt x="2539" y="417"/>
                    <a:pt x="2540" y="417"/>
                  </a:cubicBezTo>
                  <a:cubicBezTo>
                    <a:pt x="2541" y="416"/>
                    <a:pt x="2546" y="414"/>
                    <a:pt x="2547" y="413"/>
                  </a:cubicBezTo>
                  <a:cubicBezTo>
                    <a:pt x="2549" y="411"/>
                    <a:pt x="2553" y="408"/>
                    <a:pt x="2553" y="407"/>
                  </a:cubicBezTo>
                  <a:cubicBezTo>
                    <a:pt x="2553" y="405"/>
                    <a:pt x="2556" y="407"/>
                    <a:pt x="2557" y="407"/>
                  </a:cubicBezTo>
                  <a:cubicBezTo>
                    <a:pt x="2558" y="408"/>
                    <a:pt x="2562" y="404"/>
                    <a:pt x="2564" y="401"/>
                  </a:cubicBezTo>
                  <a:cubicBezTo>
                    <a:pt x="2566" y="398"/>
                    <a:pt x="2571" y="395"/>
                    <a:pt x="2573" y="392"/>
                  </a:cubicBezTo>
                  <a:cubicBezTo>
                    <a:pt x="2576" y="390"/>
                    <a:pt x="2579" y="391"/>
                    <a:pt x="2582" y="391"/>
                  </a:cubicBezTo>
                  <a:cubicBezTo>
                    <a:pt x="2584" y="390"/>
                    <a:pt x="2589" y="389"/>
                    <a:pt x="2590" y="389"/>
                  </a:cubicBezTo>
                  <a:cubicBezTo>
                    <a:pt x="2591" y="389"/>
                    <a:pt x="2599" y="385"/>
                    <a:pt x="2599" y="383"/>
                  </a:cubicBezTo>
                  <a:cubicBezTo>
                    <a:pt x="2599" y="381"/>
                    <a:pt x="2606" y="380"/>
                    <a:pt x="2607" y="380"/>
                  </a:cubicBezTo>
                  <a:cubicBezTo>
                    <a:pt x="2608" y="380"/>
                    <a:pt x="2615" y="378"/>
                    <a:pt x="2615" y="378"/>
                  </a:cubicBezTo>
                  <a:cubicBezTo>
                    <a:pt x="2615" y="378"/>
                    <a:pt x="2624" y="373"/>
                    <a:pt x="2624" y="371"/>
                  </a:cubicBezTo>
                  <a:cubicBezTo>
                    <a:pt x="2624" y="370"/>
                    <a:pt x="2627" y="368"/>
                    <a:pt x="2628" y="368"/>
                  </a:cubicBezTo>
                  <a:cubicBezTo>
                    <a:pt x="2629" y="369"/>
                    <a:pt x="2635" y="373"/>
                    <a:pt x="2637" y="374"/>
                  </a:cubicBezTo>
                  <a:cubicBezTo>
                    <a:pt x="2639" y="374"/>
                    <a:pt x="2648" y="377"/>
                    <a:pt x="2650" y="377"/>
                  </a:cubicBezTo>
                  <a:cubicBezTo>
                    <a:pt x="2652" y="378"/>
                    <a:pt x="2654" y="376"/>
                    <a:pt x="2655" y="374"/>
                  </a:cubicBezTo>
                  <a:cubicBezTo>
                    <a:pt x="2655" y="372"/>
                    <a:pt x="2656" y="370"/>
                    <a:pt x="2657" y="369"/>
                  </a:cubicBezTo>
                  <a:cubicBezTo>
                    <a:pt x="2658" y="367"/>
                    <a:pt x="2658" y="366"/>
                    <a:pt x="2658" y="363"/>
                  </a:cubicBezTo>
                  <a:cubicBezTo>
                    <a:pt x="2659" y="361"/>
                    <a:pt x="2657" y="361"/>
                    <a:pt x="2656" y="359"/>
                  </a:cubicBezTo>
                  <a:cubicBezTo>
                    <a:pt x="2655" y="357"/>
                    <a:pt x="2650" y="355"/>
                    <a:pt x="2650" y="355"/>
                  </a:cubicBezTo>
                  <a:cubicBezTo>
                    <a:pt x="2649" y="355"/>
                    <a:pt x="2644" y="351"/>
                    <a:pt x="2644" y="351"/>
                  </a:cubicBezTo>
                  <a:cubicBezTo>
                    <a:pt x="2644" y="351"/>
                    <a:pt x="2648" y="347"/>
                    <a:pt x="2648" y="346"/>
                  </a:cubicBezTo>
                  <a:cubicBezTo>
                    <a:pt x="2648" y="345"/>
                    <a:pt x="2647" y="340"/>
                    <a:pt x="2647" y="339"/>
                  </a:cubicBezTo>
                  <a:cubicBezTo>
                    <a:pt x="2647" y="339"/>
                    <a:pt x="2643" y="335"/>
                    <a:pt x="2643" y="335"/>
                  </a:cubicBezTo>
                  <a:cubicBezTo>
                    <a:pt x="2643" y="335"/>
                    <a:pt x="2640" y="337"/>
                    <a:pt x="2640" y="335"/>
                  </a:cubicBezTo>
                  <a:cubicBezTo>
                    <a:pt x="2640" y="333"/>
                    <a:pt x="2636" y="333"/>
                    <a:pt x="2635" y="334"/>
                  </a:cubicBezTo>
                  <a:cubicBezTo>
                    <a:pt x="2635" y="335"/>
                    <a:pt x="2632" y="334"/>
                    <a:pt x="2631" y="333"/>
                  </a:cubicBezTo>
                  <a:cubicBezTo>
                    <a:pt x="2630" y="332"/>
                    <a:pt x="2629" y="329"/>
                    <a:pt x="2629" y="329"/>
                  </a:cubicBezTo>
                  <a:cubicBezTo>
                    <a:pt x="2629" y="328"/>
                    <a:pt x="2627" y="325"/>
                    <a:pt x="2626" y="325"/>
                  </a:cubicBezTo>
                  <a:cubicBezTo>
                    <a:pt x="2625" y="325"/>
                    <a:pt x="2623" y="328"/>
                    <a:pt x="2622" y="328"/>
                  </a:cubicBezTo>
                  <a:cubicBezTo>
                    <a:pt x="2621" y="329"/>
                    <a:pt x="2617" y="327"/>
                    <a:pt x="2615" y="325"/>
                  </a:cubicBezTo>
                  <a:cubicBezTo>
                    <a:pt x="2615" y="325"/>
                    <a:pt x="2616" y="324"/>
                    <a:pt x="2619" y="324"/>
                  </a:cubicBezTo>
                  <a:cubicBezTo>
                    <a:pt x="2621" y="323"/>
                    <a:pt x="2624" y="324"/>
                    <a:pt x="2624" y="323"/>
                  </a:cubicBezTo>
                  <a:cubicBezTo>
                    <a:pt x="2623" y="322"/>
                    <a:pt x="2621" y="321"/>
                    <a:pt x="2623" y="320"/>
                  </a:cubicBezTo>
                  <a:cubicBezTo>
                    <a:pt x="2624" y="319"/>
                    <a:pt x="2629" y="322"/>
                    <a:pt x="2630" y="323"/>
                  </a:cubicBezTo>
                  <a:cubicBezTo>
                    <a:pt x="2631" y="324"/>
                    <a:pt x="2637" y="327"/>
                    <a:pt x="2640" y="328"/>
                  </a:cubicBezTo>
                  <a:cubicBezTo>
                    <a:pt x="2643" y="329"/>
                    <a:pt x="2647" y="329"/>
                    <a:pt x="2649" y="329"/>
                  </a:cubicBezTo>
                  <a:cubicBezTo>
                    <a:pt x="2651" y="330"/>
                    <a:pt x="2654" y="327"/>
                    <a:pt x="2661" y="322"/>
                  </a:cubicBezTo>
                  <a:cubicBezTo>
                    <a:pt x="2668" y="317"/>
                    <a:pt x="2668" y="319"/>
                    <a:pt x="2669" y="318"/>
                  </a:cubicBezTo>
                  <a:cubicBezTo>
                    <a:pt x="2670" y="317"/>
                    <a:pt x="2673" y="313"/>
                    <a:pt x="2674" y="309"/>
                  </a:cubicBezTo>
                  <a:cubicBezTo>
                    <a:pt x="2675" y="306"/>
                    <a:pt x="2673" y="307"/>
                    <a:pt x="2669" y="303"/>
                  </a:cubicBezTo>
                  <a:cubicBezTo>
                    <a:pt x="2665" y="298"/>
                    <a:pt x="2669" y="299"/>
                    <a:pt x="2670" y="296"/>
                  </a:cubicBezTo>
                  <a:cubicBezTo>
                    <a:pt x="2671" y="293"/>
                    <a:pt x="2676" y="291"/>
                    <a:pt x="2678" y="290"/>
                  </a:cubicBezTo>
                  <a:cubicBezTo>
                    <a:pt x="2679" y="290"/>
                    <a:pt x="2685" y="290"/>
                    <a:pt x="2686" y="292"/>
                  </a:cubicBezTo>
                  <a:cubicBezTo>
                    <a:pt x="2687" y="294"/>
                    <a:pt x="2685" y="297"/>
                    <a:pt x="2684" y="300"/>
                  </a:cubicBezTo>
                  <a:cubicBezTo>
                    <a:pt x="2683" y="303"/>
                    <a:pt x="2685" y="306"/>
                    <a:pt x="2686" y="308"/>
                  </a:cubicBezTo>
                  <a:cubicBezTo>
                    <a:pt x="2687" y="311"/>
                    <a:pt x="2689" y="310"/>
                    <a:pt x="2694" y="310"/>
                  </a:cubicBezTo>
                  <a:cubicBezTo>
                    <a:pt x="2699" y="310"/>
                    <a:pt x="2700" y="309"/>
                    <a:pt x="2703" y="308"/>
                  </a:cubicBezTo>
                  <a:cubicBezTo>
                    <a:pt x="2706" y="307"/>
                    <a:pt x="2707" y="309"/>
                    <a:pt x="2712" y="309"/>
                  </a:cubicBezTo>
                  <a:cubicBezTo>
                    <a:pt x="2717" y="309"/>
                    <a:pt x="2718" y="310"/>
                    <a:pt x="2720" y="311"/>
                  </a:cubicBezTo>
                  <a:cubicBezTo>
                    <a:pt x="2722" y="312"/>
                    <a:pt x="2722" y="314"/>
                    <a:pt x="2722" y="318"/>
                  </a:cubicBezTo>
                  <a:cubicBezTo>
                    <a:pt x="2723" y="322"/>
                    <a:pt x="2724" y="321"/>
                    <a:pt x="2727" y="323"/>
                  </a:cubicBezTo>
                  <a:cubicBezTo>
                    <a:pt x="2730" y="324"/>
                    <a:pt x="2728" y="324"/>
                    <a:pt x="2731" y="324"/>
                  </a:cubicBezTo>
                  <a:cubicBezTo>
                    <a:pt x="2734" y="325"/>
                    <a:pt x="2737" y="326"/>
                    <a:pt x="2739" y="328"/>
                  </a:cubicBezTo>
                  <a:cubicBezTo>
                    <a:pt x="2742" y="330"/>
                    <a:pt x="2743" y="330"/>
                    <a:pt x="2745" y="331"/>
                  </a:cubicBezTo>
                  <a:cubicBezTo>
                    <a:pt x="2746" y="332"/>
                    <a:pt x="2751" y="334"/>
                    <a:pt x="2753" y="333"/>
                  </a:cubicBezTo>
                  <a:cubicBezTo>
                    <a:pt x="2754" y="332"/>
                    <a:pt x="2755" y="328"/>
                    <a:pt x="2755" y="328"/>
                  </a:cubicBezTo>
                  <a:cubicBezTo>
                    <a:pt x="2758" y="336"/>
                    <a:pt x="2758" y="336"/>
                    <a:pt x="2758" y="336"/>
                  </a:cubicBezTo>
                  <a:cubicBezTo>
                    <a:pt x="2758" y="336"/>
                    <a:pt x="2760" y="337"/>
                    <a:pt x="2761" y="335"/>
                  </a:cubicBezTo>
                  <a:cubicBezTo>
                    <a:pt x="2761" y="334"/>
                    <a:pt x="2760" y="334"/>
                    <a:pt x="2760" y="333"/>
                  </a:cubicBezTo>
                  <a:cubicBezTo>
                    <a:pt x="2761" y="331"/>
                    <a:pt x="2764" y="333"/>
                    <a:pt x="2765" y="333"/>
                  </a:cubicBezTo>
                  <a:cubicBezTo>
                    <a:pt x="2766" y="334"/>
                    <a:pt x="2769" y="333"/>
                    <a:pt x="2769" y="331"/>
                  </a:cubicBezTo>
                  <a:cubicBezTo>
                    <a:pt x="2768" y="329"/>
                    <a:pt x="2766" y="330"/>
                    <a:pt x="2764" y="329"/>
                  </a:cubicBezTo>
                  <a:cubicBezTo>
                    <a:pt x="2763" y="328"/>
                    <a:pt x="2765" y="327"/>
                    <a:pt x="2765" y="327"/>
                  </a:cubicBezTo>
                  <a:cubicBezTo>
                    <a:pt x="2765" y="327"/>
                    <a:pt x="2771" y="327"/>
                    <a:pt x="2772" y="327"/>
                  </a:cubicBezTo>
                  <a:cubicBezTo>
                    <a:pt x="2772" y="326"/>
                    <a:pt x="2771" y="325"/>
                    <a:pt x="2770" y="324"/>
                  </a:cubicBezTo>
                  <a:cubicBezTo>
                    <a:pt x="2768" y="323"/>
                    <a:pt x="2768" y="324"/>
                    <a:pt x="2767" y="322"/>
                  </a:cubicBezTo>
                  <a:cubicBezTo>
                    <a:pt x="2767" y="320"/>
                    <a:pt x="2769" y="320"/>
                    <a:pt x="2771" y="320"/>
                  </a:cubicBezTo>
                  <a:cubicBezTo>
                    <a:pt x="2771" y="320"/>
                    <a:pt x="2772" y="321"/>
                    <a:pt x="2772" y="321"/>
                  </a:cubicBezTo>
                  <a:cubicBezTo>
                    <a:pt x="2772" y="320"/>
                    <a:pt x="2772" y="320"/>
                    <a:pt x="2772" y="320"/>
                  </a:cubicBezTo>
                  <a:cubicBezTo>
                    <a:pt x="2772" y="319"/>
                    <a:pt x="2773" y="319"/>
                    <a:pt x="2773" y="317"/>
                  </a:cubicBezTo>
                  <a:cubicBezTo>
                    <a:pt x="2772" y="315"/>
                    <a:pt x="2772" y="316"/>
                    <a:pt x="2771" y="314"/>
                  </a:cubicBezTo>
                  <a:cubicBezTo>
                    <a:pt x="2771" y="312"/>
                    <a:pt x="2770" y="311"/>
                    <a:pt x="2769" y="309"/>
                  </a:cubicBezTo>
                  <a:cubicBezTo>
                    <a:pt x="2768" y="307"/>
                    <a:pt x="2770" y="307"/>
                    <a:pt x="2771" y="308"/>
                  </a:cubicBezTo>
                  <a:cubicBezTo>
                    <a:pt x="2772" y="309"/>
                    <a:pt x="2773" y="309"/>
                    <a:pt x="2775" y="310"/>
                  </a:cubicBezTo>
                  <a:cubicBezTo>
                    <a:pt x="2775" y="310"/>
                    <a:pt x="2779" y="310"/>
                    <a:pt x="2780" y="310"/>
                  </a:cubicBezTo>
                  <a:cubicBezTo>
                    <a:pt x="2781" y="309"/>
                    <a:pt x="2784" y="309"/>
                    <a:pt x="2785" y="309"/>
                  </a:cubicBezTo>
                  <a:cubicBezTo>
                    <a:pt x="2786" y="309"/>
                    <a:pt x="2787" y="309"/>
                    <a:pt x="2789" y="309"/>
                  </a:cubicBezTo>
                  <a:cubicBezTo>
                    <a:pt x="2791" y="309"/>
                    <a:pt x="2791" y="308"/>
                    <a:pt x="2792" y="307"/>
                  </a:cubicBezTo>
                  <a:cubicBezTo>
                    <a:pt x="2793" y="306"/>
                    <a:pt x="2793" y="305"/>
                    <a:pt x="2795" y="303"/>
                  </a:cubicBezTo>
                  <a:cubicBezTo>
                    <a:pt x="2797" y="301"/>
                    <a:pt x="2795" y="303"/>
                    <a:pt x="2795" y="302"/>
                  </a:cubicBezTo>
                  <a:cubicBezTo>
                    <a:pt x="2796" y="300"/>
                    <a:pt x="2796" y="300"/>
                    <a:pt x="2796" y="298"/>
                  </a:cubicBezTo>
                  <a:cubicBezTo>
                    <a:pt x="2796" y="297"/>
                    <a:pt x="2798" y="298"/>
                    <a:pt x="2800" y="298"/>
                  </a:cubicBezTo>
                  <a:cubicBezTo>
                    <a:pt x="2802" y="298"/>
                    <a:pt x="2805" y="298"/>
                    <a:pt x="2806" y="296"/>
                  </a:cubicBezTo>
                  <a:cubicBezTo>
                    <a:pt x="2807" y="295"/>
                    <a:pt x="2804" y="295"/>
                    <a:pt x="2804" y="29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41" name="Freeform 200"/>
            <p:cNvSpPr>
              <a:spLocks/>
            </p:cNvSpPr>
            <p:nvPr/>
          </p:nvSpPr>
          <p:spPr bwMode="auto">
            <a:xfrm>
              <a:off x="4220" y="2057"/>
              <a:ext cx="20" cy="31"/>
            </a:xfrm>
            <a:custGeom>
              <a:avLst/>
              <a:gdLst>
                <a:gd name="T0" fmla="*/ 4 w 27"/>
                <a:gd name="T1" fmla="*/ 7 h 42"/>
                <a:gd name="T2" fmla="*/ 9 w 27"/>
                <a:gd name="T3" fmla="*/ 29 h 42"/>
                <a:gd name="T4" fmla="*/ 9 w 27"/>
                <a:gd name="T5" fmla="*/ 39 h 42"/>
                <a:gd name="T6" fmla="*/ 18 w 27"/>
                <a:gd name="T7" fmla="*/ 35 h 42"/>
                <a:gd name="T8" fmla="*/ 26 w 27"/>
                <a:gd name="T9" fmla="*/ 31 h 42"/>
                <a:gd name="T10" fmla="*/ 25 w 27"/>
                <a:gd name="T11" fmla="*/ 19 h 42"/>
                <a:gd name="T12" fmla="*/ 17 w 27"/>
                <a:gd name="T13" fmla="*/ 6 h 42"/>
                <a:gd name="T14" fmla="*/ 19 w 27"/>
                <a:gd name="T15" fmla="*/ 4 h 42"/>
                <a:gd name="T16" fmla="*/ 19 w 27"/>
                <a:gd name="T17" fmla="*/ 3 h 42"/>
                <a:gd name="T18" fmla="*/ 16 w 27"/>
                <a:gd name="T19" fmla="*/ 0 h 42"/>
                <a:gd name="T20" fmla="*/ 4 w 27"/>
                <a:gd name="T21" fmla="*/ 7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42">
                  <a:moveTo>
                    <a:pt x="4" y="7"/>
                  </a:moveTo>
                  <a:cubicBezTo>
                    <a:pt x="0" y="14"/>
                    <a:pt x="10" y="22"/>
                    <a:pt x="9" y="29"/>
                  </a:cubicBezTo>
                  <a:cubicBezTo>
                    <a:pt x="9" y="33"/>
                    <a:pt x="6" y="37"/>
                    <a:pt x="9" y="39"/>
                  </a:cubicBezTo>
                  <a:cubicBezTo>
                    <a:pt x="14" y="42"/>
                    <a:pt x="16" y="37"/>
                    <a:pt x="18" y="35"/>
                  </a:cubicBezTo>
                  <a:cubicBezTo>
                    <a:pt x="23" y="33"/>
                    <a:pt x="24" y="36"/>
                    <a:pt x="26" y="31"/>
                  </a:cubicBezTo>
                  <a:cubicBezTo>
                    <a:pt x="27" y="26"/>
                    <a:pt x="25" y="23"/>
                    <a:pt x="25" y="19"/>
                  </a:cubicBezTo>
                  <a:cubicBezTo>
                    <a:pt x="25" y="10"/>
                    <a:pt x="25" y="8"/>
                    <a:pt x="17" y="6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8" y="2"/>
                    <a:pt x="17" y="1"/>
                    <a:pt x="16" y="0"/>
                  </a:cubicBezTo>
                  <a:cubicBezTo>
                    <a:pt x="12" y="2"/>
                    <a:pt x="6" y="3"/>
                    <a:pt x="4" y="7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42" name="Freeform 201"/>
            <p:cNvSpPr>
              <a:spLocks/>
            </p:cNvSpPr>
            <p:nvPr/>
          </p:nvSpPr>
          <p:spPr bwMode="auto">
            <a:xfrm>
              <a:off x="4225" y="2038"/>
              <a:ext cx="13" cy="19"/>
            </a:xfrm>
            <a:custGeom>
              <a:avLst/>
              <a:gdLst>
                <a:gd name="T0" fmla="*/ 15 w 17"/>
                <a:gd name="T1" fmla="*/ 12 h 25"/>
                <a:gd name="T2" fmla="*/ 15 w 17"/>
                <a:gd name="T3" fmla="*/ 2 h 25"/>
                <a:gd name="T4" fmla="*/ 8 w 17"/>
                <a:gd name="T5" fmla="*/ 7 h 25"/>
                <a:gd name="T6" fmla="*/ 4 w 17"/>
                <a:gd name="T7" fmla="*/ 17 h 25"/>
                <a:gd name="T8" fmla="*/ 8 w 17"/>
                <a:gd name="T9" fmla="*/ 25 h 25"/>
                <a:gd name="T10" fmla="*/ 8 w 17"/>
                <a:gd name="T11" fmla="*/ 25 h 25"/>
                <a:gd name="T12" fmla="*/ 15 w 17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25">
                  <a:moveTo>
                    <a:pt x="15" y="12"/>
                  </a:moveTo>
                  <a:cubicBezTo>
                    <a:pt x="16" y="9"/>
                    <a:pt x="17" y="3"/>
                    <a:pt x="15" y="2"/>
                  </a:cubicBezTo>
                  <a:cubicBezTo>
                    <a:pt x="11" y="0"/>
                    <a:pt x="8" y="8"/>
                    <a:pt x="8" y="7"/>
                  </a:cubicBezTo>
                  <a:cubicBezTo>
                    <a:pt x="0" y="4"/>
                    <a:pt x="3" y="13"/>
                    <a:pt x="4" y="17"/>
                  </a:cubicBezTo>
                  <a:cubicBezTo>
                    <a:pt x="5" y="21"/>
                    <a:pt x="6" y="23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5" y="22"/>
                    <a:pt x="15" y="19"/>
                    <a:pt x="15" y="12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43" name="Freeform 202"/>
            <p:cNvSpPr>
              <a:spLocks/>
            </p:cNvSpPr>
            <p:nvPr/>
          </p:nvSpPr>
          <p:spPr bwMode="auto">
            <a:xfrm>
              <a:off x="4266" y="2092"/>
              <a:ext cx="30" cy="21"/>
            </a:xfrm>
            <a:custGeom>
              <a:avLst/>
              <a:gdLst>
                <a:gd name="T0" fmla="*/ 0 w 41"/>
                <a:gd name="T1" fmla="*/ 11 h 28"/>
                <a:gd name="T2" fmla="*/ 15 w 41"/>
                <a:gd name="T3" fmla="*/ 18 h 28"/>
                <a:gd name="T4" fmla="*/ 30 w 41"/>
                <a:gd name="T5" fmla="*/ 26 h 28"/>
                <a:gd name="T6" fmla="*/ 38 w 41"/>
                <a:gd name="T7" fmla="*/ 26 h 28"/>
                <a:gd name="T8" fmla="*/ 36 w 41"/>
                <a:gd name="T9" fmla="*/ 18 h 28"/>
                <a:gd name="T10" fmla="*/ 41 w 41"/>
                <a:gd name="T11" fmla="*/ 2 h 28"/>
                <a:gd name="T12" fmla="*/ 24 w 41"/>
                <a:gd name="T13" fmla="*/ 7 h 28"/>
                <a:gd name="T14" fmla="*/ 7 w 41"/>
                <a:gd name="T15" fmla="*/ 4 h 28"/>
                <a:gd name="T16" fmla="*/ 10 w 41"/>
                <a:gd name="T17" fmla="*/ 4 h 28"/>
                <a:gd name="T18" fmla="*/ 0 w 41"/>
                <a:gd name="T19" fmla="*/ 11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28">
                  <a:moveTo>
                    <a:pt x="0" y="11"/>
                  </a:moveTo>
                  <a:cubicBezTo>
                    <a:pt x="6" y="11"/>
                    <a:pt x="10" y="15"/>
                    <a:pt x="15" y="18"/>
                  </a:cubicBezTo>
                  <a:cubicBezTo>
                    <a:pt x="20" y="20"/>
                    <a:pt x="25" y="23"/>
                    <a:pt x="30" y="26"/>
                  </a:cubicBezTo>
                  <a:cubicBezTo>
                    <a:pt x="31" y="26"/>
                    <a:pt x="37" y="28"/>
                    <a:pt x="38" y="26"/>
                  </a:cubicBezTo>
                  <a:cubicBezTo>
                    <a:pt x="41" y="24"/>
                    <a:pt x="37" y="21"/>
                    <a:pt x="36" y="18"/>
                  </a:cubicBezTo>
                  <a:cubicBezTo>
                    <a:pt x="35" y="11"/>
                    <a:pt x="41" y="8"/>
                    <a:pt x="41" y="2"/>
                  </a:cubicBezTo>
                  <a:cubicBezTo>
                    <a:pt x="34" y="0"/>
                    <a:pt x="31" y="7"/>
                    <a:pt x="24" y="7"/>
                  </a:cubicBezTo>
                  <a:cubicBezTo>
                    <a:pt x="19" y="8"/>
                    <a:pt x="14" y="4"/>
                    <a:pt x="7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5" y="0"/>
                    <a:pt x="0" y="5"/>
                    <a:pt x="0" y="11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44" name="Freeform 203"/>
            <p:cNvSpPr>
              <a:spLocks/>
            </p:cNvSpPr>
            <p:nvPr/>
          </p:nvSpPr>
          <p:spPr bwMode="auto">
            <a:xfrm>
              <a:off x="4593" y="1422"/>
              <a:ext cx="26" cy="11"/>
            </a:xfrm>
            <a:custGeom>
              <a:avLst/>
              <a:gdLst>
                <a:gd name="T0" fmla="*/ 9 w 34"/>
                <a:gd name="T1" fmla="*/ 10 h 14"/>
                <a:gd name="T2" fmla="*/ 14 w 34"/>
                <a:gd name="T3" fmla="*/ 12 h 14"/>
                <a:gd name="T4" fmla="*/ 17 w 34"/>
                <a:gd name="T5" fmla="*/ 12 h 14"/>
                <a:gd name="T6" fmla="*/ 24 w 34"/>
                <a:gd name="T7" fmla="*/ 7 h 14"/>
                <a:gd name="T8" fmla="*/ 33 w 34"/>
                <a:gd name="T9" fmla="*/ 3 h 14"/>
                <a:gd name="T10" fmla="*/ 25 w 34"/>
                <a:gd name="T11" fmla="*/ 3 h 14"/>
                <a:gd name="T12" fmla="*/ 18 w 34"/>
                <a:gd name="T13" fmla="*/ 6 h 14"/>
                <a:gd name="T14" fmla="*/ 11 w 34"/>
                <a:gd name="T15" fmla="*/ 5 h 14"/>
                <a:gd name="T16" fmla="*/ 1 w 34"/>
                <a:gd name="T17" fmla="*/ 8 h 14"/>
                <a:gd name="T18" fmla="*/ 9 w 34"/>
                <a:gd name="T19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14">
                  <a:moveTo>
                    <a:pt x="9" y="10"/>
                  </a:moveTo>
                  <a:cubicBezTo>
                    <a:pt x="11" y="12"/>
                    <a:pt x="10" y="13"/>
                    <a:pt x="14" y="12"/>
                  </a:cubicBezTo>
                  <a:cubicBezTo>
                    <a:pt x="17" y="12"/>
                    <a:pt x="14" y="14"/>
                    <a:pt x="17" y="12"/>
                  </a:cubicBezTo>
                  <a:cubicBezTo>
                    <a:pt x="20" y="9"/>
                    <a:pt x="21" y="7"/>
                    <a:pt x="24" y="7"/>
                  </a:cubicBezTo>
                  <a:cubicBezTo>
                    <a:pt x="28" y="8"/>
                    <a:pt x="34" y="5"/>
                    <a:pt x="33" y="3"/>
                  </a:cubicBezTo>
                  <a:cubicBezTo>
                    <a:pt x="30" y="0"/>
                    <a:pt x="27" y="1"/>
                    <a:pt x="25" y="3"/>
                  </a:cubicBezTo>
                  <a:cubicBezTo>
                    <a:pt x="24" y="5"/>
                    <a:pt x="21" y="5"/>
                    <a:pt x="18" y="6"/>
                  </a:cubicBezTo>
                  <a:cubicBezTo>
                    <a:pt x="14" y="6"/>
                    <a:pt x="14" y="5"/>
                    <a:pt x="11" y="5"/>
                  </a:cubicBezTo>
                  <a:cubicBezTo>
                    <a:pt x="9" y="6"/>
                    <a:pt x="0" y="5"/>
                    <a:pt x="1" y="8"/>
                  </a:cubicBezTo>
                  <a:cubicBezTo>
                    <a:pt x="1" y="11"/>
                    <a:pt x="7" y="7"/>
                    <a:pt x="9" y="10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45" name="Freeform 204"/>
            <p:cNvSpPr>
              <a:spLocks/>
            </p:cNvSpPr>
            <p:nvPr/>
          </p:nvSpPr>
          <p:spPr bwMode="auto">
            <a:xfrm>
              <a:off x="4610" y="1433"/>
              <a:ext cx="8" cy="6"/>
            </a:xfrm>
            <a:custGeom>
              <a:avLst/>
              <a:gdLst>
                <a:gd name="T0" fmla="*/ 0 w 10"/>
                <a:gd name="T1" fmla="*/ 4 h 9"/>
                <a:gd name="T2" fmla="*/ 6 w 10"/>
                <a:gd name="T3" fmla="*/ 8 h 9"/>
                <a:gd name="T4" fmla="*/ 7 w 10"/>
                <a:gd name="T5" fmla="*/ 2 h 9"/>
                <a:gd name="T6" fmla="*/ 0 w 10"/>
                <a:gd name="T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0" y="4"/>
                    <a:pt x="3" y="6"/>
                    <a:pt x="6" y="8"/>
                  </a:cubicBezTo>
                  <a:cubicBezTo>
                    <a:pt x="8" y="9"/>
                    <a:pt x="10" y="7"/>
                    <a:pt x="7" y="2"/>
                  </a:cubicBezTo>
                  <a:cubicBezTo>
                    <a:pt x="5" y="0"/>
                    <a:pt x="2" y="3"/>
                    <a:pt x="0" y="4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46" name="Freeform 205"/>
            <p:cNvSpPr>
              <a:spLocks/>
            </p:cNvSpPr>
            <p:nvPr/>
          </p:nvSpPr>
          <p:spPr bwMode="auto">
            <a:xfrm>
              <a:off x="4618" y="1421"/>
              <a:ext cx="42" cy="21"/>
            </a:xfrm>
            <a:custGeom>
              <a:avLst/>
              <a:gdLst>
                <a:gd name="T0" fmla="*/ 2 w 56"/>
                <a:gd name="T1" fmla="*/ 16 h 28"/>
                <a:gd name="T2" fmla="*/ 5 w 56"/>
                <a:gd name="T3" fmla="*/ 17 h 28"/>
                <a:gd name="T4" fmla="*/ 2 w 56"/>
                <a:gd name="T5" fmla="*/ 20 h 28"/>
                <a:gd name="T6" fmla="*/ 1 w 56"/>
                <a:gd name="T7" fmla="*/ 22 h 28"/>
                <a:gd name="T8" fmla="*/ 2 w 56"/>
                <a:gd name="T9" fmla="*/ 25 h 28"/>
                <a:gd name="T10" fmla="*/ 4 w 56"/>
                <a:gd name="T11" fmla="*/ 27 h 28"/>
                <a:gd name="T12" fmla="*/ 10 w 56"/>
                <a:gd name="T13" fmla="*/ 26 h 28"/>
                <a:gd name="T14" fmla="*/ 14 w 56"/>
                <a:gd name="T15" fmla="*/ 26 h 28"/>
                <a:gd name="T16" fmla="*/ 19 w 56"/>
                <a:gd name="T17" fmla="*/ 24 h 28"/>
                <a:gd name="T18" fmla="*/ 18 w 56"/>
                <a:gd name="T19" fmla="*/ 19 h 28"/>
                <a:gd name="T20" fmla="*/ 21 w 56"/>
                <a:gd name="T21" fmla="*/ 18 h 28"/>
                <a:gd name="T22" fmla="*/ 30 w 56"/>
                <a:gd name="T23" fmla="*/ 18 h 28"/>
                <a:gd name="T24" fmla="*/ 32 w 56"/>
                <a:gd name="T25" fmla="*/ 16 h 28"/>
                <a:gd name="T26" fmla="*/ 35 w 56"/>
                <a:gd name="T27" fmla="*/ 14 h 28"/>
                <a:gd name="T28" fmla="*/ 41 w 56"/>
                <a:gd name="T29" fmla="*/ 13 h 28"/>
                <a:gd name="T30" fmla="*/ 46 w 56"/>
                <a:gd name="T31" fmla="*/ 12 h 28"/>
                <a:gd name="T32" fmla="*/ 51 w 56"/>
                <a:gd name="T33" fmla="*/ 12 h 28"/>
                <a:gd name="T34" fmla="*/ 56 w 56"/>
                <a:gd name="T35" fmla="*/ 7 h 28"/>
                <a:gd name="T36" fmla="*/ 53 w 56"/>
                <a:gd name="T37" fmla="*/ 6 h 28"/>
                <a:gd name="T38" fmla="*/ 49 w 56"/>
                <a:gd name="T39" fmla="*/ 4 h 28"/>
                <a:gd name="T40" fmla="*/ 48 w 56"/>
                <a:gd name="T41" fmla="*/ 3 h 28"/>
                <a:gd name="T42" fmla="*/ 44 w 56"/>
                <a:gd name="T43" fmla="*/ 1 h 28"/>
                <a:gd name="T44" fmla="*/ 41 w 56"/>
                <a:gd name="T45" fmla="*/ 3 h 28"/>
                <a:gd name="T46" fmla="*/ 38 w 56"/>
                <a:gd name="T47" fmla="*/ 1 h 28"/>
                <a:gd name="T48" fmla="*/ 26 w 56"/>
                <a:gd name="T49" fmla="*/ 2 h 28"/>
                <a:gd name="T50" fmla="*/ 23 w 56"/>
                <a:gd name="T51" fmla="*/ 6 h 28"/>
                <a:gd name="T52" fmla="*/ 24 w 56"/>
                <a:gd name="T53" fmla="*/ 9 h 28"/>
                <a:gd name="T54" fmla="*/ 22 w 56"/>
                <a:gd name="T55" fmla="*/ 11 h 28"/>
                <a:gd name="T56" fmla="*/ 19 w 56"/>
                <a:gd name="T57" fmla="*/ 12 h 28"/>
                <a:gd name="T58" fmla="*/ 14 w 56"/>
                <a:gd name="T59" fmla="*/ 12 h 28"/>
                <a:gd name="T60" fmla="*/ 16 w 56"/>
                <a:gd name="T61" fmla="*/ 10 h 28"/>
                <a:gd name="T62" fmla="*/ 14 w 56"/>
                <a:gd name="T63" fmla="*/ 6 h 28"/>
                <a:gd name="T64" fmla="*/ 9 w 56"/>
                <a:gd name="T65" fmla="*/ 5 h 28"/>
                <a:gd name="T66" fmla="*/ 5 w 56"/>
                <a:gd name="T67" fmla="*/ 5 h 28"/>
                <a:gd name="T68" fmla="*/ 6 w 56"/>
                <a:gd name="T69" fmla="*/ 8 h 28"/>
                <a:gd name="T70" fmla="*/ 7 w 56"/>
                <a:gd name="T71" fmla="*/ 10 h 28"/>
                <a:gd name="T72" fmla="*/ 9 w 56"/>
                <a:gd name="T73" fmla="*/ 11 h 28"/>
                <a:gd name="T74" fmla="*/ 5 w 56"/>
                <a:gd name="T75" fmla="*/ 13 h 28"/>
                <a:gd name="T76" fmla="*/ 1 w 56"/>
                <a:gd name="T77" fmla="*/ 14 h 28"/>
                <a:gd name="T78" fmla="*/ 2 w 56"/>
                <a:gd name="T79" fmla="*/ 16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" h="28">
                  <a:moveTo>
                    <a:pt x="2" y="16"/>
                  </a:moveTo>
                  <a:cubicBezTo>
                    <a:pt x="3" y="16"/>
                    <a:pt x="4" y="17"/>
                    <a:pt x="5" y="17"/>
                  </a:cubicBezTo>
                  <a:cubicBezTo>
                    <a:pt x="5" y="17"/>
                    <a:pt x="3" y="19"/>
                    <a:pt x="2" y="20"/>
                  </a:cubicBezTo>
                  <a:cubicBezTo>
                    <a:pt x="1" y="22"/>
                    <a:pt x="2" y="21"/>
                    <a:pt x="1" y="22"/>
                  </a:cubicBezTo>
                  <a:cubicBezTo>
                    <a:pt x="1" y="23"/>
                    <a:pt x="2" y="24"/>
                    <a:pt x="2" y="25"/>
                  </a:cubicBezTo>
                  <a:cubicBezTo>
                    <a:pt x="2" y="25"/>
                    <a:pt x="3" y="26"/>
                    <a:pt x="4" y="27"/>
                  </a:cubicBezTo>
                  <a:cubicBezTo>
                    <a:pt x="6" y="28"/>
                    <a:pt x="8" y="27"/>
                    <a:pt x="10" y="26"/>
                  </a:cubicBezTo>
                  <a:cubicBezTo>
                    <a:pt x="11" y="26"/>
                    <a:pt x="12" y="26"/>
                    <a:pt x="14" y="26"/>
                  </a:cubicBezTo>
                  <a:cubicBezTo>
                    <a:pt x="16" y="26"/>
                    <a:pt x="17" y="25"/>
                    <a:pt x="19" y="24"/>
                  </a:cubicBezTo>
                  <a:cubicBezTo>
                    <a:pt x="20" y="23"/>
                    <a:pt x="19" y="22"/>
                    <a:pt x="18" y="19"/>
                  </a:cubicBezTo>
                  <a:cubicBezTo>
                    <a:pt x="18" y="16"/>
                    <a:pt x="20" y="18"/>
                    <a:pt x="21" y="18"/>
                  </a:cubicBezTo>
                  <a:cubicBezTo>
                    <a:pt x="23" y="17"/>
                    <a:pt x="26" y="17"/>
                    <a:pt x="30" y="18"/>
                  </a:cubicBezTo>
                  <a:cubicBezTo>
                    <a:pt x="33" y="18"/>
                    <a:pt x="31" y="17"/>
                    <a:pt x="32" y="16"/>
                  </a:cubicBezTo>
                  <a:cubicBezTo>
                    <a:pt x="34" y="14"/>
                    <a:pt x="34" y="15"/>
                    <a:pt x="35" y="14"/>
                  </a:cubicBezTo>
                  <a:cubicBezTo>
                    <a:pt x="36" y="13"/>
                    <a:pt x="39" y="13"/>
                    <a:pt x="41" y="13"/>
                  </a:cubicBezTo>
                  <a:cubicBezTo>
                    <a:pt x="43" y="14"/>
                    <a:pt x="45" y="13"/>
                    <a:pt x="46" y="12"/>
                  </a:cubicBezTo>
                  <a:cubicBezTo>
                    <a:pt x="46" y="12"/>
                    <a:pt x="49" y="12"/>
                    <a:pt x="51" y="12"/>
                  </a:cubicBezTo>
                  <a:cubicBezTo>
                    <a:pt x="52" y="11"/>
                    <a:pt x="55" y="9"/>
                    <a:pt x="56" y="7"/>
                  </a:cubicBezTo>
                  <a:cubicBezTo>
                    <a:pt x="56" y="6"/>
                    <a:pt x="54" y="6"/>
                    <a:pt x="53" y="6"/>
                  </a:cubicBezTo>
                  <a:cubicBezTo>
                    <a:pt x="52" y="6"/>
                    <a:pt x="50" y="5"/>
                    <a:pt x="49" y="4"/>
                  </a:cubicBezTo>
                  <a:cubicBezTo>
                    <a:pt x="48" y="3"/>
                    <a:pt x="48" y="4"/>
                    <a:pt x="48" y="3"/>
                  </a:cubicBezTo>
                  <a:cubicBezTo>
                    <a:pt x="47" y="2"/>
                    <a:pt x="46" y="1"/>
                    <a:pt x="44" y="1"/>
                  </a:cubicBezTo>
                  <a:cubicBezTo>
                    <a:pt x="41" y="0"/>
                    <a:pt x="43" y="2"/>
                    <a:pt x="41" y="3"/>
                  </a:cubicBezTo>
                  <a:cubicBezTo>
                    <a:pt x="40" y="3"/>
                    <a:pt x="39" y="2"/>
                    <a:pt x="38" y="1"/>
                  </a:cubicBezTo>
                  <a:cubicBezTo>
                    <a:pt x="36" y="1"/>
                    <a:pt x="28" y="2"/>
                    <a:pt x="26" y="2"/>
                  </a:cubicBezTo>
                  <a:cubicBezTo>
                    <a:pt x="25" y="3"/>
                    <a:pt x="24" y="3"/>
                    <a:pt x="23" y="6"/>
                  </a:cubicBezTo>
                  <a:cubicBezTo>
                    <a:pt x="21" y="10"/>
                    <a:pt x="24" y="8"/>
                    <a:pt x="24" y="9"/>
                  </a:cubicBezTo>
                  <a:cubicBezTo>
                    <a:pt x="24" y="10"/>
                    <a:pt x="23" y="10"/>
                    <a:pt x="22" y="11"/>
                  </a:cubicBezTo>
                  <a:cubicBezTo>
                    <a:pt x="22" y="12"/>
                    <a:pt x="21" y="12"/>
                    <a:pt x="19" y="12"/>
                  </a:cubicBezTo>
                  <a:cubicBezTo>
                    <a:pt x="17" y="12"/>
                    <a:pt x="17" y="13"/>
                    <a:pt x="14" y="12"/>
                  </a:cubicBezTo>
                  <a:cubicBezTo>
                    <a:pt x="12" y="11"/>
                    <a:pt x="15" y="11"/>
                    <a:pt x="16" y="10"/>
                  </a:cubicBezTo>
                  <a:cubicBezTo>
                    <a:pt x="17" y="8"/>
                    <a:pt x="15" y="9"/>
                    <a:pt x="14" y="6"/>
                  </a:cubicBezTo>
                  <a:cubicBezTo>
                    <a:pt x="14" y="4"/>
                    <a:pt x="11" y="5"/>
                    <a:pt x="9" y="5"/>
                  </a:cubicBezTo>
                  <a:cubicBezTo>
                    <a:pt x="7" y="4"/>
                    <a:pt x="6" y="4"/>
                    <a:pt x="5" y="5"/>
                  </a:cubicBezTo>
                  <a:cubicBezTo>
                    <a:pt x="3" y="6"/>
                    <a:pt x="5" y="7"/>
                    <a:pt x="6" y="8"/>
                  </a:cubicBezTo>
                  <a:cubicBezTo>
                    <a:pt x="6" y="10"/>
                    <a:pt x="7" y="9"/>
                    <a:pt x="7" y="10"/>
                  </a:cubicBezTo>
                  <a:cubicBezTo>
                    <a:pt x="8" y="11"/>
                    <a:pt x="9" y="11"/>
                    <a:pt x="9" y="11"/>
                  </a:cubicBezTo>
                  <a:cubicBezTo>
                    <a:pt x="9" y="12"/>
                    <a:pt x="6" y="13"/>
                    <a:pt x="5" y="13"/>
                  </a:cubicBezTo>
                  <a:cubicBezTo>
                    <a:pt x="5" y="13"/>
                    <a:pt x="3" y="13"/>
                    <a:pt x="1" y="14"/>
                  </a:cubicBezTo>
                  <a:cubicBezTo>
                    <a:pt x="0" y="14"/>
                    <a:pt x="1" y="15"/>
                    <a:pt x="2" y="1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47" name="Freeform 206"/>
            <p:cNvSpPr>
              <a:spLocks/>
            </p:cNvSpPr>
            <p:nvPr/>
          </p:nvSpPr>
          <p:spPr bwMode="auto">
            <a:xfrm>
              <a:off x="4639" y="1436"/>
              <a:ext cx="6" cy="6"/>
            </a:xfrm>
            <a:custGeom>
              <a:avLst/>
              <a:gdLst>
                <a:gd name="T0" fmla="*/ 6 w 8"/>
                <a:gd name="T1" fmla="*/ 5 h 7"/>
                <a:gd name="T2" fmla="*/ 8 w 8"/>
                <a:gd name="T3" fmla="*/ 2 h 7"/>
                <a:gd name="T4" fmla="*/ 7 w 8"/>
                <a:gd name="T5" fmla="*/ 1 h 7"/>
                <a:gd name="T6" fmla="*/ 3 w 8"/>
                <a:gd name="T7" fmla="*/ 0 h 7"/>
                <a:gd name="T8" fmla="*/ 0 w 8"/>
                <a:gd name="T9" fmla="*/ 3 h 7"/>
                <a:gd name="T10" fmla="*/ 2 w 8"/>
                <a:gd name="T11" fmla="*/ 6 h 7"/>
                <a:gd name="T12" fmla="*/ 6 w 8"/>
                <a:gd name="T1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7">
                  <a:moveTo>
                    <a:pt x="6" y="5"/>
                  </a:moveTo>
                  <a:cubicBezTo>
                    <a:pt x="7" y="3"/>
                    <a:pt x="8" y="2"/>
                    <a:pt x="8" y="2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0" y="2"/>
                    <a:pt x="0" y="3"/>
                  </a:cubicBezTo>
                  <a:cubicBezTo>
                    <a:pt x="0" y="5"/>
                    <a:pt x="0" y="6"/>
                    <a:pt x="2" y="6"/>
                  </a:cubicBezTo>
                  <a:cubicBezTo>
                    <a:pt x="3" y="6"/>
                    <a:pt x="5" y="7"/>
                    <a:pt x="6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48" name="Freeform 207"/>
            <p:cNvSpPr>
              <a:spLocks/>
            </p:cNvSpPr>
            <p:nvPr/>
          </p:nvSpPr>
          <p:spPr bwMode="auto">
            <a:xfrm>
              <a:off x="4645" y="1439"/>
              <a:ext cx="12" cy="6"/>
            </a:xfrm>
            <a:custGeom>
              <a:avLst/>
              <a:gdLst>
                <a:gd name="T0" fmla="*/ 5 w 16"/>
                <a:gd name="T1" fmla="*/ 6 h 8"/>
                <a:gd name="T2" fmla="*/ 8 w 16"/>
                <a:gd name="T3" fmla="*/ 8 h 8"/>
                <a:gd name="T4" fmla="*/ 13 w 16"/>
                <a:gd name="T5" fmla="*/ 8 h 8"/>
                <a:gd name="T6" fmla="*/ 15 w 16"/>
                <a:gd name="T7" fmla="*/ 7 h 8"/>
                <a:gd name="T8" fmla="*/ 15 w 16"/>
                <a:gd name="T9" fmla="*/ 2 h 8"/>
                <a:gd name="T10" fmla="*/ 12 w 16"/>
                <a:gd name="T11" fmla="*/ 1 h 8"/>
                <a:gd name="T12" fmla="*/ 6 w 16"/>
                <a:gd name="T13" fmla="*/ 3 h 8"/>
                <a:gd name="T14" fmla="*/ 3 w 16"/>
                <a:gd name="T15" fmla="*/ 4 h 8"/>
                <a:gd name="T16" fmla="*/ 1 w 16"/>
                <a:gd name="T17" fmla="*/ 5 h 8"/>
                <a:gd name="T18" fmla="*/ 5 w 16"/>
                <a:gd name="T19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8">
                  <a:moveTo>
                    <a:pt x="5" y="6"/>
                  </a:moveTo>
                  <a:cubicBezTo>
                    <a:pt x="6" y="7"/>
                    <a:pt x="7" y="7"/>
                    <a:pt x="8" y="8"/>
                  </a:cubicBezTo>
                  <a:cubicBezTo>
                    <a:pt x="10" y="8"/>
                    <a:pt x="12" y="8"/>
                    <a:pt x="13" y="8"/>
                  </a:cubicBezTo>
                  <a:cubicBezTo>
                    <a:pt x="13" y="8"/>
                    <a:pt x="15" y="7"/>
                    <a:pt x="15" y="7"/>
                  </a:cubicBezTo>
                  <a:cubicBezTo>
                    <a:pt x="16" y="7"/>
                    <a:pt x="16" y="3"/>
                    <a:pt x="15" y="2"/>
                  </a:cubicBezTo>
                  <a:cubicBezTo>
                    <a:pt x="14" y="1"/>
                    <a:pt x="14" y="0"/>
                    <a:pt x="12" y="1"/>
                  </a:cubicBezTo>
                  <a:cubicBezTo>
                    <a:pt x="10" y="1"/>
                    <a:pt x="7" y="2"/>
                    <a:pt x="6" y="3"/>
                  </a:cubicBezTo>
                  <a:cubicBezTo>
                    <a:pt x="6" y="4"/>
                    <a:pt x="5" y="4"/>
                    <a:pt x="3" y="4"/>
                  </a:cubicBezTo>
                  <a:cubicBezTo>
                    <a:pt x="2" y="5"/>
                    <a:pt x="0" y="5"/>
                    <a:pt x="1" y="5"/>
                  </a:cubicBezTo>
                  <a:cubicBezTo>
                    <a:pt x="2" y="6"/>
                    <a:pt x="3" y="6"/>
                    <a:pt x="5" y="6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49" name="Freeform 208"/>
            <p:cNvSpPr>
              <a:spLocks/>
            </p:cNvSpPr>
            <p:nvPr/>
          </p:nvSpPr>
          <p:spPr bwMode="auto">
            <a:xfrm>
              <a:off x="4666" y="1433"/>
              <a:ext cx="16" cy="7"/>
            </a:xfrm>
            <a:custGeom>
              <a:avLst/>
              <a:gdLst>
                <a:gd name="T0" fmla="*/ 6 w 21"/>
                <a:gd name="T1" fmla="*/ 8 h 10"/>
                <a:gd name="T2" fmla="*/ 6 w 21"/>
                <a:gd name="T3" fmla="*/ 9 h 10"/>
                <a:gd name="T4" fmla="*/ 16 w 21"/>
                <a:gd name="T5" fmla="*/ 9 h 10"/>
                <a:gd name="T6" fmla="*/ 19 w 21"/>
                <a:gd name="T7" fmla="*/ 6 h 10"/>
                <a:gd name="T8" fmla="*/ 18 w 21"/>
                <a:gd name="T9" fmla="*/ 4 h 10"/>
                <a:gd name="T10" fmla="*/ 16 w 21"/>
                <a:gd name="T11" fmla="*/ 1 h 10"/>
                <a:gd name="T12" fmla="*/ 13 w 21"/>
                <a:gd name="T13" fmla="*/ 0 h 10"/>
                <a:gd name="T14" fmla="*/ 9 w 21"/>
                <a:gd name="T15" fmla="*/ 0 h 10"/>
                <a:gd name="T16" fmla="*/ 5 w 21"/>
                <a:gd name="T17" fmla="*/ 2 h 10"/>
                <a:gd name="T18" fmla="*/ 0 w 21"/>
                <a:gd name="T19" fmla="*/ 6 h 10"/>
                <a:gd name="T20" fmla="*/ 6 w 21"/>
                <a:gd name="T21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" h="10">
                  <a:moveTo>
                    <a:pt x="6" y="8"/>
                  </a:moveTo>
                  <a:cubicBezTo>
                    <a:pt x="8" y="8"/>
                    <a:pt x="6" y="9"/>
                    <a:pt x="6" y="9"/>
                  </a:cubicBezTo>
                  <a:cubicBezTo>
                    <a:pt x="6" y="10"/>
                    <a:pt x="10" y="9"/>
                    <a:pt x="16" y="9"/>
                  </a:cubicBezTo>
                  <a:cubicBezTo>
                    <a:pt x="21" y="9"/>
                    <a:pt x="18" y="7"/>
                    <a:pt x="19" y="6"/>
                  </a:cubicBezTo>
                  <a:cubicBezTo>
                    <a:pt x="20" y="5"/>
                    <a:pt x="18" y="5"/>
                    <a:pt x="18" y="4"/>
                  </a:cubicBezTo>
                  <a:cubicBezTo>
                    <a:pt x="17" y="3"/>
                    <a:pt x="17" y="2"/>
                    <a:pt x="16" y="1"/>
                  </a:cubicBezTo>
                  <a:cubicBezTo>
                    <a:pt x="15" y="1"/>
                    <a:pt x="15" y="0"/>
                    <a:pt x="13" y="0"/>
                  </a:cubicBezTo>
                  <a:cubicBezTo>
                    <a:pt x="10" y="0"/>
                    <a:pt x="10" y="0"/>
                    <a:pt x="9" y="0"/>
                  </a:cubicBezTo>
                  <a:cubicBezTo>
                    <a:pt x="7" y="1"/>
                    <a:pt x="7" y="0"/>
                    <a:pt x="5" y="2"/>
                  </a:cubicBezTo>
                  <a:cubicBezTo>
                    <a:pt x="4" y="3"/>
                    <a:pt x="0" y="5"/>
                    <a:pt x="0" y="6"/>
                  </a:cubicBezTo>
                  <a:cubicBezTo>
                    <a:pt x="1" y="8"/>
                    <a:pt x="4" y="8"/>
                    <a:pt x="6" y="8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50" name="Freeform 209"/>
            <p:cNvSpPr>
              <a:spLocks/>
            </p:cNvSpPr>
            <p:nvPr/>
          </p:nvSpPr>
          <p:spPr bwMode="auto">
            <a:xfrm>
              <a:off x="4645" y="1416"/>
              <a:ext cx="9" cy="3"/>
            </a:xfrm>
            <a:custGeom>
              <a:avLst/>
              <a:gdLst>
                <a:gd name="T0" fmla="*/ 2 w 11"/>
                <a:gd name="T1" fmla="*/ 5 h 5"/>
                <a:gd name="T2" fmla="*/ 6 w 11"/>
                <a:gd name="T3" fmla="*/ 3 h 5"/>
                <a:gd name="T4" fmla="*/ 10 w 11"/>
                <a:gd name="T5" fmla="*/ 2 h 5"/>
                <a:gd name="T6" fmla="*/ 8 w 11"/>
                <a:gd name="T7" fmla="*/ 0 h 5"/>
                <a:gd name="T8" fmla="*/ 1 w 11"/>
                <a:gd name="T9" fmla="*/ 1 h 5"/>
                <a:gd name="T10" fmla="*/ 2 w 11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">
                  <a:moveTo>
                    <a:pt x="2" y="5"/>
                  </a:moveTo>
                  <a:cubicBezTo>
                    <a:pt x="4" y="5"/>
                    <a:pt x="5" y="3"/>
                    <a:pt x="6" y="3"/>
                  </a:cubicBezTo>
                  <a:cubicBezTo>
                    <a:pt x="6" y="2"/>
                    <a:pt x="9" y="2"/>
                    <a:pt x="10" y="2"/>
                  </a:cubicBezTo>
                  <a:cubicBezTo>
                    <a:pt x="11" y="2"/>
                    <a:pt x="9" y="0"/>
                    <a:pt x="8" y="0"/>
                  </a:cubicBezTo>
                  <a:cubicBezTo>
                    <a:pt x="6" y="0"/>
                    <a:pt x="2" y="0"/>
                    <a:pt x="1" y="1"/>
                  </a:cubicBezTo>
                  <a:cubicBezTo>
                    <a:pt x="0" y="1"/>
                    <a:pt x="1" y="5"/>
                    <a:pt x="2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251" name="Freeform 210"/>
            <p:cNvSpPr>
              <a:spLocks/>
            </p:cNvSpPr>
            <p:nvPr/>
          </p:nvSpPr>
          <p:spPr bwMode="auto">
            <a:xfrm>
              <a:off x="4680" y="1428"/>
              <a:ext cx="6" cy="5"/>
            </a:xfrm>
            <a:custGeom>
              <a:avLst/>
              <a:gdLst>
                <a:gd name="T0" fmla="*/ 2 w 8"/>
                <a:gd name="T1" fmla="*/ 5 h 6"/>
                <a:gd name="T2" fmla="*/ 8 w 8"/>
                <a:gd name="T3" fmla="*/ 4 h 6"/>
                <a:gd name="T4" fmla="*/ 2 w 8"/>
                <a:gd name="T5" fmla="*/ 1 h 6"/>
                <a:gd name="T6" fmla="*/ 2 w 8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6">
                  <a:moveTo>
                    <a:pt x="2" y="5"/>
                  </a:moveTo>
                  <a:cubicBezTo>
                    <a:pt x="4" y="6"/>
                    <a:pt x="8" y="6"/>
                    <a:pt x="8" y="4"/>
                  </a:cubicBezTo>
                  <a:cubicBezTo>
                    <a:pt x="8" y="2"/>
                    <a:pt x="3" y="0"/>
                    <a:pt x="2" y="1"/>
                  </a:cubicBezTo>
                  <a:cubicBezTo>
                    <a:pt x="0" y="2"/>
                    <a:pt x="0" y="4"/>
                    <a:pt x="2" y="5"/>
                  </a:cubicBezTo>
                  <a:close/>
                </a:path>
              </a:pathLst>
            </a:custGeom>
            <a:solidFill>
              <a:srgbClr val="6FB9E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grpSp>
        <p:nvGrpSpPr>
          <p:cNvPr id="255" name="Agrupar 254"/>
          <p:cNvGrpSpPr/>
          <p:nvPr/>
        </p:nvGrpSpPr>
        <p:grpSpPr>
          <a:xfrm>
            <a:off x="9876214" y="3346083"/>
            <a:ext cx="514696" cy="533535"/>
            <a:chOff x="8360943" y="1645214"/>
            <a:chExt cx="2207432" cy="2209822"/>
          </a:xfrm>
        </p:grpSpPr>
        <p:sp>
          <p:nvSpPr>
            <p:cNvPr id="256" name="Oval 20__"/>
            <p:cNvSpPr/>
            <p:nvPr/>
          </p:nvSpPr>
          <p:spPr>
            <a:xfrm>
              <a:off x="8360943" y="1645214"/>
              <a:ext cx="2207432" cy="2209822"/>
            </a:xfrm>
            <a:prstGeom prst="ellipse">
              <a:avLst/>
            </a:prstGeom>
            <a:solidFill>
              <a:srgbClr val="0E78C5"/>
            </a:solidFill>
            <a:ln w="9525" cap="flat" cmpd="sng" algn="ctr">
              <a:noFill/>
              <a:prstDash val="solid"/>
            </a:ln>
            <a:effectLst/>
          </p:spPr>
          <p:txBody>
            <a:bodyPr wrap="square" rtlCol="0" anchor="ctr" anchorCtr="0">
              <a:noAutofit/>
            </a:bodyPr>
            <a:lstStyle/>
            <a:p>
              <a:pPr algn="ctr">
                <a:lnSpc>
                  <a:spcPts val="1600"/>
                </a:lnSpc>
              </a:pPr>
              <a:endParaRPr lang="pt-BR" sz="1200" kern="0" dirty="0">
                <a:solidFill>
                  <a:schemeClr val="bg1"/>
                </a:solidFill>
                <a:latin typeface="Bosch Office Sans"/>
              </a:endParaRPr>
            </a:p>
          </p:txBody>
        </p:sp>
        <p:grpSp>
          <p:nvGrpSpPr>
            <p:cNvPr id="257" name="Gruppieren 9"/>
            <p:cNvGrpSpPr/>
            <p:nvPr/>
          </p:nvGrpSpPr>
          <p:grpSpPr>
            <a:xfrm>
              <a:off x="8861302" y="2134620"/>
              <a:ext cx="1208787" cy="1217613"/>
              <a:chOff x="8875774" y="2349501"/>
              <a:chExt cx="1208787" cy="1217613"/>
            </a:xfrm>
          </p:grpSpPr>
          <p:sp>
            <p:nvSpPr>
              <p:cNvPr id="258" name="Freeform 26"/>
              <p:cNvSpPr>
                <a:spLocks noEditPoints="1"/>
              </p:cNvSpPr>
              <p:nvPr/>
            </p:nvSpPr>
            <p:spPr bwMode="auto">
              <a:xfrm>
                <a:off x="8875774" y="2349501"/>
                <a:ext cx="638104" cy="821910"/>
              </a:xfrm>
              <a:custGeom>
                <a:avLst/>
                <a:gdLst>
                  <a:gd name="T0" fmla="*/ 335 w 335"/>
                  <a:gd name="T1" fmla="*/ 304 h 432"/>
                  <a:gd name="T2" fmla="*/ 241 w 335"/>
                  <a:gd name="T3" fmla="*/ 246 h 432"/>
                  <a:gd name="T4" fmla="*/ 320 w 335"/>
                  <a:gd name="T5" fmla="*/ 128 h 432"/>
                  <a:gd name="T6" fmla="*/ 192 w 335"/>
                  <a:gd name="T7" fmla="*/ 0 h 432"/>
                  <a:gd name="T8" fmla="*/ 64 w 335"/>
                  <a:gd name="T9" fmla="*/ 128 h 432"/>
                  <a:gd name="T10" fmla="*/ 143 w 335"/>
                  <a:gd name="T11" fmla="*/ 246 h 432"/>
                  <a:gd name="T12" fmla="*/ 0 w 335"/>
                  <a:gd name="T13" fmla="*/ 432 h 432"/>
                  <a:gd name="T14" fmla="*/ 32 w 335"/>
                  <a:gd name="T15" fmla="*/ 432 h 432"/>
                  <a:gd name="T16" fmla="*/ 192 w 335"/>
                  <a:gd name="T17" fmla="*/ 272 h 432"/>
                  <a:gd name="T18" fmla="*/ 288 w 335"/>
                  <a:gd name="T19" fmla="*/ 304 h 432"/>
                  <a:gd name="T20" fmla="*/ 335 w 335"/>
                  <a:gd name="T21" fmla="*/ 304 h 432"/>
                  <a:gd name="T22" fmla="*/ 96 w 335"/>
                  <a:gd name="T23" fmla="*/ 128 h 432"/>
                  <a:gd name="T24" fmla="*/ 192 w 335"/>
                  <a:gd name="T25" fmla="*/ 32 h 432"/>
                  <a:gd name="T26" fmla="*/ 288 w 335"/>
                  <a:gd name="T27" fmla="*/ 128 h 432"/>
                  <a:gd name="T28" fmla="*/ 192 w 335"/>
                  <a:gd name="T29" fmla="*/ 224 h 432"/>
                  <a:gd name="T30" fmla="*/ 96 w 335"/>
                  <a:gd name="T31" fmla="*/ 128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35" h="432">
                    <a:moveTo>
                      <a:pt x="335" y="304"/>
                    </a:moveTo>
                    <a:cubicBezTo>
                      <a:pt x="310" y="276"/>
                      <a:pt x="277" y="256"/>
                      <a:pt x="241" y="246"/>
                    </a:cubicBezTo>
                    <a:cubicBezTo>
                      <a:pt x="287" y="227"/>
                      <a:pt x="320" y="181"/>
                      <a:pt x="320" y="128"/>
                    </a:cubicBezTo>
                    <a:cubicBezTo>
                      <a:pt x="320" y="57"/>
                      <a:pt x="263" y="0"/>
                      <a:pt x="192" y="0"/>
                    </a:cubicBezTo>
                    <a:cubicBezTo>
                      <a:pt x="121" y="0"/>
                      <a:pt x="64" y="57"/>
                      <a:pt x="64" y="128"/>
                    </a:cubicBezTo>
                    <a:cubicBezTo>
                      <a:pt x="64" y="181"/>
                      <a:pt x="97" y="227"/>
                      <a:pt x="143" y="246"/>
                    </a:cubicBezTo>
                    <a:cubicBezTo>
                      <a:pt x="61" y="268"/>
                      <a:pt x="0" y="343"/>
                      <a:pt x="0" y="432"/>
                    </a:cubicBezTo>
                    <a:cubicBezTo>
                      <a:pt x="32" y="432"/>
                      <a:pt x="32" y="432"/>
                      <a:pt x="32" y="432"/>
                    </a:cubicBezTo>
                    <a:cubicBezTo>
                      <a:pt x="32" y="344"/>
                      <a:pt x="104" y="272"/>
                      <a:pt x="192" y="272"/>
                    </a:cubicBezTo>
                    <a:cubicBezTo>
                      <a:pt x="227" y="272"/>
                      <a:pt x="261" y="283"/>
                      <a:pt x="288" y="304"/>
                    </a:cubicBezTo>
                    <a:lnTo>
                      <a:pt x="335" y="304"/>
                    </a:lnTo>
                    <a:close/>
                    <a:moveTo>
                      <a:pt x="96" y="128"/>
                    </a:moveTo>
                    <a:cubicBezTo>
                      <a:pt x="96" y="75"/>
                      <a:pt x="139" y="32"/>
                      <a:pt x="192" y="32"/>
                    </a:cubicBezTo>
                    <a:cubicBezTo>
                      <a:pt x="245" y="32"/>
                      <a:pt x="288" y="75"/>
                      <a:pt x="288" y="128"/>
                    </a:cubicBezTo>
                    <a:cubicBezTo>
                      <a:pt x="288" y="181"/>
                      <a:pt x="245" y="224"/>
                      <a:pt x="192" y="224"/>
                    </a:cubicBezTo>
                    <a:cubicBezTo>
                      <a:pt x="139" y="224"/>
                      <a:pt x="96" y="181"/>
                      <a:pt x="96" y="128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59" name="Freeform 25"/>
              <p:cNvSpPr>
                <a:spLocks noEditPoints="1"/>
              </p:cNvSpPr>
              <p:nvPr/>
            </p:nvSpPr>
            <p:spPr bwMode="auto">
              <a:xfrm>
                <a:off x="9332481" y="2897707"/>
                <a:ext cx="752080" cy="669407"/>
              </a:xfrm>
              <a:custGeom>
                <a:avLst/>
                <a:gdLst>
                  <a:gd name="T0" fmla="*/ 363 w 395"/>
                  <a:gd name="T1" fmla="*/ 1 h 352"/>
                  <a:gd name="T2" fmla="*/ 352 w 395"/>
                  <a:gd name="T3" fmla="*/ 0 h 352"/>
                  <a:gd name="T4" fmla="*/ 306 w 395"/>
                  <a:gd name="T5" fmla="*/ 35 h 352"/>
                  <a:gd name="T6" fmla="*/ 302 w 395"/>
                  <a:gd name="T7" fmla="*/ 48 h 352"/>
                  <a:gd name="T8" fmla="*/ 48 w 395"/>
                  <a:gd name="T9" fmla="*/ 48 h 352"/>
                  <a:gd name="T10" fmla="*/ 0 w 395"/>
                  <a:gd name="T11" fmla="*/ 96 h 352"/>
                  <a:gd name="T12" fmla="*/ 2 w 395"/>
                  <a:gd name="T13" fmla="*/ 111 h 352"/>
                  <a:gd name="T14" fmla="*/ 34 w 395"/>
                  <a:gd name="T15" fmla="*/ 207 h 352"/>
                  <a:gd name="T16" fmla="*/ 80 w 395"/>
                  <a:gd name="T17" fmla="*/ 240 h 352"/>
                  <a:gd name="T18" fmla="*/ 248 w 395"/>
                  <a:gd name="T19" fmla="*/ 240 h 352"/>
                  <a:gd name="T20" fmla="*/ 243 w 395"/>
                  <a:gd name="T21" fmla="*/ 258 h 352"/>
                  <a:gd name="T22" fmla="*/ 211 w 395"/>
                  <a:gd name="T23" fmla="*/ 288 h 352"/>
                  <a:gd name="T24" fmla="*/ 125 w 395"/>
                  <a:gd name="T25" fmla="*/ 288 h 352"/>
                  <a:gd name="T26" fmla="*/ 80 w 395"/>
                  <a:gd name="T27" fmla="*/ 256 h 352"/>
                  <a:gd name="T28" fmla="*/ 32 w 395"/>
                  <a:gd name="T29" fmla="*/ 304 h 352"/>
                  <a:gd name="T30" fmla="*/ 80 w 395"/>
                  <a:gd name="T31" fmla="*/ 352 h 352"/>
                  <a:gd name="T32" fmla="*/ 125 w 395"/>
                  <a:gd name="T33" fmla="*/ 320 h 352"/>
                  <a:gd name="T34" fmla="*/ 211 w 395"/>
                  <a:gd name="T35" fmla="*/ 320 h 352"/>
                  <a:gd name="T36" fmla="*/ 256 w 395"/>
                  <a:gd name="T37" fmla="*/ 352 h 352"/>
                  <a:gd name="T38" fmla="*/ 304 w 395"/>
                  <a:gd name="T39" fmla="*/ 304 h 352"/>
                  <a:gd name="T40" fmla="*/ 276 w 395"/>
                  <a:gd name="T41" fmla="*/ 260 h 352"/>
                  <a:gd name="T42" fmla="*/ 337 w 395"/>
                  <a:gd name="T43" fmla="*/ 44 h 352"/>
                  <a:gd name="T44" fmla="*/ 352 w 395"/>
                  <a:gd name="T45" fmla="*/ 32 h 352"/>
                  <a:gd name="T46" fmla="*/ 356 w 395"/>
                  <a:gd name="T47" fmla="*/ 32 h 352"/>
                  <a:gd name="T48" fmla="*/ 389 w 395"/>
                  <a:gd name="T49" fmla="*/ 40 h 352"/>
                  <a:gd name="T50" fmla="*/ 395 w 395"/>
                  <a:gd name="T51" fmla="*/ 8 h 352"/>
                  <a:gd name="T52" fmla="*/ 363 w 395"/>
                  <a:gd name="T53" fmla="*/ 1 h 352"/>
                  <a:gd name="T54" fmla="*/ 80 w 395"/>
                  <a:gd name="T55" fmla="*/ 208 h 352"/>
                  <a:gd name="T56" fmla="*/ 65 w 395"/>
                  <a:gd name="T57" fmla="*/ 197 h 352"/>
                  <a:gd name="T58" fmla="*/ 33 w 395"/>
                  <a:gd name="T59" fmla="*/ 101 h 352"/>
                  <a:gd name="T60" fmla="*/ 32 w 395"/>
                  <a:gd name="T61" fmla="*/ 96 h 352"/>
                  <a:gd name="T62" fmla="*/ 48 w 395"/>
                  <a:gd name="T63" fmla="*/ 80 h 352"/>
                  <a:gd name="T64" fmla="*/ 293 w 395"/>
                  <a:gd name="T65" fmla="*/ 80 h 352"/>
                  <a:gd name="T66" fmla="*/ 257 w 395"/>
                  <a:gd name="T67" fmla="*/ 208 h 352"/>
                  <a:gd name="T68" fmla="*/ 80 w 395"/>
                  <a:gd name="T69" fmla="*/ 208 h 352"/>
                  <a:gd name="T70" fmla="*/ 80 w 395"/>
                  <a:gd name="T71" fmla="*/ 320 h 352"/>
                  <a:gd name="T72" fmla="*/ 64 w 395"/>
                  <a:gd name="T73" fmla="*/ 304 h 352"/>
                  <a:gd name="T74" fmla="*/ 80 w 395"/>
                  <a:gd name="T75" fmla="*/ 288 h 352"/>
                  <a:gd name="T76" fmla="*/ 96 w 395"/>
                  <a:gd name="T77" fmla="*/ 304 h 352"/>
                  <a:gd name="T78" fmla="*/ 80 w 395"/>
                  <a:gd name="T79" fmla="*/ 320 h 352"/>
                  <a:gd name="T80" fmla="*/ 256 w 395"/>
                  <a:gd name="T81" fmla="*/ 320 h 352"/>
                  <a:gd name="T82" fmla="*/ 240 w 395"/>
                  <a:gd name="T83" fmla="*/ 304 h 352"/>
                  <a:gd name="T84" fmla="*/ 256 w 395"/>
                  <a:gd name="T85" fmla="*/ 288 h 352"/>
                  <a:gd name="T86" fmla="*/ 272 w 395"/>
                  <a:gd name="T87" fmla="*/ 304 h 352"/>
                  <a:gd name="T88" fmla="*/ 256 w 395"/>
                  <a:gd name="T89" fmla="*/ 320 h 3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95" h="352">
                    <a:moveTo>
                      <a:pt x="363" y="1"/>
                    </a:moveTo>
                    <a:cubicBezTo>
                      <a:pt x="359" y="0"/>
                      <a:pt x="356" y="0"/>
                      <a:pt x="352" y="0"/>
                    </a:cubicBezTo>
                    <a:cubicBezTo>
                      <a:pt x="331" y="0"/>
                      <a:pt x="311" y="14"/>
                      <a:pt x="306" y="35"/>
                    </a:cubicBezTo>
                    <a:cubicBezTo>
                      <a:pt x="302" y="48"/>
                      <a:pt x="302" y="48"/>
                      <a:pt x="302" y="48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22" y="48"/>
                      <a:pt x="0" y="70"/>
                      <a:pt x="0" y="96"/>
                    </a:cubicBezTo>
                    <a:cubicBezTo>
                      <a:pt x="0" y="101"/>
                      <a:pt x="1" y="106"/>
                      <a:pt x="2" y="111"/>
                    </a:cubicBezTo>
                    <a:cubicBezTo>
                      <a:pt x="34" y="207"/>
                      <a:pt x="34" y="207"/>
                      <a:pt x="34" y="207"/>
                    </a:cubicBezTo>
                    <a:cubicBezTo>
                      <a:pt x="41" y="227"/>
                      <a:pt x="59" y="240"/>
                      <a:pt x="80" y="240"/>
                    </a:cubicBezTo>
                    <a:cubicBezTo>
                      <a:pt x="248" y="240"/>
                      <a:pt x="248" y="240"/>
                      <a:pt x="248" y="240"/>
                    </a:cubicBezTo>
                    <a:cubicBezTo>
                      <a:pt x="243" y="258"/>
                      <a:pt x="243" y="258"/>
                      <a:pt x="243" y="258"/>
                    </a:cubicBezTo>
                    <a:cubicBezTo>
                      <a:pt x="228" y="262"/>
                      <a:pt x="216" y="273"/>
                      <a:pt x="211" y="288"/>
                    </a:cubicBezTo>
                    <a:cubicBezTo>
                      <a:pt x="125" y="288"/>
                      <a:pt x="125" y="288"/>
                      <a:pt x="125" y="288"/>
                    </a:cubicBezTo>
                    <a:cubicBezTo>
                      <a:pt x="119" y="269"/>
                      <a:pt x="101" y="256"/>
                      <a:pt x="80" y="256"/>
                    </a:cubicBezTo>
                    <a:cubicBezTo>
                      <a:pt x="54" y="256"/>
                      <a:pt x="32" y="278"/>
                      <a:pt x="32" y="304"/>
                    </a:cubicBezTo>
                    <a:cubicBezTo>
                      <a:pt x="32" y="330"/>
                      <a:pt x="54" y="352"/>
                      <a:pt x="80" y="352"/>
                    </a:cubicBezTo>
                    <a:cubicBezTo>
                      <a:pt x="101" y="352"/>
                      <a:pt x="119" y="339"/>
                      <a:pt x="125" y="320"/>
                    </a:cubicBezTo>
                    <a:cubicBezTo>
                      <a:pt x="211" y="320"/>
                      <a:pt x="211" y="320"/>
                      <a:pt x="211" y="320"/>
                    </a:cubicBezTo>
                    <a:cubicBezTo>
                      <a:pt x="217" y="339"/>
                      <a:pt x="235" y="352"/>
                      <a:pt x="256" y="352"/>
                    </a:cubicBezTo>
                    <a:cubicBezTo>
                      <a:pt x="282" y="352"/>
                      <a:pt x="304" y="330"/>
                      <a:pt x="304" y="304"/>
                    </a:cubicBezTo>
                    <a:cubicBezTo>
                      <a:pt x="304" y="285"/>
                      <a:pt x="292" y="268"/>
                      <a:pt x="276" y="260"/>
                    </a:cubicBezTo>
                    <a:cubicBezTo>
                      <a:pt x="337" y="44"/>
                      <a:pt x="337" y="44"/>
                      <a:pt x="337" y="44"/>
                    </a:cubicBezTo>
                    <a:cubicBezTo>
                      <a:pt x="338" y="37"/>
                      <a:pt x="345" y="32"/>
                      <a:pt x="352" y="32"/>
                    </a:cubicBezTo>
                    <a:cubicBezTo>
                      <a:pt x="353" y="32"/>
                      <a:pt x="354" y="32"/>
                      <a:pt x="356" y="32"/>
                    </a:cubicBezTo>
                    <a:cubicBezTo>
                      <a:pt x="389" y="40"/>
                      <a:pt x="389" y="40"/>
                      <a:pt x="389" y="40"/>
                    </a:cubicBezTo>
                    <a:cubicBezTo>
                      <a:pt x="395" y="8"/>
                      <a:pt x="395" y="8"/>
                      <a:pt x="395" y="8"/>
                    </a:cubicBezTo>
                    <a:lnTo>
                      <a:pt x="363" y="1"/>
                    </a:lnTo>
                    <a:close/>
                    <a:moveTo>
                      <a:pt x="80" y="208"/>
                    </a:moveTo>
                    <a:cubicBezTo>
                      <a:pt x="73" y="208"/>
                      <a:pt x="67" y="204"/>
                      <a:pt x="65" y="197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32" y="99"/>
                      <a:pt x="32" y="98"/>
                      <a:pt x="32" y="96"/>
                    </a:cubicBezTo>
                    <a:cubicBezTo>
                      <a:pt x="32" y="87"/>
                      <a:pt x="39" y="80"/>
                      <a:pt x="48" y="80"/>
                    </a:cubicBezTo>
                    <a:cubicBezTo>
                      <a:pt x="293" y="80"/>
                      <a:pt x="293" y="80"/>
                      <a:pt x="293" y="80"/>
                    </a:cubicBezTo>
                    <a:cubicBezTo>
                      <a:pt x="257" y="208"/>
                      <a:pt x="257" y="208"/>
                      <a:pt x="257" y="208"/>
                    </a:cubicBezTo>
                    <a:lnTo>
                      <a:pt x="80" y="208"/>
                    </a:lnTo>
                    <a:close/>
                    <a:moveTo>
                      <a:pt x="80" y="320"/>
                    </a:moveTo>
                    <a:cubicBezTo>
                      <a:pt x="71" y="320"/>
                      <a:pt x="64" y="313"/>
                      <a:pt x="64" y="304"/>
                    </a:cubicBezTo>
                    <a:cubicBezTo>
                      <a:pt x="64" y="295"/>
                      <a:pt x="71" y="288"/>
                      <a:pt x="80" y="288"/>
                    </a:cubicBezTo>
                    <a:cubicBezTo>
                      <a:pt x="89" y="288"/>
                      <a:pt x="96" y="295"/>
                      <a:pt x="96" y="304"/>
                    </a:cubicBezTo>
                    <a:cubicBezTo>
                      <a:pt x="96" y="313"/>
                      <a:pt x="89" y="320"/>
                      <a:pt x="80" y="320"/>
                    </a:cubicBezTo>
                    <a:moveTo>
                      <a:pt x="256" y="320"/>
                    </a:moveTo>
                    <a:cubicBezTo>
                      <a:pt x="247" y="320"/>
                      <a:pt x="240" y="313"/>
                      <a:pt x="240" y="304"/>
                    </a:cubicBezTo>
                    <a:cubicBezTo>
                      <a:pt x="240" y="295"/>
                      <a:pt x="247" y="288"/>
                      <a:pt x="256" y="288"/>
                    </a:cubicBezTo>
                    <a:cubicBezTo>
                      <a:pt x="265" y="288"/>
                      <a:pt x="272" y="295"/>
                      <a:pt x="272" y="304"/>
                    </a:cubicBezTo>
                    <a:cubicBezTo>
                      <a:pt x="272" y="313"/>
                      <a:pt x="265" y="320"/>
                      <a:pt x="256" y="320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260" name="Agrupar 259"/>
          <p:cNvGrpSpPr/>
          <p:nvPr/>
        </p:nvGrpSpPr>
        <p:grpSpPr>
          <a:xfrm>
            <a:off x="8764754" y="3361514"/>
            <a:ext cx="540581" cy="542311"/>
            <a:chOff x="5715778" y="1645214"/>
            <a:chExt cx="2207432" cy="2209822"/>
          </a:xfrm>
        </p:grpSpPr>
        <p:sp>
          <p:nvSpPr>
            <p:cNvPr id="261" name="Oval 20___"/>
            <p:cNvSpPr/>
            <p:nvPr/>
          </p:nvSpPr>
          <p:spPr>
            <a:xfrm>
              <a:off x="5715778" y="1645214"/>
              <a:ext cx="2207432" cy="2209822"/>
            </a:xfrm>
            <a:prstGeom prst="ellipse">
              <a:avLst/>
            </a:prstGeom>
            <a:solidFill>
              <a:srgbClr val="08427E"/>
            </a:solidFill>
            <a:ln w="9525" cap="flat" cmpd="sng" algn="ctr">
              <a:noFill/>
              <a:prstDash val="solid"/>
            </a:ln>
            <a:effectLst/>
          </p:spPr>
          <p:txBody>
            <a:bodyPr wrap="square" rtlCol="0" anchor="ctr" anchorCtr="0">
              <a:noAutofit/>
            </a:bodyPr>
            <a:lstStyle/>
            <a:p>
              <a:pPr algn="ctr">
                <a:lnSpc>
                  <a:spcPts val="1600"/>
                </a:lnSpc>
              </a:pPr>
              <a:endParaRPr lang="pt-BR" sz="1200" kern="0" dirty="0">
                <a:solidFill>
                  <a:schemeClr val="bg1"/>
                </a:solidFill>
                <a:latin typeface="Bosch Office Sans"/>
              </a:endParaRPr>
            </a:p>
          </p:txBody>
        </p:sp>
        <p:grpSp>
          <p:nvGrpSpPr>
            <p:cNvPr id="262" name="Group 32"/>
            <p:cNvGrpSpPr/>
            <p:nvPr/>
          </p:nvGrpSpPr>
          <p:grpSpPr>
            <a:xfrm>
              <a:off x="6334480" y="2255136"/>
              <a:ext cx="974414" cy="976820"/>
              <a:chOff x="6870700" y="6257925"/>
              <a:chExt cx="1927225" cy="1931987"/>
            </a:xfrm>
            <a:solidFill>
              <a:srgbClr val="1399A0"/>
            </a:solidFill>
          </p:grpSpPr>
          <p:sp>
            <p:nvSpPr>
              <p:cNvPr id="263" name="Freeform 5"/>
              <p:cNvSpPr>
                <a:spLocks noEditPoints="1"/>
              </p:cNvSpPr>
              <p:nvPr/>
            </p:nvSpPr>
            <p:spPr bwMode="auto">
              <a:xfrm>
                <a:off x="6870700" y="6257925"/>
                <a:ext cx="1927225" cy="1931987"/>
              </a:xfrm>
              <a:custGeom>
                <a:avLst/>
                <a:gdLst>
                  <a:gd name="T0" fmla="*/ 802 w 1214"/>
                  <a:gd name="T1" fmla="*/ 0 h 1217"/>
                  <a:gd name="T2" fmla="*/ 0 w 1214"/>
                  <a:gd name="T3" fmla="*/ 202 h 1217"/>
                  <a:gd name="T4" fmla="*/ 0 w 1214"/>
                  <a:gd name="T5" fmla="*/ 1217 h 1217"/>
                  <a:gd name="T6" fmla="*/ 759 w 1214"/>
                  <a:gd name="T7" fmla="*/ 1217 h 1217"/>
                  <a:gd name="T8" fmla="*/ 1063 w 1214"/>
                  <a:gd name="T9" fmla="*/ 1217 h 1217"/>
                  <a:gd name="T10" fmla="*/ 1214 w 1214"/>
                  <a:gd name="T11" fmla="*/ 1217 h 1217"/>
                  <a:gd name="T12" fmla="*/ 1214 w 1214"/>
                  <a:gd name="T13" fmla="*/ 206 h 1217"/>
                  <a:gd name="T14" fmla="*/ 802 w 1214"/>
                  <a:gd name="T15" fmla="*/ 0 h 1217"/>
                  <a:gd name="T16" fmla="*/ 835 w 1214"/>
                  <a:gd name="T17" fmla="*/ 837 h 1217"/>
                  <a:gd name="T18" fmla="*/ 987 w 1214"/>
                  <a:gd name="T19" fmla="*/ 837 h 1217"/>
                  <a:gd name="T20" fmla="*/ 987 w 1214"/>
                  <a:gd name="T21" fmla="*/ 1141 h 1217"/>
                  <a:gd name="T22" fmla="*/ 835 w 1214"/>
                  <a:gd name="T23" fmla="*/ 1141 h 1217"/>
                  <a:gd name="T24" fmla="*/ 835 w 1214"/>
                  <a:gd name="T25" fmla="*/ 837 h 1217"/>
                  <a:gd name="T26" fmla="*/ 1138 w 1214"/>
                  <a:gd name="T27" fmla="*/ 1141 h 1217"/>
                  <a:gd name="T28" fmla="*/ 1063 w 1214"/>
                  <a:gd name="T29" fmla="*/ 1141 h 1217"/>
                  <a:gd name="T30" fmla="*/ 1063 w 1214"/>
                  <a:gd name="T31" fmla="*/ 761 h 1217"/>
                  <a:gd name="T32" fmla="*/ 759 w 1214"/>
                  <a:gd name="T33" fmla="*/ 761 h 1217"/>
                  <a:gd name="T34" fmla="*/ 759 w 1214"/>
                  <a:gd name="T35" fmla="*/ 1141 h 1217"/>
                  <a:gd name="T36" fmla="*/ 76 w 1214"/>
                  <a:gd name="T37" fmla="*/ 1141 h 1217"/>
                  <a:gd name="T38" fmla="*/ 76 w 1214"/>
                  <a:gd name="T39" fmla="*/ 259 h 1217"/>
                  <a:gd name="T40" fmla="*/ 792 w 1214"/>
                  <a:gd name="T41" fmla="*/ 81 h 1217"/>
                  <a:gd name="T42" fmla="*/ 1138 w 1214"/>
                  <a:gd name="T43" fmla="*/ 254 h 1217"/>
                  <a:gd name="T44" fmla="*/ 1138 w 1214"/>
                  <a:gd name="T45" fmla="*/ 1141 h 1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14" h="1217">
                    <a:moveTo>
                      <a:pt x="802" y="0"/>
                    </a:moveTo>
                    <a:lnTo>
                      <a:pt x="0" y="202"/>
                    </a:lnTo>
                    <a:lnTo>
                      <a:pt x="0" y="1217"/>
                    </a:lnTo>
                    <a:lnTo>
                      <a:pt x="759" y="1217"/>
                    </a:lnTo>
                    <a:lnTo>
                      <a:pt x="1063" y="1217"/>
                    </a:lnTo>
                    <a:lnTo>
                      <a:pt x="1214" y="1217"/>
                    </a:lnTo>
                    <a:lnTo>
                      <a:pt x="1214" y="206"/>
                    </a:lnTo>
                    <a:lnTo>
                      <a:pt x="802" y="0"/>
                    </a:lnTo>
                    <a:close/>
                    <a:moveTo>
                      <a:pt x="835" y="837"/>
                    </a:moveTo>
                    <a:lnTo>
                      <a:pt x="987" y="837"/>
                    </a:lnTo>
                    <a:lnTo>
                      <a:pt x="987" y="1141"/>
                    </a:lnTo>
                    <a:lnTo>
                      <a:pt x="835" y="1141"/>
                    </a:lnTo>
                    <a:lnTo>
                      <a:pt x="835" y="837"/>
                    </a:lnTo>
                    <a:close/>
                    <a:moveTo>
                      <a:pt x="1138" y="1141"/>
                    </a:moveTo>
                    <a:lnTo>
                      <a:pt x="1063" y="1141"/>
                    </a:lnTo>
                    <a:lnTo>
                      <a:pt x="1063" y="761"/>
                    </a:lnTo>
                    <a:lnTo>
                      <a:pt x="759" y="761"/>
                    </a:lnTo>
                    <a:lnTo>
                      <a:pt x="759" y="1141"/>
                    </a:lnTo>
                    <a:lnTo>
                      <a:pt x="76" y="1141"/>
                    </a:lnTo>
                    <a:lnTo>
                      <a:pt x="76" y="259"/>
                    </a:lnTo>
                    <a:lnTo>
                      <a:pt x="792" y="81"/>
                    </a:lnTo>
                    <a:lnTo>
                      <a:pt x="1138" y="254"/>
                    </a:lnTo>
                    <a:lnTo>
                      <a:pt x="1138" y="114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64" name="Freeform 6"/>
              <p:cNvSpPr>
                <a:spLocks noEditPoints="1"/>
              </p:cNvSpPr>
              <p:nvPr/>
            </p:nvSpPr>
            <p:spPr bwMode="auto">
              <a:xfrm>
                <a:off x="7112000" y="6804025"/>
                <a:ext cx="842963" cy="481012"/>
              </a:xfrm>
              <a:custGeom>
                <a:avLst/>
                <a:gdLst>
                  <a:gd name="T0" fmla="*/ 0 w 531"/>
                  <a:gd name="T1" fmla="*/ 303 h 303"/>
                  <a:gd name="T2" fmla="*/ 531 w 531"/>
                  <a:gd name="T3" fmla="*/ 303 h 303"/>
                  <a:gd name="T4" fmla="*/ 531 w 531"/>
                  <a:gd name="T5" fmla="*/ 0 h 303"/>
                  <a:gd name="T6" fmla="*/ 0 w 531"/>
                  <a:gd name="T7" fmla="*/ 0 h 303"/>
                  <a:gd name="T8" fmla="*/ 0 w 531"/>
                  <a:gd name="T9" fmla="*/ 303 h 303"/>
                  <a:gd name="T10" fmla="*/ 75 w 531"/>
                  <a:gd name="T11" fmla="*/ 76 h 303"/>
                  <a:gd name="T12" fmla="*/ 455 w 531"/>
                  <a:gd name="T13" fmla="*/ 76 h 303"/>
                  <a:gd name="T14" fmla="*/ 455 w 531"/>
                  <a:gd name="T15" fmla="*/ 228 h 303"/>
                  <a:gd name="T16" fmla="*/ 75 w 531"/>
                  <a:gd name="T17" fmla="*/ 228 h 303"/>
                  <a:gd name="T18" fmla="*/ 75 w 531"/>
                  <a:gd name="T19" fmla="*/ 76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1" h="303">
                    <a:moveTo>
                      <a:pt x="0" y="303"/>
                    </a:moveTo>
                    <a:lnTo>
                      <a:pt x="531" y="303"/>
                    </a:lnTo>
                    <a:lnTo>
                      <a:pt x="531" y="0"/>
                    </a:lnTo>
                    <a:lnTo>
                      <a:pt x="0" y="0"/>
                    </a:lnTo>
                    <a:lnTo>
                      <a:pt x="0" y="303"/>
                    </a:lnTo>
                    <a:close/>
                    <a:moveTo>
                      <a:pt x="75" y="76"/>
                    </a:moveTo>
                    <a:lnTo>
                      <a:pt x="455" y="76"/>
                    </a:lnTo>
                    <a:lnTo>
                      <a:pt x="455" y="228"/>
                    </a:lnTo>
                    <a:lnTo>
                      <a:pt x="75" y="228"/>
                    </a:lnTo>
                    <a:lnTo>
                      <a:pt x="75" y="7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65" name="Freeform 7"/>
              <p:cNvSpPr>
                <a:spLocks noEditPoints="1"/>
              </p:cNvSpPr>
              <p:nvPr/>
            </p:nvSpPr>
            <p:spPr bwMode="auto">
              <a:xfrm>
                <a:off x="8075613" y="6804025"/>
                <a:ext cx="482600" cy="481012"/>
              </a:xfrm>
              <a:custGeom>
                <a:avLst/>
                <a:gdLst>
                  <a:gd name="T0" fmla="*/ 0 w 304"/>
                  <a:gd name="T1" fmla="*/ 303 h 303"/>
                  <a:gd name="T2" fmla="*/ 304 w 304"/>
                  <a:gd name="T3" fmla="*/ 303 h 303"/>
                  <a:gd name="T4" fmla="*/ 304 w 304"/>
                  <a:gd name="T5" fmla="*/ 0 h 303"/>
                  <a:gd name="T6" fmla="*/ 0 w 304"/>
                  <a:gd name="T7" fmla="*/ 0 h 303"/>
                  <a:gd name="T8" fmla="*/ 0 w 304"/>
                  <a:gd name="T9" fmla="*/ 303 h 303"/>
                  <a:gd name="T10" fmla="*/ 76 w 304"/>
                  <a:gd name="T11" fmla="*/ 76 h 303"/>
                  <a:gd name="T12" fmla="*/ 228 w 304"/>
                  <a:gd name="T13" fmla="*/ 76 h 303"/>
                  <a:gd name="T14" fmla="*/ 228 w 304"/>
                  <a:gd name="T15" fmla="*/ 228 h 303"/>
                  <a:gd name="T16" fmla="*/ 76 w 304"/>
                  <a:gd name="T17" fmla="*/ 228 h 303"/>
                  <a:gd name="T18" fmla="*/ 76 w 304"/>
                  <a:gd name="T19" fmla="*/ 76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4" h="303">
                    <a:moveTo>
                      <a:pt x="0" y="303"/>
                    </a:moveTo>
                    <a:lnTo>
                      <a:pt x="304" y="303"/>
                    </a:lnTo>
                    <a:lnTo>
                      <a:pt x="304" y="0"/>
                    </a:lnTo>
                    <a:lnTo>
                      <a:pt x="0" y="0"/>
                    </a:lnTo>
                    <a:lnTo>
                      <a:pt x="0" y="303"/>
                    </a:lnTo>
                    <a:close/>
                    <a:moveTo>
                      <a:pt x="76" y="76"/>
                    </a:moveTo>
                    <a:lnTo>
                      <a:pt x="228" y="76"/>
                    </a:lnTo>
                    <a:lnTo>
                      <a:pt x="228" y="228"/>
                    </a:lnTo>
                    <a:lnTo>
                      <a:pt x="76" y="228"/>
                    </a:lnTo>
                    <a:lnTo>
                      <a:pt x="76" y="7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66" name="Freeform 8"/>
              <p:cNvSpPr>
                <a:spLocks noEditPoints="1"/>
              </p:cNvSpPr>
              <p:nvPr/>
            </p:nvSpPr>
            <p:spPr bwMode="auto">
              <a:xfrm>
                <a:off x="7112000" y="7466013"/>
                <a:ext cx="842963" cy="482600"/>
              </a:xfrm>
              <a:custGeom>
                <a:avLst/>
                <a:gdLst>
                  <a:gd name="T0" fmla="*/ 0 w 531"/>
                  <a:gd name="T1" fmla="*/ 304 h 304"/>
                  <a:gd name="T2" fmla="*/ 531 w 531"/>
                  <a:gd name="T3" fmla="*/ 304 h 304"/>
                  <a:gd name="T4" fmla="*/ 531 w 531"/>
                  <a:gd name="T5" fmla="*/ 0 h 304"/>
                  <a:gd name="T6" fmla="*/ 0 w 531"/>
                  <a:gd name="T7" fmla="*/ 0 h 304"/>
                  <a:gd name="T8" fmla="*/ 0 w 531"/>
                  <a:gd name="T9" fmla="*/ 304 h 304"/>
                  <a:gd name="T10" fmla="*/ 75 w 531"/>
                  <a:gd name="T11" fmla="*/ 76 h 304"/>
                  <a:gd name="T12" fmla="*/ 455 w 531"/>
                  <a:gd name="T13" fmla="*/ 76 h 304"/>
                  <a:gd name="T14" fmla="*/ 455 w 531"/>
                  <a:gd name="T15" fmla="*/ 228 h 304"/>
                  <a:gd name="T16" fmla="*/ 75 w 531"/>
                  <a:gd name="T17" fmla="*/ 228 h 304"/>
                  <a:gd name="T18" fmla="*/ 75 w 531"/>
                  <a:gd name="T19" fmla="*/ 76 h 3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1" h="304">
                    <a:moveTo>
                      <a:pt x="0" y="304"/>
                    </a:moveTo>
                    <a:lnTo>
                      <a:pt x="531" y="304"/>
                    </a:lnTo>
                    <a:lnTo>
                      <a:pt x="531" y="0"/>
                    </a:lnTo>
                    <a:lnTo>
                      <a:pt x="0" y="0"/>
                    </a:lnTo>
                    <a:lnTo>
                      <a:pt x="0" y="304"/>
                    </a:lnTo>
                    <a:close/>
                    <a:moveTo>
                      <a:pt x="75" y="76"/>
                    </a:moveTo>
                    <a:lnTo>
                      <a:pt x="455" y="76"/>
                    </a:lnTo>
                    <a:lnTo>
                      <a:pt x="455" y="228"/>
                    </a:lnTo>
                    <a:lnTo>
                      <a:pt x="75" y="228"/>
                    </a:lnTo>
                    <a:lnTo>
                      <a:pt x="75" y="76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267" name="Agrupar 266"/>
          <p:cNvGrpSpPr/>
          <p:nvPr/>
        </p:nvGrpSpPr>
        <p:grpSpPr>
          <a:xfrm>
            <a:off x="7594731" y="3361514"/>
            <a:ext cx="555784" cy="530686"/>
            <a:chOff x="3070614" y="1645214"/>
            <a:chExt cx="2207432" cy="2209822"/>
          </a:xfrm>
        </p:grpSpPr>
        <p:sp>
          <p:nvSpPr>
            <p:cNvPr id="268" name="Oval 20_"/>
            <p:cNvSpPr/>
            <p:nvPr/>
          </p:nvSpPr>
          <p:spPr>
            <a:xfrm>
              <a:off x="3070614" y="1645214"/>
              <a:ext cx="2207432" cy="2209822"/>
            </a:xfrm>
            <a:prstGeom prst="ellipse">
              <a:avLst/>
            </a:prstGeom>
            <a:solidFill>
              <a:srgbClr val="1399A0"/>
            </a:solidFill>
            <a:ln w="9525" cap="flat" cmpd="sng" algn="ctr">
              <a:noFill/>
              <a:prstDash val="solid"/>
            </a:ln>
            <a:effectLst/>
          </p:spPr>
          <p:txBody>
            <a:bodyPr wrap="square" rtlCol="0" anchor="ctr" anchorCtr="0">
              <a:noAutofit/>
            </a:bodyPr>
            <a:lstStyle/>
            <a:p>
              <a:pPr algn="ctr">
                <a:lnSpc>
                  <a:spcPts val="1600"/>
                </a:lnSpc>
              </a:pPr>
              <a:endParaRPr lang="pt-BR" sz="1200" kern="0" dirty="0">
                <a:solidFill>
                  <a:schemeClr val="bg1"/>
                </a:solidFill>
                <a:latin typeface="Bosch Office Sans"/>
              </a:endParaRPr>
            </a:p>
          </p:txBody>
        </p:sp>
        <p:grpSp>
          <p:nvGrpSpPr>
            <p:cNvPr id="269" name="Group 31"/>
            <p:cNvGrpSpPr/>
            <p:nvPr/>
          </p:nvGrpSpPr>
          <p:grpSpPr>
            <a:xfrm>
              <a:off x="3550122" y="2132341"/>
              <a:ext cx="1218418" cy="1096414"/>
              <a:chOff x="3073400" y="5513388"/>
              <a:chExt cx="2409825" cy="2168525"/>
            </a:xfrm>
            <a:solidFill>
              <a:srgbClr val="0E78C5"/>
            </a:solidFill>
          </p:grpSpPr>
          <p:sp>
            <p:nvSpPr>
              <p:cNvPr id="270" name="Freeform 12"/>
              <p:cNvSpPr>
                <a:spLocks noEditPoints="1"/>
              </p:cNvSpPr>
              <p:nvPr/>
            </p:nvSpPr>
            <p:spPr bwMode="auto">
              <a:xfrm>
                <a:off x="3073400" y="5513388"/>
                <a:ext cx="2409825" cy="2168525"/>
              </a:xfrm>
              <a:custGeom>
                <a:avLst/>
                <a:gdLst>
                  <a:gd name="T0" fmla="*/ 1518 w 1518"/>
                  <a:gd name="T1" fmla="*/ 1366 h 1366"/>
                  <a:gd name="T2" fmla="*/ 0 w 1518"/>
                  <a:gd name="T3" fmla="*/ 1366 h 1366"/>
                  <a:gd name="T4" fmla="*/ 0 w 1518"/>
                  <a:gd name="T5" fmla="*/ 699 h 1366"/>
                  <a:gd name="T6" fmla="*/ 379 w 1518"/>
                  <a:gd name="T7" fmla="*/ 462 h 1366"/>
                  <a:gd name="T8" fmla="*/ 379 w 1518"/>
                  <a:gd name="T9" fmla="*/ 652 h 1366"/>
                  <a:gd name="T10" fmla="*/ 683 w 1518"/>
                  <a:gd name="T11" fmla="*/ 462 h 1366"/>
                  <a:gd name="T12" fmla="*/ 683 w 1518"/>
                  <a:gd name="T13" fmla="*/ 652 h 1366"/>
                  <a:gd name="T14" fmla="*/ 987 w 1518"/>
                  <a:gd name="T15" fmla="*/ 462 h 1366"/>
                  <a:gd name="T16" fmla="*/ 987 w 1518"/>
                  <a:gd name="T17" fmla="*/ 683 h 1366"/>
                  <a:gd name="T18" fmla="*/ 1029 w 1518"/>
                  <a:gd name="T19" fmla="*/ 683 h 1366"/>
                  <a:gd name="T20" fmla="*/ 1105 w 1518"/>
                  <a:gd name="T21" fmla="*/ 0 h 1366"/>
                  <a:gd name="T22" fmla="*/ 1362 w 1518"/>
                  <a:gd name="T23" fmla="*/ 0 h 1366"/>
                  <a:gd name="T24" fmla="*/ 1438 w 1518"/>
                  <a:gd name="T25" fmla="*/ 683 h 1366"/>
                  <a:gd name="T26" fmla="*/ 1518 w 1518"/>
                  <a:gd name="T27" fmla="*/ 683 h 1366"/>
                  <a:gd name="T28" fmla="*/ 1518 w 1518"/>
                  <a:gd name="T29" fmla="*/ 1366 h 1366"/>
                  <a:gd name="T30" fmla="*/ 76 w 1518"/>
                  <a:gd name="T31" fmla="*/ 1290 h 1366"/>
                  <a:gd name="T32" fmla="*/ 1442 w 1518"/>
                  <a:gd name="T33" fmla="*/ 1290 h 1366"/>
                  <a:gd name="T34" fmla="*/ 1442 w 1518"/>
                  <a:gd name="T35" fmla="*/ 759 h 1366"/>
                  <a:gd name="T36" fmla="*/ 1371 w 1518"/>
                  <a:gd name="T37" fmla="*/ 759 h 1366"/>
                  <a:gd name="T38" fmla="*/ 1295 w 1518"/>
                  <a:gd name="T39" fmla="*/ 76 h 1366"/>
                  <a:gd name="T40" fmla="*/ 1172 w 1518"/>
                  <a:gd name="T41" fmla="*/ 76 h 1366"/>
                  <a:gd name="T42" fmla="*/ 1096 w 1518"/>
                  <a:gd name="T43" fmla="*/ 759 h 1366"/>
                  <a:gd name="T44" fmla="*/ 911 w 1518"/>
                  <a:gd name="T45" fmla="*/ 759 h 1366"/>
                  <a:gd name="T46" fmla="*/ 911 w 1518"/>
                  <a:gd name="T47" fmla="*/ 600 h 1366"/>
                  <a:gd name="T48" fmla="*/ 607 w 1518"/>
                  <a:gd name="T49" fmla="*/ 789 h 1366"/>
                  <a:gd name="T50" fmla="*/ 607 w 1518"/>
                  <a:gd name="T51" fmla="*/ 600 h 1366"/>
                  <a:gd name="T52" fmla="*/ 304 w 1518"/>
                  <a:gd name="T53" fmla="*/ 789 h 1366"/>
                  <a:gd name="T54" fmla="*/ 304 w 1518"/>
                  <a:gd name="T55" fmla="*/ 600 h 1366"/>
                  <a:gd name="T56" fmla="*/ 76 w 1518"/>
                  <a:gd name="T57" fmla="*/ 742 h 1366"/>
                  <a:gd name="T58" fmla="*/ 76 w 1518"/>
                  <a:gd name="T59" fmla="*/ 1290 h 1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1518" h="1366">
                    <a:moveTo>
                      <a:pt x="1518" y="1366"/>
                    </a:moveTo>
                    <a:lnTo>
                      <a:pt x="0" y="1366"/>
                    </a:lnTo>
                    <a:lnTo>
                      <a:pt x="0" y="699"/>
                    </a:lnTo>
                    <a:lnTo>
                      <a:pt x="379" y="462"/>
                    </a:lnTo>
                    <a:lnTo>
                      <a:pt x="379" y="652"/>
                    </a:lnTo>
                    <a:lnTo>
                      <a:pt x="683" y="462"/>
                    </a:lnTo>
                    <a:lnTo>
                      <a:pt x="683" y="652"/>
                    </a:lnTo>
                    <a:lnTo>
                      <a:pt x="987" y="462"/>
                    </a:lnTo>
                    <a:lnTo>
                      <a:pt x="987" y="683"/>
                    </a:lnTo>
                    <a:lnTo>
                      <a:pt x="1029" y="683"/>
                    </a:lnTo>
                    <a:lnTo>
                      <a:pt x="1105" y="0"/>
                    </a:lnTo>
                    <a:lnTo>
                      <a:pt x="1362" y="0"/>
                    </a:lnTo>
                    <a:lnTo>
                      <a:pt x="1438" y="683"/>
                    </a:lnTo>
                    <a:lnTo>
                      <a:pt x="1518" y="683"/>
                    </a:lnTo>
                    <a:lnTo>
                      <a:pt x="1518" y="1366"/>
                    </a:lnTo>
                    <a:close/>
                    <a:moveTo>
                      <a:pt x="76" y="1290"/>
                    </a:moveTo>
                    <a:lnTo>
                      <a:pt x="1442" y="1290"/>
                    </a:lnTo>
                    <a:lnTo>
                      <a:pt x="1442" y="759"/>
                    </a:lnTo>
                    <a:lnTo>
                      <a:pt x="1371" y="759"/>
                    </a:lnTo>
                    <a:lnTo>
                      <a:pt x="1295" y="76"/>
                    </a:lnTo>
                    <a:lnTo>
                      <a:pt x="1172" y="76"/>
                    </a:lnTo>
                    <a:lnTo>
                      <a:pt x="1096" y="759"/>
                    </a:lnTo>
                    <a:lnTo>
                      <a:pt x="911" y="759"/>
                    </a:lnTo>
                    <a:lnTo>
                      <a:pt x="911" y="600"/>
                    </a:lnTo>
                    <a:lnTo>
                      <a:pt x="607" y="789"/>
                    </a:lnTo>
                    <a:lnTo>
                      <a:pt x="607" y="600"/>
                    </a:lnTo>
                    <a:lnTo>
                      <a:pt x="304" y="789"/>
                    </a:lnTo>
                    <a:lnTo>
                      <a:pt x="304" y="600"/>
                    </a:lnTo>
                    <a:lnTo>
                      <a:pt x="76" y="742"/>
                    </a:lnTo>
                    <a:lnTo>
                      <a:pt x="76" y="1290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71" name="Rectangle 13"/>
              <p:cNvSpPr>
                <a:spLocks noChangeArrowheads="1"/>
              </p:cNvSpPr>
              <p:nvPr/>
            </p:nvSpPr>
            <p:spPr bwMode="auto">
              <a:xfrm>
                <a:off x="3375025" y="6958013"/>
                <a:ext cx="481013" cy="12065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72" name="Rectangle 14"/>
              <p:cNvSpPr>
                <a:spLocks noChangeArrowheads="1"/>
              </p:cNvSpPr>
              <p:nvPr/>
            </p:nvSpPr>
            <p:spPr bwMode="auto">
              <a:xfrm>
                <a:off x="4037013" y="6958013"/>
                <a:ext cx="482600" cy="12065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73" name="Rectangle 15"/>
              <p:cNvSpPr>
                <a:spLocks noChangeArrowheads="1"/>
              </p:cNvSpPr>
              <p:nvPr/>
            </p:nvSpPr>
            <p:spPr bwMode="auto">
              <a:xfrm>
                <a:off x="4700588" y="6958013"/>
                <a:ext cx="481013" cy="12065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grpSp>
        <p:nvGrpSpPr>
          <p:cNvPr id="274" name="Agrupar 273"/>
          <p:cNvGrpSpPr/>
          <p:nvPr/>
        </p:nvGrpSpPr>
        <p:grpSpPr>
          <a:xfrm>
            <a:off x="6543267" y="3361514"/>
            <a:ext cx="537746" cy="543038"/>
            <a:chOff x="425450" y="1645214"/>
            <a:chExt cx="2207432" cy="2209822"/>
          </a:xfrm>
        </p:grpSpPr>
        <p:sp>
          <p:nvSpPr>
            <p:cNvPr id="275" name="Oval 20"/>
            <p:cNvSpPr/>
            <p:nvPr/>
          </p:nvSpPr>
          <p:spPr>
            <a:xfrm>
              <a:off x="425450" y="1645214"/>
              <a:ext cx="2207432" cy="2209822"/>
            </a:xfrm>
            <a:prstGeom prst="ellipse">
              <a:avLst/>
            </a:prstGeom>
            <a:solidFill>
              <a:schemeClr val="accent5"/>
            </a:solidFill>
            <a:ln w="9525" cap="flat" cmpd="sng" algn="ctr">
              <a:noFill/>
              <a:prstDash val="solid"/>
            </a:ln>
            <a:effectLst/>
          </p:spPr>
          <p:txBody>
            <a:bodyPr wrap="square" rtlCol="0" anchor="ctr" anchorCtr="0">
              <a:noAutofit/>
            </a:bodyPr>
            <a:lstStyle/>
            <a:p>
              <a:pPr algn="ctr">
                <a:lnSpc>
                  <a:spcPts val="1600"/>
                </a:lnSpc>
              </a:pPr>
              <a:endParaRPr lang="pt-BR" sz="10000" kern="0" dirty="0">
                <a:solidFill>
                  <a:schemeClr val="bg1"/>
                </a:solidFill>
                <a:latin typeface="Bosch Office Sans"/>
              </a:endParaRPr>
            </a:p>
          </p:txBody>
        </p:sp>
        <p:grpSp>
          <p:nvGrpSpPr>
            <p:cNvPr id="276" name="Group 30"/>
            <p:cNvGrpSpPr/>
            <p:nvPr/>
          </p:nvGrpSpPr>
          <p:grpSpPr>
            <a:xfrm>
              <a:off x="915058" y="2243165"/>
              <a:ext cx="1217616" cy="976820"/>
              <a:chOff x="-638175" y="6321425"/>
              <a:chExt cx="2408238" cy="1931987"/>
            </a:xfrm>
            <a:solidFill>
              <a:srgbClr val="08427E"/>
            </a:solidFill>
          </p:grpSpPr>
          <p:sp>
            <p:nvSpPr>
              <p:cNvPr id="277" name="Freeform 19"/>
              <p:cNvSpPr>
                <a:spLocks noEditPoints="1"/>
              </p:cNvSpPr>
              <p:nvPr/>
            </p:nvSpPr>
            <p:spPr bwMode="auto">
              <a:xfrm>
                <a:off x="-277812" y="7289800"/>
                <a:ext cx="587375" cy="360362"/>
              </a:xfrm>
              <a:custGeom>
                <a:avLst/>
                <a:gdLst>
                  <a:gd name="T0" fmla="*/ 112 w 156"/>
                  <a:gd name="T1" fmla="*/ 96 h 96"/>
                  <a:gd name="T2" fmla="*/ 44 w 156"/>
                  <a:gd name="T3" fmla="*/ 96 h 96"/>
                  <a:gd name="T4" fmla="*/ 0 w 156"/>
                  <a:gd name="T5" fmla="*/ 52 h 96"/>
                  <a:gd name="T6" fmla="*/ 0 w 156"/>
                  <a:gd name="T7" fmla="*/ 44 h 96"/>
                  <a:gd name="T8" fmla="*/ 44 w 156"/>
                  <a:gd name="T9" fmla="*/ 0 h 96"/>
                  <a:gd name="T10" fmla="*/ 46 w 156"/>
                  <a:gd name="T11" fmla="*/ 0 h 96"/>
                  <a:gd name="T12" fmla="*/ 114 w 156"/>
                  <a:gd name="T13" fmla="*/ 8 h 96"/>
                  <a:gd name="T14" fmla="*/ 156 w 156"/>
                  <a:gd name="T15" fmla="*/ 52 h 96"/>
                  <a:gd name="T16" fmla="*/ 112 w 156"/>
                  <a:gd name="T17" fmla="*/ 96 h 96"/>
                  <a:gd name="T18" fmla="*/ 43 w 156"/>
                  <a:gd name="T19" fmla="*/ 32 h 96"/>
                  <a:gd name="T20" fmla="*/ 32 w 156"/>
                  <a:gd name="T21" fmla="*/ 44 h 96"/>
                  <a:gd name="T22" fmla="*/ 32 w 156"/>
                  <a:gd name="T23" fmla="*/ 52 h 96"/>
                  <a:gd name="T24" fmla="*/ 44 w 156"/>
                  <a:gd name="T25" fmla="*/ 64 h 96"/>
                  <a:gd name="T26" fmla="*/ 112 w 156"/>
                  <a:gd name="T27" fmla="*/ 64 h 96"/>
                  <a:gd name="T28" fmla="*/ 124 w 156"/>
                  <a:gd name="T29" fmla="*/ 52 h 96"/>
                  <a:gd name="T30" fmla="*/ 110 w 156"/>
                  <a:gd name="T31" fmla="*/ 40 h 96"/>
                  <a:gd name="T32" fmla="*/ 43 w 156"/>
                  <a:gd name="T33" fmla="*/ 3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6" h="96">
                    <a:moveTo>
                      <a:pt x="112" y="96"/>
                    </a:moveTo>
                    <a:cubicBezTo>
                      <a:pt x="44" y="96"/>
                      <a:pt x="44" y="96"/>
                      <a:pt x="44" y="96"/>
                    </a:cubicBezTo>
                    <a:cubicBezTo>
                      <a:pt x="20" y="96"/>
                      <a:pt x="0" y="76"/>
                      <a:pt x="0" y="52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20"/>
                      <a:pt x="20" y="0"/>
                      <a:pt x="44" y="0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95" y="6"/>
                      <a:pt x="114" y="8"/>
                    </a:cubicBezTo>
                    <a:cubicBezTo>
                      <a:pt x="140" y="11"/>
                      <a:pt x="156" y="28"/>
                      <a:pt x="156" y="52"/>
                    </a:cubicBezTo>
                    <a:cubicBezTo>
                      <a:pt x="156" y="76"/>
                      <a:pt x="136" y="96"/>
                      <a:pt x="112" y="96"/>
                    </a:cubicBezTo>
                    <a:moveTo>
                      <a:pt x="43" y="32"/>
                    </a:moveTo>
                    <a:cubicBezTo>
                      <a:pt x="37" y="32"/>
                      <a:pt x="32" y="38"/>
                      <a:pt x="32" y="44"/>
                    </a:cubicBezTo>
                    <a:cubicBezTo>
                      <a:pt x="32" y="52"/>
                      <a:pt x="32" y="52"/>
                      <a:pt x="32" y="52"/>
                    </a:cubicBezTo>
                    <a:cubicBezTo>
                      <a:pt x="32" y="59"/>
                      <a:pt x="37" y="64"/>
                      <a:pt x="44" y="64"/>
                    </a:cubicBezTo>
                    <a:cubicBezTo>
                      <a:pt x="112" y="64"/>
                      <a:pt x="112" y="64"/>
                      <a:pt x="112" y="64"/>
                    </a:cubicBezTo>
                    <a:cubicBezTo>
                      <a:pt x="119" y="64"/>
                      <a:pt x="124" y="59"/>
                      <a:pt x="124" y="52"/>
                    </a:cubicBezTo>
                    <a:cubicBezTo>
                      <a:pt x="124" y="48"/>
                      <a:pt x="124" y="42"/>
                      <a:pt x="110" y="40"/>
                    </a:cubicBezTo>
                    <a:cubicBezTo>
                      <a:pt x="93" y="38"/>
                      <a:pt x="51" y="33"/>
                      <a:pt x="43" y="32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78" name="Freeform 20"/>
              <p:cNvSpPr>
                <a:spLocks noEditPoints="1"/>
              </p:cNvSpPr>
              <p:nvPr/>
            </p:nvSpPr>
            <p:spPr bwMode="auto">
              <a:xfrm>
                <a:off x="-638175" y="6321425"/>
                <a:ext cx="2408238" cy="1931987"/>
              </a:xfrm>
              <a:custGeom>
                <a:avLst/>
                <a:gdLst>
                  <a:gd name="T0" fmla="*/ 584 w 640"/>
                  <a:gd name="T1" fmla="*/ 513 h 513"/>
                  <a:gd name="T2" fmla="*/ 515 w 640"/>
                  <a:gd name="T3" fmla="*/ 513 h 513"/>
                  <a:gd name="T4" fmla="*/ 513 w 640"/>
                  <a:gd name="T5" fmla="*/ 513 h 513"/>
                  <a:gd name="T6" fmla="*/ 476 w 640"/>
                  <a:gd name="T7" fmla="*/ 433 h 513"/>
                  <a:gd name="T8" fmla="*/ 164 w 640"/>
                  <a:gd name="T9" fmla="*/ 433 h 513"/>
                  <a:gd name="T10" fmla="*/ 127 w 640"/>
                  <a:gd name="T11" fmla="*/ 513 h 513"/>
                  <a:gd name="T12" fmla="*/ 125 w 640"/>
                  <a:gd name="T13" fmla="*/ 513 h 513"/>
                  <a:gd name="T14" fmla="*/ 56 w 640"/>
                  <a:gd name="T15" fmla="*/ 513 h 513"/>
                  <a:gd name="T16" fmla="*/ 16 w 640"/>
                  <a:gd name="T17" fmla="*/ 417 h 513"/>
                  <a:gd name="T18" fmla="*/ 16 w 640"/>
                  <a:gd name="T19" fmla="*/ 305 h 513"/>
                  <a:gd name="T20" fmla="*/ 36 w 640"/>
                  <a:gd name="T21" fmla="*/ 239 h 513"/>
                  <a:gd name="T22" fmla="*/ 0 w 640"/>
                  <a:gd name="T23" fmla="*/ 193 h 513"/>
                  <a:gd name="T24" fmla="*/ 42 w 640"/>
                  <a:gd name="T25" fmla="*/ 145 h 513"/>
                  <a:gd name="T26" fmla="*/ 44 w 640"/>
                  <a:gd name="T27" fmla="*/ 145 h 513"/>
                  <a:gd name="T28" fmla="*/ 101 w 640"/>
                  <a:gd name="T29" fmla="*/ 145 h 513"/>
                  <a:gd name="T30" fmla="*/ 147 w 640"/>
                  <a:gd name="T31" fmla="*/ 56 h 513"/>
                  <a:gd name="T32" fmla="*/ 251 w 640"/>
                  <a:gd name="T33" fmla="*/ 6 h 513"/>
                  <a:gd name="T34" fmla="*/ 320 w 640"/>
                  <a:gd name="T35" fmla="*/ 1 h 513"/>
                  <a:gd name="T36" fmla="*/ 389 w 640"/>
                  <a:gd name="T37" fmla="*/ 6 h 513"/>
                  <a:gd name="T38" fmla="*/ 493 w 640"/>
                  <a:gd name="T39" fmla="*/ 56 h 513"/>
                  <a:gd name="T40" fmla="*/ 539 w 640"/>
                  <a:gd name="T41" fmla="*/ 145 h 513"/>
                  <a:gd name="T42" fmla="*/ 598 w 640"/>
                  <a:gd name="T43" fmla="*/ 145 h 513"/>
                  <a:gd name="T44" fmla="*/ 640 w 640"/>
                  <a:gd name="T45" fmla="*/ 193 h 513"/>
                  <a:gd name="T46" fmla="*/ 604 w 640"/>
                  <a:gd name="T47" fmla="*/ 239 h 513"/>
                  <a:gd name="T48" fmla="*/ 624 w 640"/>
                  <a:gd name="T49" fmla="*/ 305 h 513"/>
                  <a:gd name="T50" fmla="*/ 624 w 640"/>
                  <a:gd name="T51" fmla="*/ 417 h 513"/>
                  <a:gd name="T52" fmla="*/ 584 w 640"/>
                  <a:gd name="T53" fmla="*/ 513 h 513"/>
                  <a:gd name="T54" fmla="*/ 520 w 640"/>
                  <a:gd name="T55" fmla="*/ 481 h 513"/>
                  <a:gd name="T56" fmla="*/ 581 w 640"/>
                  <a:gd name="T57" fmla="*/ 481 h 513"/>
                  <a:gd name="T58" fmla="*/ 592 w 640"/>
                  <a:gd name="T59" fmla="*/ 417 h 513"/>
                  <a:gd name="T60" fmla="*/ 592 w 640"/>
                  <a:gd name="T61" fmla="*/ 305 h 513"/>
                  <a:gd name="T62" fmla="*/ 564 w 640"/>
                  <a:gd name="T63" fmla="*/ 235 h 513"/>
                  <a:gd name="T64" fmla="*/ 543 w 640"/>
                  <a:gd name="T65" fmla="*/ 209 h 513"/>
                  <a:gd name="T66" fmla="*/ 592 w 640"/>
                  <a:gd name="T67" fmla="*/ 209 h 513"/>
                  <a:gd name="T68" fmla="*/ 608 w 640"/>
                  <a:gd name="T69" fmla="*/ 193 h 513"/>
                  <a:gd name="T70" fmla="*/ 595 w 640"/>
                  <a:gd name="T71" fmla="*/ 177 h 513"/>
                  <a:gd name="T72" fmla="*/ 516 w 640"/>
                  <a:gd name="T73" fmla="*/ 177 h 513"/>
                  <a:gd name="T74" fmla="*/ 513 w 640"/>
                  <a:gd name="T75" fmla="*/ 166 h 513"/>
                  <a:gd name="T76" fmla="*/ 467 w 640"/>
                  <a:gd name="T77" fmla="*/ 75 h 513"/>
                  <a:gd name="T78" fmla="*/ 467 w 640"/>
                  <a:gd name="T79" fmla="*/ 74 h 513"/>
                  <a:gd name="T80" fmla="*/ 321 w 640"/>
                  <a:gd name="T81" fmla="*/ 33 h 513"/>
                  <a:gd name="T82" fmla="*/ 320 w 640"/>
                  <a:gd name="T83" fmla="*/ 33 h 513"/>
                  <a:gd name="T84" fmla="*/ 320 w 640"/>
                  <a:gd name="T85" fmla="*/ 33 h 513"/>
                  <a:gd name="T86" fmla="*/ 173 w 640"/>
                  <a:gd name="T87" fmla="*/ 74 h 513"/>
                  <a:gd name="T88" fmla="*/ 173 w 640"/>
                  <a:gd name="T89" fmla="*/ 75 h 513"/>
                  <a:gd name="T90" fmla="*/ 127 w 640"/>
                  <a:gd name="T91" fmla="*/ 166 h 513"/>
                  <a:gd name="T92" fmla="*/ 124 w 640"/>
                  <a:gd name="T93" fmla="*/ 177 h 513"/>
                  <a:gd name="T94" fmla="*/ 45 w 640"/>
                  <a:gd name="T95" fmla="*/ 177 h 513"/>
                  <a:gd name="T96" fmla="*/ 32 w 640"/>
                  <a:gd name="T97" fmla="*/ 193 h 513"/>
                  <a:gd name="T98" fmla="*/ 48 w 640"/>
                  <a:gd name="T99" fmla="*/ 209 h 513"/>
                  <a:gd name="T100" fmla="*/ 97 w 640"/>
                  <a:gd name="T101" fmla="*/ 209 h 513"/>
                  <a:gd name="T102" fmla="*/ 76 w 640"/>
                  <a:gd name="T103" fmla="*/ 235 h 513"/>
                  <a:gd name="T104" fmla="*/ 48 w 640"/>
                  <a:gd name="T105" fmla="*/ 305 h 513"/>
                  <a:gd name="T106" fmla="*/ 48 w 640"/>
                  <a:gd name="T107" fmla="*/ 417 h 513"/>
                  <a:gd name="T108" fmla="*/ 59 w 640"/>
                  <a:gd name="T109" fmla="*/ 481 h 513"/>
                  <a:gd name="T110" fmla="*/ 120 w 640"/>
                  <a:gd name="T111" fmla="*/ 481 h 513"/>
                  <a:gd name="T112" fmla="*/ 132 w 640"/>
                  <a:gd name="T113" fmla="*/ 417 h 513"/>
                  <a:gd name="T114" fmla="*/ 132 w 640"/>
                  <a:gd name="T115" fmla="*/ 401 h 513"/>
                  <a:gd name="T116" fmla="*/ 508 w 640"/>
                  <a:gd name="T117" fmla="*/ 401 h 513"/>
                  <a:gd name="T118" fmla="*/ 508 w 640"/>
                  <a:gd name="T119" fmla="*/ 417 h 513"/>
                  <a:gd name="T120" fmla="*/ 520 w 640"/>
                  <a:gd name="T121" fmla="*/ 481 h 5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40" h="513">
                    <a:moveTo>
                      <a:pt x="584" y="513"/>
                    </a:moveTo>
                    <a:cubicBezTo>
                      <a:pt x="515" y="513"/>
                      <a:pt x="515" y="513"/>
                      <a:pt x="515" y="513"/>
                    </a:cubicBezTo>
                    <a:cubicBezTo>
                      <a:pt x="513" y="513"/>
                      <a:pt x="513" y="513"/>
                      <a:pt x="513" y="513"/>
                    </a:cubicBezTo>
                    <a:cubicBezTo>
                      <a:pt x="505" y="511"/>
                      <a:pt x="480" y="502"/>
                      <a:pt x="476" y="433"/>
                    </a:cubicBezTo>
                    <a:cubicBezTo>
                      <a:pt x="164" y="433"/>
                      <a:pt x="164" y="433"/>
                      <a:pt x="164" y="433"/>
                    </a:cubicBezTo>
                    <a:cubicBezTo>
                      <a:pt x="162" y="461"/>
                      <a:pt x="155" y="508"/>
                      <a:pt x="127" y="513"/>
                    </a:cubicBezTo>
                    <a:cubicBezTo>
                      <a:pt x="125" y="513"/>
                      <a:pt x="125" y="513"/>
                      <a:pt x="125" y="513"/>
                    </a:cubicBezTo>
                    <a:cubicBezTo>
                      <a:pt x="56" y="513"/>
                      <a:pt x="56" y="513"/>
                      <a:pt x="56" y="513"/>
                    </a:cubicBezTo>
                    <a:cubicBezTo>
                      <a:pt x="20" y="513"/>
                      <a:pt x="16" y="446"/>
                      <a:pt x="16" y="417"/>
                    </a:cubicBezTo>
                    <a:cubicBezTo>
                      <a:pt x="16" y="305"/>
                      <a:pt x="16" y="305"/>
                      <a:pt x="16" y="305"/>
                    </a:cubicBezTo>
                    <a:cubicBezTo>
                      <a:pt x="16" y="280"/>
                      <a:pt x="26" y="257"/>
                      <a:pt x="36" y="239"/>
                    </a:cubicBezTo>
                    <a:cubicBezTo>
                      <a:pt x="13" y="234"/>
                      <a:pt x="0" y="213"/>
                      <a:pt x="0" y="193"/>
                    </a:cubicBezTo>
                    <a:cubicBezTo>
                      <a:pt x="0" y="160"/>
                      <a:pt x="27" y="147"/>
                      <a:pt x="42" y="145"/>
                    </a:cubicBezTo>
                    <a:cubicBezTo>
                      <a:pt x="44" y="145"/>
                      <a:pt x="44" y="145"/>
                      <a:pt x="44" y="145"/>
                    </a:cubicBezTo>
                    <a:cubicBezTo>
                      <a:pt x="101" y="145"/>
                      <a:pt x="101" y="145"/>
                      <a:pt x="101" y="145"/>
                    </a:cubicBezTo>
                    <a:cubicBezTo>
                      <a:pt x="108" y="125"/>
                      <a:pt x="125" y="84"/>
                      <a:pt x="147" y="56"/>
                    </a:cubicBezTo>
                    <a:cubicBezTo>
                      <a:pt x="165" y="30"/>
                      <a:pt x="200" y="14"/>
                      <a:pt x="251" y="6"/>
                    </a:cubicBezTo>
                    <a:cubicBezTo>
                      <a:pt x="286" y="0"/>
                      <a:pt x="316" y="1"/>
                      <a:pt x="320" y="1"/>
                    </a:cubicBezTo>
                    <a:cubicBezTo>
                      <a:pt x="324" y="1"/>
                      <a:pt x="355" y="0"/>
                      <a:pt x="389" y="6"/>
                    </a:cubicBezTo>
                    <a:cubicBezTo>
                      <a:pt x="440" y="14"/>
                      <a:pt x="475" y="30"/>
                      <a:pt x="493" y="56"/>
                    </a:cubicBezTo>
                    <a:cubicBezTo>
                      <a:pt x="515" y="84"/>
                      <a:pt x="532" y="125"/>
                      <a:pt x="539" y="145"/>
                    </a:cubicBezTo>
                    <a:cubicBezTo>
                      <a:pt x="598" y="145"/>
                      <a:pt x="598" y="145"/>
                      <a:pt x="598" y="145"/>
                    </a:cubicBezTo>
                    <a:cubicBezTo>
                      <a:pt x="613" y="147"/>
                      <a:pt x="640" y="160"/>
                      <a:pt x="640" y="193"/>
                    </a:cubicBezTo>
                    <a:cubicBezTo>
                      <a:pt x="640" y="213"/>
                      <a:pt x="627" y="234"/>
                      <a:pt x="604" y="239"/>
                    </a:cubicBezTo>
                    <a:cubicBezTo>
                      <a:pt x="614" y="257"/>
                      <a:pt x="624" y="280"/>
                      <a:pt x="624" y="305"/>
                    </a:cubicBezTo>
                    <a:cubicBezTo>
                      <a:pt x="624" y="417"/>
                      <a:pt x="624" y="417"/>
                      <a:pt x="624" y="417"/>
                    </a:cubicBezTo>
                    <a:cubicBezTo>
                      <a:pt x="624" y="446"/>
                      <a:pt x="620" y="513"/>
                      <a:pt x="584" y="513"/>
                    </a:cubicBezTo>
                    <a:moveTo>
                      <a:pt x="520" y="481"/>
                    </a:moveTo>
                    <a:cubicBezTo>
                      <a:pt x="581" y="481"/>
                      <a:pt x="581" y="481"/>
                      <a:pt x="581" y="481"/>
                    </a:cubicBezTo>
                    <a:cubicBezTo>
                      <a:pt x="586" y="475"/>
                      <a:pt x="592" y="453"/>
                      <a:pt x="592" y="417"/>
                    </a:cubicBezTo>
                    <a:cubicBezTo>
                      <a:pt x="592" y="305"/>
                      <a:pt x="592" y="305"/>
                      <a:pt x="592" y="305"/>
                    </a:cubicBezTo>
                    <a:cubicBezTo>
                      <a:pt x="592" y="277"/>
                      <a:pt x="571" y="245"/>
                      <a:pt x="564" y="235"/>
                    </a:cubicBezTo>
                    <a:cubicBezTo>
                      <a:pt x="543" y="209"/>
                      <a:pt x="543" y="209"/>
                      <a:pt x="543" y="209"/>
                    </a:cubicBezTo>
                    <a:cubicBezTo>
                      <a:pt x="592" y="209"/>
                      <a:pt x="592" y="209"/>
                      <a:pt x="592" y="209"/>
                    </a:cubicBezTo>
                    <a:cubicBezTo>
                      <a:pt x="604" y="209"/>
                      <a:pt x="608" y="199"/>
                      <a:pt x="608" y="193"/>
                    </a:cubicBezTo>
                    <a:cubicBezTo>
                      <a:pt x="608" y="181"/>
                      <a:pt x="599" y="178"/>
                      <a:pt x="595" y="177"/>
                    </a:cubicBezTo>
                    <a:cubicBezTo>
                      <a:pt x="516" y="177"/>
                      <a:pt x="516" y="177"/>
                      <a:pt x="516" y="177"/>
                    </a:cubicBezTo>
                    <a:cubicBezTo>
                      <a:pt x="513" y="166"/>
                      <a:pt x="513" y="166"/>
                      <a:pt x="513" y="166"/>
                    </a:cubicBezTo>
                    <a:cubicBezTo>
                      <a:pt x="513" y="165"/>
                      <a:pt x="493" y="108"/>
                      <a:pt x="467" y="75"/>
                    </a:cubicBezTo>
                    <a:cubicBezTo>
                      <a:pt x="467" y="74"/>
                      <a:pt x="467" y="74"/>
                      <a:pt x="467" y="74"/>
                    </a:cubicBezTo>
                    <a:cubicBezTo>
                      <a:pt x="441" y="37"/>
                      <a:pt x="353" y="32"/>
                      <a:pt x="321" y="33"/>
                    </a:cubicBezTo>
                    <a:cubicBezTo>
                      <a:pt x="320" y="33"/>
                      <a:pt x="320" y="33"/>
                      <a:pt x="320" y="33"/>
                    </a:cubicBezTo>
                    <a:cubicBezTo>
                      <a:pt x="320" y="33"/>
                      <a:pt x="320" y="33"/>
                      <a:pt x="320" y="33"/>
                    </a:cubicBezTo>
                    <a:cubicBezTo>
                      <a:pt x="287" y="32"/>
                      <a:pt x="199" y="37"/>
                      <a:pt x="173" y="74"/>
                    </a:cubicBezTo>
                    <a:cubicBezTo>
                      <a:pt x="173" y="75"/>
                      <a:pt x="173" y="75"/>
                      <a:pt x="173" y="75"/>
                    </a:cubicBezTo>
                    <a:cubicBezTo>
                      <a:pt x="147" y="108"/>
                      <a:pt x="127" y="165"/>
                      <a:pt x="127" y="166"/>
                    </a:cubicBezTo>
                    <a:cubicBezTo>
                      <a:pt x="124" y="177"/>
                      <a:pt x="124" y="177"/>
                      <a:pt x="124" y="177"/>
                    </a:cubicBezTo>
                    <a:cubicBezTo>
                      <a:pt x="45" y="177"/>
                      <a:pt x="45" y="177"/>
                      <a:pt x="45" y="177"/>
                    </a:cubicBezTo>
                    <a:cubicBezTo>
                      <a:pt x="41" y="178"/>
                      <a:pt x="32" y="181"/>
                      <a:pt x="32" y="193"/>
                    </a:cubicBezTo>
                    <a:cubicBezTo>
                      <a:pt x="32" y="199"/>
                      <a:pt x="36" y="209"/>
                      <a:pt x="48" y="209"/>
                    </a:cubicBezTo>
                    <a:cubicBezTo>
                      <a:pt x="97" y="209"/>
                      <a:pt x="97" y="209"/>
                      <a:pt x="97" y="209"/>
                    </a:cubicBezTo>
                    <a:cubicBezTo>
                      <a:pt x="76" y="235"/>
                      <a:pt x="76" y="235"/>
                      <a:pt x="76" y="235"/>
                    </a:cubicBezTo>
                    <a:cubicBezTo>
                      <a:pt x="76" y="235"/>
                      <a:pt x="48" y="271"/>
                      <a:pt x="48" y="305"/>
                    </a:cubicBezTo>
                    <a:cubicBezTo>
                      <a:pt x="48" y="417"/>
                      <a:pt x="48" y="417"/>
                      <a:pt x="48" y="417"/>
                    </a:cubicBezTo>
                    <a:cubicBezTo>
                      <a:pt x="48" y="453"/>
                      <a:pt x="54" y="475"/>
                      <a:pt x="59" y="481"/>
                    </a:cubicBezTo>
                    <a:cubicBezTo>
                      <a:pt x="120" y="481"/>
                      <a:pt x="120" y="481"/>
                      <a:pt x="120" y="481"/>
                    </a:cubicBezTo>
                    <a:cubicBezTo>
                      <a:pt x="123" y="477"/>
                      <a:pt x="132" y="463"/>
                      <a:pt x="132" y="417"/>
                    </a:cubicBezTo>
                    <a:cubicBezTo>
                      <a:pt x="132" y="401"/>
                      <a:pt x="132" y="401"/>
                      <a:pt x="132" y="401"/>
                    </a:cubicBezTo>
                    <a:cubicBezTo>
                      <a:pt x="508" y="401"/>
                      <a:pt x="508" y="401"/>
                      <a:pt x="508" y="401"/>
                    </a:cubicBezTo>
                    <a:cubicBezTo>
                      <a:pt x="508" y="417"/>
                      <a:pt x="508" y="417"/>
                      <a:pt x="508" y="417"/>
                    </a:cubicBezTo>
                    <a:cubicBezTo>
                      <a:pt x="508" y="463"/>
                      <a:pt x="517" y="477"/>
                      <a:pt x="520" y="481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279" name="Freeform 21"/>
              <p:cNvSpPr>
                <a:spLocks noEditPoints="1"/>
              </p:cNvSpPr>
              <p:nvPr/>
            </p:nvSpPr>
            <p:spPr bwMode="auto">
              <a:xfrm>
                <a:off x="822325" y="7289800"/>
                <a:ext cx="587375" cy="360362"/>
              </a:xfrm>
              <a:custGeom>
                <a:avLst/>
                <a:gdLst>
                  <a:gd name="T0" fmla="*/ 112 w 156"/>
                  <a:gd name="T1" fmla="*/ 96 h 96"/>
                  <a:gd name="T2" fmla="*/ 44 w 156"/>
                  <a:gd name="T3" fmla="*/ 96 h 96"/>
                  <a:gd name="T4" fmla="*/ 0 w 156"/>
                  <a:gd name="T5" fmla="*/ 52 h 96"/>
                  <a:gd name="T6" fmla="*/ 42 w 156"/>
                  <a:gd name="T7" fmla="*/ 8 h 96"/>
                  <a:gd name="T8" fmla="*/ 110 w 156"/>
                  <a:gd name="T9" fmla="*/ 0 h 96"/>
                  <a:gd name="T10" fmla="*/ 112 w 156"/>
                  <a:gd name="T11" fmla="*/ 0 h 96"/>
                  <a:gd name="T12" fmla="*/ 156 w 156"/>
                  <a:gd name="T13" fmla="*/ 44 h 96"/>
                  <a:gd name="T14" fmla="*/ 156 w 156"/>
                  <a:gd name="T15" fmla="*/ 52 h 96"/>
                  <a:gd name="T16" fmla="*/ 112 w 156"/>
                  <a:gd name="T17" fmla="*/ 96 h 96"/>
                  <a:gd name="T18" fmla="*/ 113 w 156"/>
                  <a:gd name="T19" fmla="*/ 32 h 96"/>
                  <a:gd name="T20" fmla="*/ 46 w 156"/>
                  <a:gd name="T21" fmla="*/ 40 h 96"/>
                  <a:gd name="T22" fmla="*/ 32 w 156"/>
                  <a:gd name="T23" fmla="*/ 52 h 96"/>
                  <a:gd name="T24" fmla="*/ 44 w 156"/>
                  <a:gd name="T25" fmla="*/ 64 h 96"/>
                  <a:gd name="T26" fmla="*/ 112 w 156"/>
                  <a:gd name="T27" fmla="*/ 64 h 96"/>
                  <a:gd name="T28" fmla="*/ 124 w 156"/>
                  <a:gd name="T29" fmla="*/ 52 h 96"/>
                  <a:gd name="T30" fmla="*/ 124 w 156"/>
                  <a:gd name="T31" fmla="*/ 44 h 96"/>
                  <a:gd name="T32" fmla="*/ 113 w 156"/>
                  <a:gd name="T33" fmla="*/ 32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6" h="96">
                    <a:moveTo>
                      <a:pt x="112" y="96"/>
                    </a:moveTo>
                    <a:cubicBezTo>
                      <a:pt x="44" y="96"/>
                      <a:pt x="44" y="96"/>
                      <a:pt x="44" y="96"/>
                    </a:cubicBezTo>
                    <a:cubicBezTo>
                      <a:pt x="20" y="96"/>
                      <a:pt x="0" y="76"/>
                      <a:pt x="0" y="52"/>
                    </a:cubicBezTo>
                    <a:cubicBezTo>
                      <a:pt x="0" y="28"/>
                      <a:pt x="16" y="11"/>
                      <a:pt x="42" y="8"/>
                    </a:cubicBezTo>
                    <a:cubicBezTo>
                      <a:pt x="61" y="6"/>
                      <a:pt x="110" y="0"/>
                      <a:pt x="110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36" y="0"/>
                      <a:pt x="156" y="20"/>
                      <a:pt x="156" y="44"/>
                    </a:cubicBezTo>
                    <a:cubicBezTo>
                      <a:pt x="156" y="52"/>
                      <a:pt x="156" y="52"/>
                      <a:pt x="156" y="52"/>
                    </a:cubicBezTo>
                    <a:cubicBezTo>
                      <a:pt x="156" y="76"/>
                      <a:pt x="136" y="96"/>
                      <a:pt x="112" y="96"/>
                    </a:cubicBezTo>
                    <a:moveTo>
                      <a:pt x="113" y="32"/>
                    </a:moveTo>
                    <a:cubicBezTo>
                      <a:pt x="105" y="33"/>
                      <a:pt x="63" y="38"/>
                      <a:pt x="46" y="40"/>
                    </a:cubicBezTo>
                    <a:cubicBezTo>
                      <a:pt x="32" y="42"/>
                      <a:pt x="32" y="48"/>
                      <a:pt x="32" y="52"/>
                    </a:cubicBezTo>
                    <a:cubicBezTo>
                      <a:pt x="32" y="59"/>
                      <a:pt x="37" y="64"/>
                      <a:pt x="44" y="64"/>
                    </a:cubicBezTo>
                    <a:cubicBezTo>
                      <a:pt x="112" y="64"/>
                      <a:pt x="112" y="64"/>
                      <a:pt x="112" y="64"/>
                    </a:cubicBezTo>
                    <a:cubicBezTo>
                      <a:pt x="119" y="64"/>
                      <a:pt x="124" y="59"/>
                      <a:pt x="124" y="52"/>
                    </a:cubicBezTo>
                    <a:cubicBezTo>
                      <a:pt x="124" y="44"/>
                      <a:pt x="124" y="44"/>
                      <a:pt x="124" y="44"/>
                    </a:cubicBezTo>
                    <a:cubicBezTo>
                      <a:pt x="124" y="38"/>
                      <a:pt x="119" y="32"/>
                      <a:pt x="113" y="32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</p:grpSp>
      <p:sp>
        <p:nvSpPr>
          <p:cNvPr id="280" name="Título 1"/>
          <p:cNvSpPr>
            <a:spLocks noGrp="1"/>
          </p:cNvSpPr>
          <p:nvPr>
            <p:ph type="ctrTitle"/>
          </p:nvPr>
        </p:nvSpPr>
        <p:spPr>
          <a:xfrm>
            <a:off x="257175" y="272225"/>
            <a:ext cx="9893268" cy="512872"/>
          </a:xfrm>
        </p:spPr>
        <p:txBody>
          <a:bodyPr>
            <a:normAutofit/>
          </a:bodyPr>
          <a:lstStyle/>
          <a:p>
            <a:r>
              <a:rPr lang="pt-BR" sz="3600" cap="small" dirty="0" smtClean="0">
                <a:solidFill>
                  <a:schemeClr val="accent4"/>
                </a:solidFill>
              </a:rPr>
              <a:t>BOSCH Agro 4.0 | NEVONEX</a:t>
            </a:r>
            <a:endParaRPr lang="pt-BR" sz="3600" cap="small" dirty="0">
              <a:solidFill>
                <a:schemeClr val="accent4"/>
              </a:solidFill>
            </a:endParaRPr>
          </a:p>
        </p:txBody>
      </p:sp>
      <p:sp>
        <p:nvSpPr>
          <p:cNvPr id="281" name="Título 1"/>
          <p:cNvSpPr txBox="1">
            <a:spLocks/>
          </p:cNvSpPr>
          <p:nvPr/>
        </p:nvSpPr>
        <p:spPr>
          <a:xfrm>
            <a:off x="258254" y="782823"/>
            <a:ext cx="9892189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small" spc="0" normalizeH="0" baseline="0" dirty="0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Grupo</a:t>
            </a:r>
            <a:r>
              <a:rPr kumimoji="0" lang="pt-BR" sz="28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 Bosch</a:t>
            </a:r>
            <a:endParaRPr kumimoji="0" lang="pt-BR" sz="2800" b="0" i="0" u="none" strike="noStrike" kern="1200" cap="small" spc="0" normalizeH="0" baseline="0" noProof="0" dirty="0">
              <a:ln>
                <a:noFill/>
              </a:ln>
              <a:solidFill>
                <a:srgbClr val="1399A0"/>
              </a:solidFill>
              <a:effectLst/>
              <a:uLnTx/>
              <a:uFillTx/>
              <a:latin typeface="Bosch Office Sans"/>
              <a:ea typeface="+mj-ea"/>
              <a:cs typeface="+mj-cs"/>
            </a:endParaRPr>
          </a:p>
        </p:txBody>
      </p:sp>
      <p:sp>
        <p:nvSpPr>
          <p:cNvPr id="283" name="TextBox 38"/>
          <p:cNvSpPr txBox="1"/>
          <p:nvPr/>
        </p:nvSpPr>
        <p:spPr>
          <a:xfrm>
            <a:off x="6915815" y="1922617"/>
            <a:ext cx="1486387" cy="41036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defTabSz="914400" eaLnBrk="1" fontAlgn="auto" latinLnBrk="0" hangingPunct="1">
              <a:lnSpc>
                <a:spcPts val="16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398.158</a:t>
            </a:r>
            <a:r>
              <a:rPr kumimoji="0" lang="pt-BR" sz="2800" b="0" i="0" u="none" strike="noStrike" kern="0" cap="none" spc="0" normalizeH="0" baseline="3000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*</a:t>
            </a:r>
            <a:r>
              <a:rPr kumimoji="0" lang="pt-B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 </a:t>
            </a:r>
            <a:br>
              <a:rPr kumimoji="0" lang="pt-B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</a:br>
            <a:r>
              <a:rPr kumimoji="0" lang="pt-BR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colaboradores</a:t>
            </a:r>
            <a:endParaRPr kumimoji="0" lang="pt-BR" sz="1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sch Office Sans"/>
            </a:endParaRPr>
          </a:p>
        </p:txBody>
      </p:sp>
      <p:sp>
        <p:nvSpPr>
          <p:cNvPr id="284" name="TextBox 44"/>
          <p:cNvSpPr txBox="1"/>
          <p:nvPr/>
        </p:nvSpPr>
        <p:spPr>
          <a:xfrm>
            <a:off x="9240634" y="2131700"/>
            <a:ext cx="1326025" cy="41036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ts val="1600"/>
              </a:lnSpc>
              <a:spcBef>
                <a:spcPts val="500"/>
              </a:spcBef>
            </a:pPr>
            <a:r>
              <a:rPr lang="pt-BR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60 subsidiárias regionais</a:t>
            </a:r>
            <a:endParaRPr lang="pt-BR" sz="12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5" name="TextBox 45"/>
          <p:cNvSpPr txBox="1"/>
          <p:nvPr/>
        </p:nvSpPr>
        <p:spPr>
          <a:xfrm>
            <a:off x="9240634" y="1706250"/>
            <a:ext cx="1058361" cy="41036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ts val="1600"/>
              </a:lnSpc>
              <a:spcBef>
                <a:spcPts val="500"/>
              </a:spcBef>
            </a:pPr>
            <a:r>
              <a:rPr lang="pt-BR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0</a:t>
            </a:r>
            <a:r>
              <a:rPr lang="pt-BR" sz="2800" baseline="30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*</a:t>
            </a:r>
            <a:r>
              <a:rPr lang="pt-BR" sz="2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pt-BR" sz="1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íses –</a:t>
            </a:r>
            <a:endParaRPr lang="pt-BR" sz="12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6" name="TextBox 41"/>
          <p:cNvSpPr txBox="1"/>
          <p:nvPr/>
        </p:nvSpPr>
        <p:spPr>
          <a:xfrm>
            <a:off x="6310683" y="2978483"/>
            <a:ext cx="3157639" cy="3029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>
              <a:lnSpc>
                <a:spcPts val="2300"/>
              </a:lnSpc>
            </a:pPr>
            <a:r>
              <a:rPr lang="pt-BR" sz="2000" dirty="0" smtClean="0">
                <a:gradFill flip="none" rotWithShape="1">
                  <a:gsLst>
                    <a:gs pos="0">
                      <a:schemeClr val="accent5"/>
                    </a:gs>
                    <a:gs pos="86000">
                      <a:schemeClr val="accent1"/>
                    </a:gs>
                  </a:gsLst>
                  <a:lin ang="2700000" scaled="1"/>
                  <a:tileRect/>
                </a:gradFill>
              </a:rPr>
              <a:t>Quatro segmentos </a:t>
            </a:r>
            <a:endParaRPr lang="pt-BR" sz="1400" kern="0" dirty="0">
              <a:gradFill flip="none" rotWithShape="1">
                <a:gsLst>
                  <a:gs pos="0">
                    <a:schemeClr val="accent5"/>
                  </a:gs>
                  <a:gs pos="86000">
                    <a:schemeClr val="accent1"/>
                  </a:gs>
                </a:gsLst>
                <a:lin ang="2700000" scaled="1"/>
                <a:tileRect/>
              </a:gradFill>
              <a:latin typeface="Bosch Office Sans"/>
            </a:endParaRPr>
          </a:p>
        </p:txBody>
      </p:sp>
      <p:sp>
        <p:nvSpPr>
          <p:cNvPr id="287" name="TextBox 88"/>
          <p:cNvSpPr txBox="1"/>
          <p:nvPr/>
        </p:nvSpPr>
        <p:spPr>
          <a:xfrm>
            <a:off x="6513537" y="3906932"/>
            <a:ext cx="664300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ts val="1200"/>
              </a:lnSpc>
              <a:spcBef>
                <a:spcPts val="500"/>
              </a:spcBef>
            </a:pPr>
            <a:r>
              <a:rPr lang="pt-BR" sz="900" dirty="0" smtClean="0">
                <a:solidFill>
                  <a:srgbClr val="000000"/>
                </a:solidFill>
              </a:rPr>
              <a:t>Soluções de Mobilidade</a:t>
            </a:r>
            <a:endParaRPr lang="pt-BR" sz="900" dirty="0">
              <a:solidFill>
                <a:srgbClr val="000000"/>
              </a:solidFill>
            </a:endParaRPr>
          </a:p>
        </p:txBody>
      </p:sp>
      <p:sp>
        <p:nvSpPr>
          <p:cNvPr id="288" name="TextBox 89"/>
          <p:cNvSpPr txBox="1"/>
          <p:nvPr/>
        </p:nvSpPr>
        <p:spPr>
          <a:xfrm>
            <a:off x="7556854" y="3920687"/>
            <a:ext cx="664300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ts val="1200"/>
              </a:lnSpc>
              <a:spcBef>
                <a:spcPts val="500"/>
              </a:spcBef>
            </a:pPr>
            <a:r>
              <a:rPr lang="pt-BR" sz="900" dirty="0" smtClean="0">
                <a:solidFill>
                  <a:srgbClr val="000000"/>
                </a:solidFill>
              </a:rPr>
              <a:t>Tecnologia Industrial</a:t>
            </a:r>
            <a:endParaRPr lang="pt-BR" sz="900" dirty="0">
              <a:solidFill>
                <a:srgbClr val="000000"/>
              </a:solidFill>
            </a:endParaRPr>
          </a:p>
        </p:txBody>
      </p:sp>
      <p:sp>
        <p:nvSpPr>
          <p:cNvPr id="289" name="TextBox 90"/>
          <p:cNvSpPr txBox="1"/>
          <p:nvPr/>
        </p:nvSpPr>
        <p:spPr>
          <a:xfrm>
            <a:off x="8546131" y="3926810"/>
            <a:ext cx="1036930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ts val="1200"/>
              </a:lnSpc>
              <a:spcBef>
                <a:spcPts val="500"/>
              </a:spcBef>
            </a:pPr>
            <a:r>
              <a:rPr lang="pt-BR" sz="900" dirty="0" smtClean="0">
                <a:solidFill>
                  <a:srgbClr val="000000"/>
                </a:solidFill>
              </a:rPr>
              <a:t>Tecnologia Predial e de Energia</a:t>
            </a:r>
            <a:endParaRPr lang="pt-BR" sz="900" dirty="0">
              <a:solidFill>
                <a:srgbClr val="000000"/>
              </a:solidFill>
            </a:endParaRPr>
          </a:p>
        </p:txBody>
      </p:sp>
      <p:sp>
        <p:nvSpPr>
          <p:cNvPr id="290" name="TextBox 91"/>
          <p:cNvSpPr txBox="1"/>
          <p:nvPr/>
        </p:nvSpPr>
        <p:spPr>
          <a:xfrm>
            <a:off x="9847252" y="3926810"/>
            <a:ext cx="664300" cy="30777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ctr">
              <a:lnSpc>
                <a:spcPts val="1200"/>
              </a:lnSpc>
              <a:spcBef>
                <a:spcPts val="500"/>
              </a:spcBef>
            </a:pPr>
            <a:r>
              <a:rPr lang="pt-BR" sz="900" dirty="0" smtClean="0">
                <a:solidFill>
                  <a:srgbClr val="000000"/>
                </a:solidFill>
              </a:rPr>
              <a:t>Mercado de Consumo</a:t>
            </a:r>
            <a:endParaRPr lang="pt-BR" sz="900" dirty="0">
              <a:solidFill>
                <a:srgbClr val="000000"/>
              </a:solidFill>
            </a:endParaRPr>
          </a:p>
        </p:txBody>
      </p:sp>
      <p:sp>
        <p:nvSpPr>
          <p:cNvPr id="291" name="CaixaDeTexto 290"/>
          <p:cNvSpPr txBox="1"/>
          <p:nvPr/>
        </p:nvSpPr>
        <p:spPr>
          <a:xfrm>
            <a:off x="257175" y="5152506"/>
            <a:ext cx="891925" cy="4111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*</a:t>
            </a:r>
            <a:r>
              <a:rPr lang="en-AU" sz="1200" dirty="0">
                <a:solidFill>
                  <a:srgbClr val="000000"/>
                </a:solidFill>
              </a:rPr>
              <a:t>12.2019</a:t>
            </a:r>
          </a:p>
        </p:txBody>
      </p:sp>
    </p:spTree>
    <p:extLst>
      <p:ext uri="{BB962C8B-B14F-4D97-AF65-F5344CB8AC3E}">
        <p14:creationId xmlns:p14="http://schemas.microsoft.com/office/powerpoint/2010/main" val="1447403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0" name="Slide do think-cell" r:id="rId14" imgW="421" imgH="420" progId="TCLayout.ActiveDocument.1">
                  <p:embed/>
                </p:oleObj>
              </mc:Choice>
              <mc:Fallback>
                <p:oleObj name="Slide do think-cell" r:id="rId14" imgW="421" imgH="42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tângulo 2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pt-BR" sz="650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grpSp>
        <p:nvGrpSpPr>
          <p:cNvPr id="25" name="Agrupar 24"/>
          <p:cNvGrpSpPr/>
          <p:nvPr/>
        </p:nvGrpSpPr>
        <p:grpSpPr>
          <a:xfrm>
            <a:off x="-1" y="-2234"/>
            <a:ext cx="10840721" cy="6172847"/>
            <a:chOff x="-100669" y="-2234"/>
            <a:chExt cx="10941389" cy="6352700"/>
          </a:xfrm>
        </p:grpSpPr>
        <p:pic>
          <p:nvPicPr>
            <p:cNvPr id="9" name="Imagem 8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-100669" y="0"/>
              <a:ext cx="10941389" cy="6350465"/>
            </a:xfrm>
            <a:prstGeom prst="rect">
              <a:avLst/>
            </a:prstGeom>
            <a:ln>
              <a:noFill/>
            </a:ln>
          </p:spPr>
        </p:pic>
        <p:sp>
          <p:nvSpPr>
            <p:cNvPr id="13" name="Retângulo 12"/>
            <p:cNvSpPr/>
            <p:nvPr/>
          </p:nvSpPr>
          <p:spPr>
            <a:xfrm>
              <a:off x="-100668" y="-2234"/>
              <a:ext cx="10941387" cy="6352700"/>
            </a:xfrm>
            <a:prstGeom prst="rect">
              <a:avLst/>
            </a:prstGeom>
            <a:solidFill>
              <a:schemeClr val="bg1">
                <a:alpha val="8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pic>
        <p:nvPicPr>
          <p:cNvPr id="17" name="Inhaltsplatzhalter 15"/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29" y="2231127"/>
            <a:ext cx="9274122" cy="2725601"/>
          </a:xfrm>
          <a:prstGeom prst="rect">
            <a:avLst/>
          </a:prstGeom>
          <a:noFill/>
        </p:spPr>
      </p:pic>
      <p:sp>
        <p:nvSpPr>
          <p:cNvPr id="119" name="Textfeld 330"/>
          <p:cNvSpPr txBox="1"/>
          <p:nvPr>
            <p:custDataLst>
              <p:tags r:id="rId4"/>
            </p:custDataLst>
          </p:nvPr>
        </p:nvSpPr>
        <p:spPr>
          <a:xfrm>
            <a:off x="6021338" y="2374216"/>
            <a:ext cx="1356712" cy="2355574"/>
          </a:xfrm>
          <a:prstGeom prst="rect">
            <a:avLst/>
          </a:prstGeom>
          <a:solidFill>
            <a:schemeClr val="bg1">
              <a:alpha val="55000"/>
            </a:schemeClr>
          </a:solidFill>
          <a:ln w="9525">
            <a:solidFill>
              <a:srgbClr val="B8B9BB"/>
            </a:solidFill>
          </a:ln>
          <a:extLst>
            <a:ext uri="{AF507438-7753-43e0-B8FC-AC1667EBCBE1}">
              <a14:hiddenEffects xmlns:mc="http://schemas.openxmlformats.org/markup-compatibility/2006" xmlns:mv="urn:schemas-microsoft-com:mac:vml"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mc="http://schemas.openxmlformats.org/markup-compatibility/2006" xmlns:mv="urn:schemas-microsoft-com:mac:vml" xmlns:a14="http://schemas.microsoft.com/office/drawing/2010/main" xmlns=""/>
            </a:ext>
          </a:extLst>
        </p:spPr>
        <p:style>
          <a:lnRef idx="2">
            <a:srgbClr val="A80163">
              <a:shade val="50000"/>
            </a:srgbClr>
          </a:lnRef>
          <a:fillRef idx="1">
            <a:srgbClr val="A80163"/>
          </a:fillRef>
          <a:effectRef idx="0">
            <a:srgbClr val="A80163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de-DE"/>
            </a:defPPr>
            <a:lvl1pPr algn="ctr">
              <a:defRPr sz="1600">
                <a:solidFill>
                  <a:srgbClr val="08427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endParaRPr lang="pt-BR" dirty="0">
              <a:solidFill>
                <a:srgbClr val="3F136C"/>
              </a:solidFill>
            </a:endParaRPr>
          </a:p>
        </p:txBody>
      </p:sp>
      <p:sp>
        <p:nvSpPr>
          <p:cNvPr id="120" name="Textfeld 330"/>
          <p:cNvSpPr txBox="1"/>
          <p:nvPr>
            <p:custDataLst>
              <p:tags r:id="rId5"/>
            </p:custDataLst>
          </p:nvPr>
        </p:nvSpPr>
        <p:spPr>
          <a:xfrm>
            <a:off x="9464309" y="2374216"/>
            <a:ext cx="1356712" cy="2355574"/>
          </a:xfrm>
          <a:prstGeom prst="rect">
            <a:avLst/>
          </a:prstGeom>
          <a:solidFill>
            <a:schemeClr val="bg1">
              <a:alpha val="55000"/>
            </a:schemeClr>
          </a:solidFill>
          <a:ln w="9525">
            <a:solidFill>
              <a:srgbClr val="B8B9BB"/>
            </a:solidFill>
          </a:ln>
          <a:extLst>
            <a:ext uri="{AF507438-7753-43e0-B8FC-AC1667EBCBE1}">
              <a14:hiddenEffects xmlns:mc="http://schemas.openxmlformats.org/markup-compatibility/2006" xmlns:mv="urn:schemas-microsoft-com:mac:vml"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mc="http://schemas.openxmlformats.org/markup-compatibility/2006" xmlns:mv="urn:schemas-microsoft-com:mac:vml" xmlns:a14="http://schemas.microsoft.com/office/drawing/2010/main" xmlns=""/>
            </a:ext>
          </a:extLst>
        </p:spPr>
        <p:style>
          <a:lnRef idx="2">
            <a:srgbClr val="A80163">
              <a:shade val="50000"/>
            </a:srgbClr>
          </a:lnRef>
          <a:fillRef idx="1">
            <a:srgbClr val="A80163"/>
          </a:fillRef>
          <a:effectRef idx="0">
            <a:srgbClr val="A80163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de-DE"/>
            </a:defPPr>
            <a:lvl1pPr algn="ctr">
              <a:defRPr sz="1600">
                <a:solidFill>
                  <a:srgbClr val="08427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endParaRPr lang="pt-BR" dirty="0">
              <a:solidFill>
                <a:srgbClr val="3F136C"/>
              </a:solidFill>
            </a:endParaRPr>
          </a:p>
        </p:txBody>
      </p:sp>
      <p:sp>
        <p:nvSpPr>
          <p:cNvPr id="117" name="Textfeld 330"/>
          <p:cNvSpPr txBox="1"/>
          <p:nvPr>
            <p:custDataLst>
              <p:tags r:id="rId6"/>
            </p:custDataLst>
          </p:nvPr>
        </p:nvSpPr>
        <p:spPr>
          <a:xfrm>
            <a:off x="2370001" y="2374216"/>
            <a:ext cx="1356712" cy="2355574"/>
          </a:xfrm>
          <a:prstGeom prst="rect">
            <a:avLst/>
          </a:prstGeom>
          <a:solidFill>
            <a:schemeClr val="bg1">
              <a:alpha val="55000"/>
            </a:schemeClr>
          </a:solidFill>
          <a:ln w="9525">
            <a:solidFill>
              <a:srgbClr val="B8B9BB"/>
            </a:solidFill>
          </a:ln>
          <a:extLst>
            <a:ext uri="{AF507438-7753-43e0-B8FC-AC1667EBCBE1}">
              <a14:hiddenEffects xmlns:mc="http://schemas.openxmlformats.org/markup-compatibility/2006" xmlns:mv="urn:schemas-microsoft-com:mac:vml"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mc="http://schemas.openxmlformats.org/markup-compatibility/2006" xmlns:mv="urn:schemas-microsoft-com:mac:vml" xmlns:a14="http://schemas.microsoft.com/office/drawing/2010/main" xmlns=""/>
            </a:ext>
          </a:extLst>
        </p:spPr>
        <p:style>
          <a:lnRef idx="2">
            <a:srgbClr val="A80163">
              <a:shade val="50000"/>
            </a:srgbClr>
          </a:lnRef>
          <a:fillRef idx="1">
            <a:srgbClr val="A80163"/>
          </a:fillRef>
          <a:effectRef idx="0">
            <a:srgbClr val="A80163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de-DE"/>
            </a:defPPr>
            <a:lvl1pPr algn="ctr">
              <a:defRPr sz="1600">
                <a:solidFill>
                  <a:srgbClr val="08427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endParaRPr lang="pt-BR" dirty="0">
              <a:solidFill>
                <a:srgbClr val="3F136C"/>
              </a:solidFill>
            </a:endParaRPr>
          </a:p>
        </p:txBody>
      </p:sp>
      <p:pic>
        <p:nvPicPr>
          <p:cNvPr id="15" name="Grafik 4"/>
          <p:cNvPicPr>
            <a:picLocks/>
          </p:cNvPicPr>
          <p:nvPr>
            <p:custDataLst>
              <p:tags r:id="rId7"/>
            </p:custDataLst>
          </p:nvPr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9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4" name="Título 1"/>
          <p:cNvSpPr txBox="1">
            <a:spLocks/>
          </p:cNvSpPr>
          <p:nvPr/>
        </p:nvSpPr>
        <p:spPr>
          <a:xfrm>
            <a:off x="257175" y="272225"/>
            <a:ext cx="9453506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sz="3600" cap="small" dirty="0">
                <a:solidFill>
                  <a:schemeClr val="accent4"/>
                </a:solidFill>
              </a:rPr>
              <a:t>BOSCH Agro 4.0 | NEVONEX</a:t>
            </a:r>
          </a:p>
        </p:txBody>
      </p:sp>
      <p:sp>
        <p:nvSpPr>
          <p:cNvPr id="16" name="Título 1"/>
          <p:cNvSpPr txBox="1">
            <a:spLocks/>
          </p:cNvSpPr>
          <p:nvPr/>
        </p:nvSpPr>
        <p:spPr>
          <a:xfrm>
            <a:off x="258254" y="782823"/>
            <a:ext cx="8076519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Grupo</a:t>
            </a:r>
            <a:r>
              <a:rPr kumimoji="0" lang="pt-BR" sz="2800" b="1" i="0" u="none" strike="noStrike" kern="1200" cap="small" spc="0" normalizeH="0" noProof="0" dirty="0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 Bosch</a:t>
            </a:r>
            <a:r>
              <a:rPr kumimoji="0" lang="pt-BR" sz="28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: Mercado</a:t>
            </a:r>
            <a:endParaRPr kumimoji="0" lang="pt-BR" sz="2800" b="0" i="0" u="none" strike="noStrike" kern="1200" cap="small" spc="0" normalizeH="0" baseline="0" noProof="0" dirty="0">
              <a:ln>
                <a:noFill/>
              </a:ln>
              <a:solidFill>
                <a:srgbClr val="1399A0"/>
              </a:solidFill>
              <a:effectLst/>
              <a:uLnTx/>
              <a:uFillTx/>
              <a:latin typeface="Bosch Office Sans"/>
              <a:ea typeface="+mj-ea"/>
              <a:cs typeface="+mj-cs"/>
            </a:endParaRPr>
          </a:p>
        </p:txBody>
      </p:sp>
      <p:sp>
        <p:nvSpPr>
          <p:cNvPr id="18" name="Textfeld 330"/>
          <p:cNvSpPr txBox="1"/>
          <p:nvPr>
            <p:custDataLst>
              <p:tags r:id="rId8"/>
            </p:custDataLst>
          </p:nvPr>
        </p:nvSpPr>
        <p:spPr>
          <a:xfrm>
            <a:off x="259080" y="1295400"/>
            <a:ext cx="9875520" cy="924929"/>
          </a:xfrm>
          <a:prstGeom prst="rect">
            <a:avLst/>
          </a:prstGeom>
          <a:solidFill>
            <a:schemeClr val="bg1">
              <a:alpha val="55000"/>
            </a:schemeClr>
          </a:solidFill>
          <a:ln w="9525">
            <a:solidFill>
              <a:srgbClr val="B8B9BB"/>
            </a:solidFill>
          </a:ln>
          <a:extLst>
            <a:ext uri="{AF507438-7753-43e0-B8FC-AC1667EBCBE1}">
              <a14:hiddenEffects xmlns:mc="http://schemas.openxmlformats.org/markup-compatibility/2006" xmlns:mv="urn:schemas-microsoft-com:mac:vml"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mc="http://schemas.openxmlformats.org/markup-compatibility/2006" xmlns:mv="urn:schemas-microsoft-com:mac:vml" xmlns:a14="http://schemas.microsoft.com/office/drawing/2010/main" xmlns=""/>
            </a:ext>
          </a:extLst>
        </p:spPr>
        <p:style>
          <a:lnRef idx="2">
            <a:srgbClr val="A80163">
              <a:shade val="50000"/>
            </a:srgbClr>
          </a:lnRef>
          <a:fillRef idx="1">
            <a:srgbClr val="A80163"/>
          </a:fillRef>
          <a:effectRef idx="0">
            <a:srgbClr val="A80163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de-DE"/>
            </a:defPPr>
            <a:lvl1pPr algn="ctr">
              <a:defRPr sz="1600">
                <a:solidFill>
                  <a:srgbClr val="08427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endParaRPr lang="pt-BR" dirty="0">
              <a:solidFill>
                <a:srgbClr val="3F136C"/>
              </a:solidFill>
            </a:endParaRPr>
          </a:p>
        </p:txBody>
      </p:sp>
      <p:sp>
        <p:nvSpPr>
          <p:cNvPr id="19" name="Textfeld 420"/>
          <p:cNvSpPr txBox="1"/>
          <p:nvPr/>
        </p:nvSpPr>
        <p:spPr>
          <a:xfrm>
            <a:off x="2832531" y="1511643"/>
            <a:ext cx="1162178" cy="492443"/>
          </a:xfrm>
          <a:prstGeom prst="rect">
            <a:avLst/>
          </a:prstGeom>
          <a:solidFill>
            <a:scrgbClr r="0" g="0" b="0">
              <a:alpha val="0"/>
            </a:scrgbClr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dirty="0" smtClean="0">
                <a:solidFill>
                  <a:srgbClr val="000000"/>
                </a:solidFill>
              </a:rPr>
              <a:t>77.7 bilhões </a:t>
            </a:r>
            <a:br>
              <a:rPr lang="pt-BR" dirty="0" smtClean="0">
                <a:solidFill>
                  <a:srgbClr val="000000"/>
                </a:solidFill>
              </a:rPr>
            </a:br>
            <a:r>
              <a:rPr lang="pt-BR" dirty="0" smtClean="0">
                <a:solidFill>
                  <a:srgbClr val="000000"/>
                </a:solidFill>
              </a:rPr>
              <a:t>em vendas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20" name="Textfeld 45"/>
          <p:cNvSpPr txBox="1"/>
          <p:nvPr/>
        </p:nvSpPr>
        <p:spPr>
          <a:xfrm>
            <a:off x="8171917" y="1634754"/>
            <a:ext cx="1117294" cy="246221"/>
          </a:xfrm>
          <a:prstGeom prst="rect">
            <a:avLst/>
          </a:prstGeom>
          <a:solidFill>
            <a:scrgbClr r="0" g="0" b="0">
              <a:alpha val="0"/>
            </a:scrgbClr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dirty="0" smtClean="0">
                <a:solidFill>
                  <a:srgbClr val="000000"/>
                </a:solidFill>
              </a:rPr>
              <a:t>245 fábricas</a:t>
            </a:r>
            <a:endParaRPr lang="pt-BR" dirty="0">
              <a:solidFill>
                <a:srgbClr val="000000"/>
              </a:solidFill>
            </a:endParaRPr>
          </a:p>
        </p:txBody>
      </p:sp>
      <p:sp>
        <p:nvSpPr>
          <p:cNvPr id="26" name="Textfeld 33_"/>
          <p:cNvSpPr txBox="1"/>
          <p:nvPr>
            <p:custDataLst>
              <p:tags r:id="rId9"/>
            </p:custDataLst>
          </p:nvPr>
        </p:nvSpPr>
        <p:spPr>
          <a:xfrm>
            <a:off x="259080" y="1295400"/>
            <a:ext cx="1684020" cy="924929"/>
          </a:xfrm>
          <a:prstGeom prst="homePlate">
            <a:avLst>
              <a:gd name="adj" fmla="val 26694"/>
            </a:avLst>
          </a:prstGeom>
          <a:solidFill>
            <a:schemeClr val="bg1"/>
          </a:solidFill>
          <a:ln w="9525">
            <a:solidFill>
              <a:srgbClr val="B8B9BB"/>
            </a:solidFill>
          </a:ln>
          <a:extLst>
            <a:ext uri="{AF507438-7753-43e0-B8FC-AC1667EBCBE1}">
              <a14:hiddenEffects xmlns:mc="http://schemas.openxmlformats.org/markup-compatibility/2006" xmlns:mv="urn:schemas-microsoft-com:mac:vml" xmlns:a14="http://schemas.microsoft.com/office/drawing/2010/main" xmlns="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mc="http://schemas.openxmlformats.org/markup-compatibility/2006" xmlns:mv="urn:schemas-microsoft-com:mac:vml" xmlns:a14="http://schemas.microsoft.com/office/drawing/2010/main" xmlns=""/>
            </a:ext>
          </a:extLst>
        </p:spPr>
        <p:style>
          <a:lnRef idx="2">
            <a:srgbClr val="A80163">
              <a:shade val="50000"/>
            </a:srgbClr>
          </a:lnRef>
          <a:fillRef idx="1">
            <a:srgbClr val="A80163"/>
          </a:fillRef>
          <a:effectRef idx="0">
            <a:srgbClr val="A80163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de-DE"/>
            </a:defPPr>
            <a:lvl1pPr algn="ctr">
              <a:defRPr sz="1600">
                <a:solidFill>
                  <a:srgbClr val="08427E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pt-BR" dirty="0" smtClean="0">
                <a:solidFill>
                  <a:srgbClr val="3F136C"/>
                </a:solidFill>
              </a:rPr>
              <a:t> </a:t>
            </a:r>
            <a:endParaRPr lang="pt-BR" dirty="0">
              <a:solidFill>
                <a:srgbClr val="3F136C"/>
              </a:solidFill>
            </a:endParaRPr>
          </a:p>
        </p:txBody>
      </p:sp>
      <p:sp>
        <p:nvSpPr>
          <p:cNvPr id="27" name="Textfeld 42__"/>
          <p:cNvSpPr txBox="1"/>
          <p:nvPr/>
        </p:nvSpPr>
        <p:spPr>
          <a:xfrm>
            <a:off x="429960" y="1634754"/>
            <a:ext cx="1197444" cy="246221"/>
          </a:xfrm>
          <a:prstGeom prst="rect">
            <a:avLst/>
          </a:prstGeom>
          <a:solidFill>
            <a:scrgbClr r="0" g="0" b="0">
              <a:alpha val="0"/>
            </a:scrgbClr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dirty="0" smtClean="0">
                <a:solidFill>
                  <a:srgbClr val="3F136C"/>
                </a:solidFill>
              </a:rPr>
              <a:t>Grupo Bosch</a:t>
            </a:r>
            <a:endParaRPr lang="pt-BR" dirty="0">
              <a:solidFill>
                <a:srgbClr val="3F136C"/>
              </a:solidFill>
            </a:endParaRPr>
          </a:p>
        </p:txBody>
      </p:sp>
      <p:sp>
        <p:nvSpPr>
          <p:cNvPr id="28" name="Textfeld 42_0"/>
          <p:cNvSpPr txBox="1"/>
          <p:nvPr/>
        </p:nvSpPr>
        <p:spPr>
          <a:xfrm>
            <a:off x="5935600" y="1511643"/>
            <a:ext cx="1298432" cy="492443"/>
          </a:xfrm>
          <a:prstGeom prst="rect">
            <a:avLst/>
          </a:prstGeom>
          <a:solidFill>
            <a:scrgbClr r="0" g="0" b="0">
              <a:alpha val="0"/>
            </a:scrgbClr>
          </a:solidFill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dirty="0" smtClean="0">
                <a:solidFill>
                  <a:srgbClr val="000000"/>
                </a:solidFill>
              </a:rPr>
              <a:t>409.881</a:t>
            </a:r>
            <a:br>
              <a:rPr lang="pt-BR" dirty="0" smtClean="0">
                <a:solidFill>
                  <a:srgbClr val="000000"/>
                </a:solidFill>
              </a:rPr>
            </a:br>
            <a:r>
              <a:rPr lang="pt-BR" dirty="0" smtClean="0">
                <a:solidFill>
                  <a:srgbClr val="000000"/>
                </a:solidFill>
              </a:rPr>
              <a:t>colaboradores</a:t>
            </a:r>
            <a:endParaRPr lang="pt-BR" dirty="0">
              <a:solidFill>
                <a:srgbClr val="000000"/>
              </a:solidFill>
            </a:endParaRPr>
          </a:p>
        </p:txBody>
      </p:sp>
      <p:grpSp>
        <p:nvGrpSpPr>
          <p:cNvPr id="29" name="Group 14"/>
          <p:cNvGrpSpPr>
            <a:grpSpLocks noChangeAspect="1"/>
          </p:cNvGrpSpPr>
          <p:nvPr/>
        </p:nvGrpSpPr>
        <p:grpSpPr bwMode="auto">
          <a:xfrm>
            <a:off x="5169531" y="1599905"/>
            <a:ext cx="631836" cy="315918"/>
            <a:chOff x="324" y="2342"/>
            <a:chExt cx="490" cy="245"/>
          </a:xfrm>
          <a:solidFill>
            <a:srgbClr val="67B419"/>
          </a:solidFill>
        </p:grpSpPr>
        <p:sp>
          <p:nvSpPr>
            <p:cNvPr id="30" name="Freeform 15"/>
            <p:cNvSpPr>
              <a:spLocks noEditPoints="1"/>
            </p:cNvSpPr>
            <p:nvPr/>
          </p:nvSpPr>
          <p:spPr bwMode="auto">
            <a:xfrm>
              <a:off x="459" y="2342"/>
              <a:ext cx="220" cy="245"/>
            </a:xfrm>
            <a:custGeom>
              <a:avLst/>
              <a:gdLst>
                <a:gd name="T0" fmla="*/ 186 w 288"/>
                <a:gd name="T1" fmla="*/ 182 h 320"/>
                <a:gd name="T2" fmla="*/ 240 w 288"/>
                <a:gd name="T3" fmla="*/ 96 h 320"/>
                <a:gd name="T4" fmla="*/ 144 w 288"/>
                <a:gd name="T5" fmla="*/ 0 h 320"/>
                <a:gd name="T6" fmla="*/ 48 w 288"/>
                <a:gd name="T7" fmla="*/ 96 h 320"/>
                <a:gd name="T8" fmla="*/ 102 w 288"/>
                <a:gd name="T9" fmla="*/ 182 h 320"/>
                <a:gd name="T10" fmla="*/ 0 w 288"/>
                <a:gd name="T11" fmla="*/ 320 h 320"/>
                <a:gd name="T12" fmla="*/ 32 w 288"/>
                <a:gd name="T13" fmla="*/ 320 h 320"/>
                <a:gd name="T14" fmla="*/ 144 w 288"/>
                <a:gd name="T15" fmla="*/ 208 h 320"/>
                <a:gd name="T16" fmla="*/ 256 w 288"/>
                <a:gd name="T17" fmla="*/ 320 h 320"/>
                <a:gd name="T18" fmla="*/ 288 w 288"/>
                <a:gd name="T19" fmla="*/ 320 h 320"/>
                <a:gd name="T20" fmla="*/ 186 w 288"/>
                <a:gd name="T21" fmla="*/ 182 h 320"/>
                <a:gd name="T22" fmla="*/ 80 w 288"/>
                <a:gd name="T23" fmla="*/ 96 h 320"/>
                <a:gd name="T24" fmla="*/ 144 w 288"/>
                <a:gd name="T25" fmla="*/ 32 h 320"/>
                <a:gd name="T26" fmla="*/ 208 w 288"/>
                <a:gd name="T27" fmla="*/ 96 h 320"/>
                <a:gd name="T28" fmla="*/ 144 w 288"/>
                <a:gd name="T29" fmla="*/ 160 h 320"/>
                <a:gd name="T30" fmla="*/ 80 w 288"/>
                <a:gd name="T31" fmla="*/ 9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320">
                  <a:moveTo>
                    <a:pt x="186" y="182"/>
                  </a:moveTo>
                  <a:cubicBezTo>
                    <a:pt x="218" y="167"/>
                    <a:pt x="240" y="134"/>
                    <a:pt x="240" y="96"/>
                  </a:cubicBezTo>
                  <a:cubicBezTo>
                    <a:pt x="240" y="43"/>
                    <a:pt x="197" y="0"/>
                    <a:pt x="144" y="0"/>
                  </a:cubicBezTo>
                  <a:cubicBezTo>
                    <a:pt x="91" y="0"/>
                    <a:pt x="48" y="43"/>
                    <a:pt x="48" y="96"/>
                  </a:cubicBezTo>
                  <a:cubicBezTo>
                    <a:pt x="48" y="134"/>
                    <a:pt x="70" y="167"/>
                    <a:pt x="102" y="182"/>
                  </a:cubicBezTo>
                  <a:cubicBezTo>
                    <a:pt x="43" y="200"/>
                    <a:pt x="0" y="255"/>
                    <a:pt x="0" y="320"/>
                  </a:cubicBezTo>
                  <a:cubicBezTo>
                    <a:pt x="32" y="320"/>
                    <a:pt x="32" y="320"/>
                    <a:pt x="32" y="320"/>
                  </a:cubicBezTo>
                  <a:cubicBezTo>
                    <a:pt x="32" y="258"/>
                    <a:pt x="82" y="208"/>
                    <a:pt x="144" y="208"/>
                  </a:cubicBezTo>
                  <a:cubicBezTo>
                    <a:pt x="206" y="208"/>
                    <a:pt x="256" y="258"/>
                    <a:pt x="256" y="320"/>
                  </a:cubicBezTo>
                  <a:cubicBezTo>
                    <a:pt x="288" y="320"/>
                    <a:pt x="288" y="320"/>
                    <a:pt x="288" y="320"/>
                  </a:cubicBezTo>
                  <a:cubicBezTo>
                    <a:pt x="288" y="255"/>
                    <a:pt x="245" y="200"/>
                    <a:pt x="186" y="182"/>
                  </a:cubicBezTo>
                  <a:moveTo>
                    <a:pt x="80" y="96"/>
                  </a:moveTo>
                  <a:cubicBezTo>
                    <a:pt x="80" y="61"/>
                    <a:pt x="109" y="32"/>
                    <a:pt x="144" y="32"/>
                  </a:cubicBezTo>
                  <a:cubicBezTo>
                    <a:pt x="179" y="32"/>
                    <a:pt x="208" y="61"/>
                    <a:pt x="208" y="96"/>
                  </a:cubicBezTo>
                  <a:cubicBezTo>
                    <a:pt x="208" y="131"/>
                    <a:pt x="179" y="160"/>
                    <a:pt x="144" y="160"/>
                  </a:cubicBezTo>
                  <a:cubicBezTo>
                    <a:pt x="109" y="160"/>
                    <a:pt x="80" y="131"/>
                    <a:pt x="80" y="9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1" name="Freeform 16"/>
            <p:cNvSpPr>
              <a:spLocks noEditPoints="1"/>
            </p:cNvSpPr>
            <p:nvPr/>
          </p:nvSpPr>
          <p:spPr bwMode="auto">
            <a:xfrm>
              <a:off x="324" y="2416"/>
              <a:ext cx="129" cy="171"/>
            </a:xfrm>
            <a:custGeom>
              <a:avLst/>
              <a:gdLst>
                <a:gd name="T0" fmla="*/ 168 w 169"/>
                <a:gd name="T1" fmla="*/ 64 h 224"/>
                <a:gd name="T2" fmla="*/ 104 w 169"/>
                <a:gd name="T3" fmla="*/ 0 h 224"/>
                <a:gd name="T4" fmla="*/ 40 w 169"/>
                <a:gd name="T5" fmla="*/ 64 h 224"/>
                <a:gd name="T6" fmla="*/ 70 w 169"/>
                <a:gd name="T7" fmla="*/ 118 h 224"/>
                <a:gd name="T8" fmla="*/ 0 w 169"/>
                <a:gd name="T9" fmla="*/ 216 h 224"/>
                <a:gd name="T10" fmla="*/ 0 w 169"/>
                <a:gd name="T11" fmla="*/ 224 h 224"/>
                <a:gd name="T12" fmla="*/ 32 w 169"/>
                <a:gd name="T13" fmla="*/ 224 h 224"/>
                <a:gd name="T14" fmla="*/ 32 w 169"/>
                <a:gd name="T15" fmla="*/ 216 h 224"/>
                <a:gd name="T16" fmla="*/ 104 w 169"/>
                <a:gd name="T17" fmla="*/ 144 h 224"/>
                <a:gd name="T18" fmla="*/ 154 w 169"/>
                <a:gd name="T19" fmla="*/ 165 h 224"/>
                <a:gd name="T20" fmla="*/ 169 w 169"/>
                <a:gd name="T21" fmla="*/ 135 h 224"/>
                <a:gd name="T22" fmla="*/ 138 w 169"/>
                <a:gd name="T23" fmla="*/ 118 h 224"/>
                <a:gd name="T24" fmla="*/ 168 w 169"/>
                <a:gd name="T25" fmla="*/ 64 h 224"/>
                <a:gd name="T26" fmla="*/ 104 w 169"/>
                <a:gd name="T27" fmla="*/ 32 h 224"/>
                <a:gd name="T28" fmla="*/ 136 w 169"/>
                <a:gd name="T29" fmla="*/ 64 h 224"/>
                <a:gd name="T30" fmla="*/ 104 w 169"/>
                <a:gd name="T31" fmla="*/ 96 h 224"/>
                <a:gd name="T32" fmla="*/ 72 w 169"/>
                <a:gd name="T33" fmla="*/ 64 h 224"/>
                <a:gd name="T34" fmla="*/ 104 w 169"/>
                <a:gd name="T35" fmla="*/ 3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224">
                  <a:moveTo>
                    <a:pt x="168" y="64"/>
                  </a:moveTo>
                  <a:cubicBezTo>
                    <a:pt x="168" y="29"/>
                    <a:pt x="139" y="0"/>
                    <a:pt x="104" y="0"/>
                  </a:cubicBezTo>
                  <a:cubicBezTo>
                    <a:pt x="69" y="0"/>
                    <a:pt x="40" y="29"/>
                    <a:pt x="40" y="64"/>
                  </a:cubicBezTo>
                  <a:cubicBezTo>
                    <a:pt x="40" y="87"/>
                    <a:pt x="52" y="106"/>
                    <a:pt x="70" y="118"/>
                  </a:cubicBezTo>
                  <a:cubicBezTo>
                    <a:pt x="29" y="132"/>
                    <a:pt x="0" y="171"/>
                    <a:pt x="0" y="216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32" y="224"/>
                    <a:pt x="32" y="224"/>
                    <a:pt x="32" y="224"/>
                  </a:cubicBezTo>
                  <a:cubicBezTo>
                    <a:pt x="32" y="216"/>
                    <a:pt x="32" y="216"/>
                    <a:pt x="32" y="216"/>
                  </a:cubicBezTo>
                  <a:cubicBezTo>
                    <a:pt x="32" y="176"/>
                    <a:pt x="64" y="144"/>
                    <a:pt x="104" y="144"/>
                  </a:cubicBezTo>
                  <a:cubicBezTo>
                    <a:pt x="123" y="144"/>
                    <a:pt x="141" y="152"/>
                    <a:pt x="154" y="165"/>
                  </a:cubicBezTo>
                  <a:cubicBezTo>
                    <a:pt x="158" y="154"/>
                    <a:pt x="163" y="144"/>
                    <a:pt x="169" y="135"/>
                  </a:cubicBezTo>
                  <a:cubicBezTo>
                    <a:pt x="159" y="127"/>
                    <a:pt x="149" y="122"/>
                    <a:pt x="138" y="118"/>
                  </a:cubicBezTo>
                  <a:cubicBezTo>
                    <a:pt x="156" y="107"/>
                    <a:pt x="168" y="87"/>
                    <a:pt x="168" y="64"/>
                  </a:cubicBezTo>
                  <a:moveTo>
                    <a:pt x="104" y="32"/>
                  </a:moveTo>
                  <a:cubicBezTo>
                    <a:pt x="122" y="32"/>
                    <a:pt x="136" y="46"/>
                    <a:pt x="136" y="64"/>
                  </a:cubicBezTo>
                  <a:cubicBezTo>
                    <a:pt x="136" y="82"/>
                    <a:pt x="122" y="96"/>
                    <a:pt x="104" y="96"/>
                  </a:cubicBezTo>
                  <a:cubicBezTo>
                    <a:pt x="86" y="96"/>
                    <a:pt x="72" y="82"/>
                    <a:pt x="72" y="64"/>
                  </a:cubicBezTo>
                  <a:cubicBezTo>
                    <a:pt x="72" y="46"/>
                    <a:pt x="86" y="32"/>
                    <a:pt x="10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2" name="Freeform 17"/>
            <p:cNvSpPr>
              <a:spLocks noEditPoints="1"/>
            </p:cNvSpPr>
            <p:nvPr/>
          </p:nvSpPr>
          <p:spPr bwMode="auto">
            <a:xfrm>
              <a:off x="685" y="2416"/>
              <a:ext cx="129" cy="171"/>
            </a:xfrm>
            <a:custGeom>
              <a:avLst/>
              <a:gdLst>
                <a:gd name="T0" fmla="*/ 99 w 169"/>
                <a:gd name="T1" fmla="*/ 118 h 224"/>
                <a:gd name="T2" fmla="*/ 129 w 169"/>
                <a:gd name="T3" fmla="*/ 64 h 224"/>
                <a:gd name="T4" fmla="*/ 65 w 169"/>
                <a:gd name="T5" fmla="*/ 0 h 224"/>
                <a:gd name="T6" fmla="*/ 1 w 169"/>
                <a:gd name="T7" fmla="*/ 64 h 224"/>
                <a:gd name="T8" fmla="*/ 31 w 169"/>
                <a:gd name="T9" fmla="*/ 118 h 224"/>
                <a:gd name="T10" fmla="*/ 0 w 169"/>
                <a:gd name="T11" fmla="*/ 135 h 224"/>
                <a:gd name="T12" fmla="*/ 15 w 169"/>
                <a:gd name="T13" fmla="*/ 165 h 224"/>
                <a:gd name="T14" fmla="*/ 65 w 169"/>
                <a:gd name="T15" fmla="*/ 144 h 224"/>
                <a:gd name="T16" fmla="*/ 137 w 169"/>
                <a:gd name="T17" fmla="*/ 216 h 224"/>
                <a:gd name="T18" fmla="*/ 137 w 169"/>
                <a:gd name="T19" fmla="*/ 224 h 224"/>
                <a:gd name="T20" fmla="*/ 169 w 169"/>
                <a:gd name="T21" fmla="*/ 224 h 224"/>
                <a:gd name="T22" fmla="*/ 169 w 169"/>
                <a:gd name="T23" fmla="*/ 216 h 224"/>
                <a:gd name="T24" fmla="*/ 99 w 169"/>
                <a:gd name="T25" fmla="*/ 118 h 224"/>
                <a:gd name="T26" fmla="*/ 65 w 169"/>
                <a:gd name="T27" fmla="*/ 32 h 224"/>
                <a:gd name="T28" fmla="*/ 97 w 169"/>
                <a:gd name="T29" fmla="*/ 64 h 224"/>
                <a:gd name="T30" fmla="*/ 65 w 169"/>
                <a:gd name="T31" fmla="*/ 96 h 224"/>
                <a:gd name="T32" fmla="*/ 33 w 169"/>
                <a:gd name="T33" fmla="*/ 64 h 224"/>
                <a:gd name="T34" fmla="*/ 65 w 169"/>
                <a:gd name="T35" fmla="*/ 3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224">
                  <a:moveTo>
                    <a:pt x="99" y="118"/>
                  </a:moveTo>
                  <a:cubicBezTo>
                    <a:pt x="117" y="106"/>
                    <a:pt x="129" y="87"/>
                    <a:pt x="129" y="64"/>
                  </a:cubicBezTo>
                  <a:cubicBezTo>
                    <a:pt x="129" y="29"/>
                    <a:pt x="100" y="0"/>
                    <a:pt x="65" y="0"/>
                  </a:cubicBezTo>
                  <a:cubicBezTo>
                    <a:pt x="30" y="0"/>
                    <a:pt x="1" y="29"/>
                    <a:pt x="1" y="64"/>
                  </a:cubicBezTo>
                  <a:cubicBezTo>
                    <a:pt x="1" y="87"/>
                    <a:pt x="13" y="107"/>
                    <a:pt x="31" y="118"/>
                  </a:cubicBezTo>
                  <a:cubicBezTo>
                    <a:pt x="20" y="122"/>
                    <a:pt x="10" y="127"/>
                    <a:pt x="0" y="135"/>
                  </a:cubicBezTo>
                  <a:cubicBezTo>
                    <a:pt x="6" y="144"/>
                    <a:pt x="11" y="154"/>
                    <a:pt x="15" y="165"/>
                  </a:cubicBezTo>
                  <a:cubicBezTo>
                    <a:pt x="28" y="152"/>
                    <a:pt x="46" y="144"/>
                    <a:pt x="65" y="144"/>
                  </a:cubicBezTo>
                  <a:cubicBezTo>
                    <a:pt x="105" y="144"/>
                    <a:pt x="137" y="176"/>
                    <a:pt x="137" y="216"/>
                  </a:cubicBezTo>
                  <a:cubicBezTo>
                    <a:pt x="137" y="224"/>
                    <a:pt x="137" y="224"/>
                    <a:pt x="137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9" y="171"/>
                    <a:pt x="140" y="132"/>
                    <a:pt x="99" y="118"/>
                  </a:cubicBezTo>
                  <a:moveTo>
                    <a:pt x="65" y="32"/>
                  </a:moveTo>
                  <a:cubicBezTo>
                    <a:pt x="83" y="32"/>
                    <a:pt x="97" y="46"/>
                    <a:pt x="97" y="64"/>
                  </a:cubicBezTo>
                  <a:cubicBezTo>
                    <a:pt x="97" y="82"/>
                    <a:pt x="83" y="96"/>
                    <a:pt x="65" y="96"/>
                  </a:cubicBezTo>
                  <a:cubicBezTo>
                    <a:pt x="47" y="96"/>
                    <a:pt x="33" y="82"/>
                    <a:pt x="33" y="64"/>
                  </a:cubicBezTo>
                  <a:cubicBezTo>
                    <a:pt x="33" y="46"/>
                    <a:pt x="47" y="32"/>
                    <a:pt x="65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sp>
        <p:nvSpPr>
          <p:cNvPr id="33" name="Freeform 11"/>
          <p:cNvSpPr>
            <a:spLocks/>
          </p:cNvSpPr>
          <p:nvPr/>
        </p:nvSpPr>
        <p:spPr bwMode="auto">
          <a:xfrm>
            <a:off x="2375012" y="1552680"/>
            <a:ext cx="330575" cy="410369"/>
          </a:xfrm>
          <a:custGeom>
            <a:avLst/>
            <a:gdLst>
              <a:gd name="T0" fmla="*/ 0 w 554"/>
              <a:gd name="T1" fmla="*/ 248 h 685"/>
              <a:gd name="T2" fmla="*/ 79 w 554"/>
              <a:gd name="T3" fmla="*/ 248 h 685"/>
              <a:gd name="T4" fmla="*/ 165 w 554"/>
              <a:gd name="T5" fmla="*/ 67 h 685"/>
              <a:gd name="T6" fmla="*/ 332 w 554"/>
              <a:gd name="T7" fmla="*/ 0 h 685"/>
              <a:gd name="T8" fmla="*/ 483 w 554"/>
              <a:gd name="T9" fmla="*/ 62 h 685"/>
              <a:gd name="T10" fmla="*/ 544 w 554"/>
              <a:gd name="T11" fmla="*/ 179 h 685"/>
              <a:gd name="T12" fmla="*/ 476 w 554"/>
              <a:gd name="T13" fmla="*/ 198 h 685"/>
              <a:gd name="T14" fmla="*/ 329 w 554"/>
              <a:gd name="T15" fmla="*/ 64 h 685"/>
              <a:gd name="T16" fmla="*/ 190 w 554"/>
              <a:gd name="T17" fmla="*/ 145 h 685"/>
              <a:gd name="T18" fmla="*/ 157 w 554"/>
              <a:gd name="T19" fmla="*/ 248 h 685"/>
              <a:gd name="T20" fmla="*/ 363 w 554"/>
              <a:gd name="T21" fmla="*/ 248 h 685"/>
              <a:gd name="T22" fmla="*/ 363 w 554"/>
              <a:gd name="T23" fmla="*/ 307 h 685"/>
              <a:gd name="T24" fmla="*/ 151 w 554"/>
              <a:gd name="T25" fmla="*/ 307 h 685"/>
              <a:gd name="T26" fmla="*/ 150 w 554"/>
              <a:gd name="T27" fmla="*/ 344 h 685"/>
              <a:gd name="T28" fmla="*/ 151 w 554"/>
              <a:gd name="T29" fmla="*/ 383 h 685"/>
              <a:gd name="T30" fmla="*/ 363 w 554"/>
              <a:gd name="T31" fmla="*/ 383 h 685"/>
              <a:gd name="T32" fmla="*/ 363 w 554"/>
              <a:gd name="T33" fmla="*/ 442 h 685"/>
              <a:gd name="T34" fmla="*/ 158 w 554"/>
              <a:gd name="T35" fmla="*/ 442 h 685"/>
              <a:gd name="T36" fmla="*/ 331 w 554"/>
              <a:gd name="T37" fmla="*/ 621 h 685"/>
              <a:gd name="T38" fmla="*/ 486 w 554"/>
              <a:gd name="T39" fmla="*/ 480 h 685"/>
              <a:gd name="T40" fmla="*/ 554 w 554"/>
              <a:gd name="T41" fmla="*/ 503 h 685"/>
              <a:gd name="T42" fmla="*/ 486 w 554"/>
              <a:gd name="T43" fmla="*/ 626 h 685"/>
              <a:gd name="T44" fmla="*/ 331 w 554"/>
              <a:gd name="T45" fmla="*/ 685 h 685"/>
              <a:gd name="T46" fmla="*/ 156 w 554"/>
              <a:gd name="T47" fmla="*/ 609 h 685"/>
              <a:gd name="T48" fmla="*/ 79 w 554"/>
              <a:gd name="T49" fmla="*/ 442 h 685"/>
              <a:gd name="T50" fmla="*/ 0 w 554"/>
              <a:gd name="T51" fmla="*/ 442 h 685"/>
              <a:gd name="T52" fmla="*/ 0 w 554"/>
              <a:gd name="T53" fmla="*/ 383 h 685"/>
              <a:gd name="T54" fmla="*/ 73 w 554"/>
              <a:gd name="T55" fmla="*/ 383 h 685"/>
              <a:gd name="T56" fmla="*/ 71 w 554"/>
              <a:gd name="T57" fmla="*/ 346 h 685"/>
              <a:gd name="T58" fmla="*/ 72 w 554"/>
              <a:gd name="T59" fmla="*/ 307 h 685"/>
              <a:gd name="T60" fmla="*/ 0 w 554"/>
              <a:gd name="T61" fmla="*/ 307 h 685"/>
              <a:gd name="T62" fmla="*/ 0 w 554"/>
              <a:gd name="T63" fmla="*/ 248 h 6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54" h="685">
                <a:moveTo>
                  <a:pt x="0" y="248"/>
                </a:moveTo>
                <a:cubicBezTo>
                  <a:pt x="79" y="248"/>
                  <a:pt x="79" y="248"/>
                  <a:pt x="79" y="248"/>
                </a:cubicBezTo>
                <a:cubicBezTo>
                  <a:pt x="98" y="160"/>
                  <a:pt x="120" y="114"/>
                  <a:pt x="165" y="67"/>
                </a:cubicBezTo>
                <a:cubicBezTo>
                  <a:pt x="210" y="23"/>
                  <a:pt x="266" y="0"/>
                  <a:pt x="332" y="0"/>
                </a:cubicBezTo>
                <a:cubicBezTo>
                  <a:pt x="395" y="0"/>
                  <a:pt x="446" y="22"/>
                  <a:pt x="483" y="62"/>
                </a:cubicBezTo>
                <a:cubicBezTo>
                  <a:pt x="509" y="90"/>
                  <a:pt x="524" y="119"/>
                  <a:pt x="544" y="179"/>
                </a:cubicBezTo>
                <a:cubicBezTo>
                  <a:pt x="476" y="198"/>
                  <a:pt x="476" y="198"/>
                  <a:pt x="476" y="198"/>
                </a:cubicBezTo>
                <a:cubicBezTo>
                  <a:pt x="442" y="99"/>
                  <a:pt x="404" y="64"/>
                  <a:pt x="329" y="64"/>
                </a:cubicBezTo>
                <a:cubicBezTo>
                  <a:pt x="268" y="64"/>
                  <a:pt x="221" y="91"/>
                  <a:pt x="190" y="145"/>
                </a:cubicBezTo>
                <a:cubicBezTo>
                  <a:pt x="174" y="173"/>
                  <a:pt x="166" y="199"/>
                  <a:pt x="157" y="248"/>
                </a:cubicBezTo>
                <a:cubicBezTo>
                  <a:pt x="363" y="248"/>
                  <a:pt x="363" y="248"/>
                  <a:pt x="363" y="248"/>
                </a:cubicBezTo>
                <a:cubicBezTo>
                  <a:pt x="363" y="307"/>
                  <a:pt x="363" y="307"/>
                  <a:pt x="363" y="307"/>
                </a:cubicBezTo>
                <a:cubicBezTo>
                  <a:pt x="151" y="307"/>
                  <a:pt x="151" y="307"/>
                  <a:pt x="151" y="307"/>
                </a:cubicBezTo>
                <a:cubicBezTo>
                  <a:pt x="150" y="318"/>
                  <a:pt x="150" y="327"/>
                  <a:pt x="150" y="344"/>
                </a:cubicBezTo>
                <a:cubicBezTo>
                  <a:pt x="150" y="363"/>
                  <a:pt x="150" y="374"/>
                  <a:pt x="151" y="383"/>
                </a:cubicBezTo>
                <a:cubicBezTo>
                  <a:pt x="363" y="383"/>
                  <a:pt x="363" y="383"/>
                  <a:pt x="363" y="383"/>
                </a:cubicBezTo>
                <a:cubicBezTo>
                  <a:pt x="363" y="442"/>
                  <a:pt x="363" y="442"/>
                  <a:pt x="363" y="442"/>
                </a:cubicBezTo>
                <a:cubicBezTo>
                  <a:pt x="158" y="442"/>
                  <a:pt x="158" y="442"/>
                  <a:pt x="158" y="442"/>
                </a:cubicBezTo>
                <a:cubicBezTo>
                  <a:pt x="183" y="566"/>
                  <a:pt x="236" y="621"/>
                  <a:pt x="331" y="621"/>
                </a:cubicBezTo>
                <a:cubicBezTo>
                  <a:pt x="411" y="621"/>
                  <a:pt x="454" y="581"/>
                  <a:pt x="486" y="480"/>
                </a:cubicBezTo>
                <a:cubicBezTo>
                  <a:pt x="554" y="503"/>
                  <a:pt x="554" y="503"/>
                  <a:pt x="554" y="503"/>
                </a:cubicBezTo>
                <a:cubicBezTo>
                  <a:pt x="534" y="565"/>
                  <a:pt x="517" y="594"/>
                  <a:pt x="486" y="626"/>
                </a:cubicBezTo>
                <a:cubicBezTo>
                  <a:pt x="445" y="664"/>
                  <a:pt x="392" y="685"/>
                  <a:pt x="331" y="685"/>
                </a:cubicBezTo>
                <a:cubicBezTo>
                  <a:pt x="259" y="685"/>
                  <a:pt x="200" y="660"/>
                  <a:pt x="156" y="609"/>
                </a:cubicBezTo>
                <a:cubicBezTo>
                  <a:pt x="116" y="565"/>
                  <a:pt x="97" y="524"/>
                  <a:pt x="79" y="442"/>
                </a:cubicBezTo>
                <a:cubicBezTo>
                  <a:pt x="0" y="442"/>
                  <a:pt x="0" y="442"/>
                  <a:pt x="0" y="442"/>
                </a:cubicBezTo>
                <a:cubicBezTo>
                  <a:pt x="0" y="383"/>
                  <a:pt x="0" y="383"/>
                  <a:pt x="0" y="383"/>
                </a:cubicBezTo>
                <a:cubicBezTo>
                  <a:pt x="73" y="383"/>
                  <a:pt x="73" y="383"/>
                  <a:pt x="73" y="383"/>
                </a:cubicBezTo>
                <a:cubicBezTo>
                  <a:pt x="72" y="374"/>
                  <a:pt x="71" y="362"/>
                  <a:pt x="71" y="346"/>
                </a:cubicBezTo>
                <a:cubicBezTo>
                  <a:pt x="72" y="307"/>
                  <a:pt x="72" y="307"/>
                  <a:pt x="72" y="307"/>
                </a:cubicBezTo>
                <a:cubicBezTo>
                  <a:pt x="0" y="307"/>
                  <a:pt x="0" y="307"/>
                  <a:pt x="0" y="307"/>
                </a:cubicBezTo>
                <a:lnTo>
                  <a:pt x="0" y="24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grpSp>
        <p:nvGrpSpPr>
          <p:cNvPr id="34" name="Group 68"/>
          <p:cNvGrpSpPr/>
          <p:nvPr/>
        </p:nvGrpSpPr>
        <p:grpSpPr>
          <a:xfrm>
            <a:off x="7430892" y="1500549"/>
            <a:ext cx="571896" cy="514630"/>
            <a:chOff x="-3035300" y="1792288"/>
            <a:chExt cx="2409825" cy="2168525"/>
          </a:xfrm>
          <a:solidFill>
            <a:schemeClr val="accent5"/>
          </a:solidFill>
        </p:grpSpPr>
        <p:sp>
          <p:nvSpPr>
            <p:cNvPr id="35" name="Freeform 50"/>
            <p:cNvSpPr>
              <a:spLocks noEditPoints="1"/>
            </p:cNvSpPr>
            <p:nvPr/>
          </p:nvSpPr>
          <p:spPr bwMode="auto">
            <a:xfrm>
              <a:off x="-3035300" y="1792288"/>
              <a:ext cx="2409825" cy="2168525"/>
            </a:xfrm>
            <a:custGeom>
              <a:avLst/>
              <a:gdLst>
                <a:gd name="T0" fmla="*/ 1518 w 1518"/>
                <a:gd name="T1" fmla="*/ 1366 h 1366"/>
                <a:gd name="T2" fmla="*/ 0 w 1518"/>
                <a:gd name="T3" fmla="*/ 1366 h 1366"/>
                <a:gd name="T4" fmla="*/ 0 w 1518"/>
                <a:gd name="T5" fmla="*/ 699 h 1366"/>
                <a:gd name="T6" fmla="*/ 379 w 1518"/>
                <a:gd name="T7" fmla="*/ 462 h 1366"/>
                <a:gd name="T8" fmla="*/ 379 w 1518"/>
                <a:gd name="T9" fmla="*/ 652 h 1366"/>
                <a:gd name="T10" fmla="*/ 683 w 1518"/>
                <a:gd name="T11" fmla="*/ 462 h 1366"/>
                <a:gd name="T12" fmla="*/ 683 w 1518"/>
                <a:gd name="T13" fmla="*/ 652 h 1366"/>
                <a:gd name="T14" fmla="*/ 987 w 1518"/>
                <a:gd name="T15" fmla="*/ 462 h 1366"/>
                <a:gd name="T16" fmla="*/ 987 w 1518"/>
                <a:gd name="T17" fmla="*/ 683 h 1366"/>
                <a:gd name="T18" fmla="*/ 1029 w 1518"/>
                <a:gd name="T19" fmla="*/ 683 h 1366"/>
                <a:gd name="T20" fmla="*/ 1105 w 1518"/>
                <a:gd name="T21" fmla="*/ 0 h 1366"/>
                <a:gd name="T22" fmla="*/ 1362 w 1518"/>
                <a:gd name="T23" fmla="*/ 0 h 1366"/>
                <a:gd name="T24" fmla="*/ 1438 w 1518"/>
                <a:gd name="T25" fmla="*/ 683 h 1366"/>
                <a:gd name="T26" fmla="*/ 1518 w 1518"/>
                <a:gd name="T27" fmla="*/ 683 h 1366"/>
                <a:gd name="T28" fmla="*/ 1518 w 1518"/>
                <a:gd name="T29" fmla="*/ 1366 h 1366"/>
                <a:gd name="T30" fmla="*/ 76 w 1518"/>
                <a:gd name="T31" fmla="*/ 1290 h 1366"/>
                <a:gd name="T32" fmla="*/ 1442 w 1518"/>
                <a:gd name="T33" fmla="*/ 1290 h 1366"/>
                <a:gd name="T34" fmla="*/ 1442 w 1518"/>
                <a:gd name="T35" fmla="*/ 759 h 1366"/>
                <a:gd name="T36" fmla="*/ 1371 w 1518"/>
                <a:gd name="T37" fmla="*/ 759 h 1366"/>
                <a:gd name="T38" fmla="*/ 1295 w 1518"/>
                <a:gd name="T39" fmla="*/ 76 h 1366"/>
                <a:gd name="T40" fmla="*/ 1172 w 1518"/>
                <a:gd name="T41" fmla="*/ 76 h 1366"/>
                <a:gd name="T42" fmla="*/ 1096 w 1518"/>
                <a:gd name="T43" fmla="*/ 759 h 1366"/>
                <a:gd name="T44" fmla="*/ 911 w 1518"/>
                <a:gd name="T45" fmla="*/ 759 h 1366"/>
                <a:gd name="T46" fmla="*/ 911 w 1518"/>
                <a:gd name="T47" fmla="*/ 600 h 1366"/>
                <a:gd name="T48" fmla="*/ 607 w 1518"/>
                <a:gd name="T49" fmla="*/ 789 h 1366"/>
                <a:gd name="T50" fmla="*/ 607 w 1518"/>
                <a:gd name="T51" fmla="*/ 600 h 1366"/>
                <a:gd name="T52" fmla="*/ 304 w 1518"/>
                <a:gd name="T53" fmla="*/ 789 h 1366"/>
                <a:gd name="T54" fmla="*/ 304 w 1518"/>
                <a:gd name="T55" fmla="*/ 600 h 1366"/>
                <a:gd name="T56" fmla="*/ 76 w 1518"/>
                <a:gd name="T57" fmla="*/ 742 h 1366"/>
                <a:gd name="T58" fmla="*/ 76 w 1518"/>
                <a:gd name="T59" fmla="*/ 1290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18" h="1366">
                  <a:moveTo>
                    <a:pt x="1518" y="1366"/>
                  </a:moveTo>
                  <a:lnTo>
                    <a:pt x="0" y="1366"/>
                  </a:lnTo>
                  <a:lnTo>
                    <a:pt x="0" y="699"/>
                  </a:lnTo>
                  <a:lnTo>
                    <a:pt x="379" y="462"/>
                  </a:lnTo>
                  <a:lnTo>
                    <a:pt x="379" y="652"/>
                  </a:lnTo>
                  <a:lnTo>
                    <a:pt x="683" y="462"/>
                  </a:lnTo>
                  <a:lnTo>
                    <a:pt x="683" y="652"/>
                  </a:lnTo>
                  <a:lnTo>
                    <a:pt x="987" y="462"/>
                  </a:lnTo>
                  <a:lnTo>
                    <a:pt x="987" y="683"/>
                  </a:lnTo>
                  <a:lnTo>
                    <a:pt x="1029" y="683"/>
                  </a:lnTo>
                  <a:lnTo>
                    <a:pt x="1105" y="0"/>
                  </a:lnTo>
                  <a:lnTo>
                    <a:pt x="1362" y="0"/>
                  </a:lnTo>
                  <a:lnTo>
                    <a:pt x="1438" y="683"/>
                  </a:lnTo>
                  <a:lnTo>
                    <a:pt x="1518" y="683"/>
                  </a:lnTo>
                  <a:lnTo>
                    <a:pt x="1518" y="1366"/>
                  </a:lnTo>
                  <a:close/>
                  <a:moveTo>
                    <a:pt x="76" y="1290"/>
                  </a:moveTo>
                  <a:lnTo>
                    <a:pt x="1442" y="1290"/>
                  </a:lnTo>
                  <a:lnTo>
                    <a:pt x="1442" y="759"/>
                  </a:lnTo>
                  <a:lnTo>
                    <a:pt x="1371" y="759"/>
                  </a:lnTo>
                  <a:lnTo>
                    <a:pt x="1295" y="76"/>
                  </a:lnTo>
                  <a:lnTo>
                    <a:pt x="1172" y="76"/>
                  </a:lnTo>
                  <a:lnTo>
                    <a:pt x="1096" y="759"/>
                  </a:lnTo>
                  <a:lnTo>
                    <a:pt x="911" y="759"/>
                  </a:lnTo>
                  <a:lnTo>
                    <a:pt x="911" y="600"/>
                  </a:lnTo>
                  <a:lnTo>
                    <a:pt x="607" y="789"/>
                  </a:lnTo>
                  <a:lnTo>
                    <a:pt x="607" y="600"/>
                  </a:lnTo>
                  <a:lnTo>
                    <a:pt x="304" y="789"/>
                  </a:lnTo>
                  <a:lnTo>
                    <a:pt x="304" y="600"/>
                  </a:lnTo>
                  <a:lnTo>
                    <a:pt x="76" y="742"/>
                  </a:lnTo>
                  <a:lnTo>
                    <a:pt x="76" y="129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6" name="Rectangle 60"/>
            <p:cNvSpPr>
              <a:spLocks noChangeArrowheads="1"/>
            </p:cNvSpPr>
            <p:nvPr/>
          </p:nvSpPr>
          <p:spPr bwMode="auto">
            <a:xfrm>
              <a:off x="-2733675" y="3236913"/>
              <a:ext cx="481013" cy="1206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7" name="Rectangle 7"/>
            <p:cNvSpPr>
              <a:spLocks noChangeArrowheads="1"/>
            </p:cNvSpPr>
            <p:nvPr/>
          </p:nvSpPr>
          <p:spPr bwMode="auto">
            <a:xfrm>
              <a:off x="-2071688" y="3236913"/>
              <a:ext cx="482600" cy="1206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38" name="Rectangle 8"/>
            <p:cNvSpPr>
              <a:spLocks noChangeArrowheads="1"/>
            </p:cNvSpPr>
            <p:nvPr/>
          </p:nvSpPr>
          <p:spPr bwMode="auto">
            <a:xfrm>
              <a:off x="-1408113" y="3236913"/>
              <a:ext cx="481013" cy="12065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sp>
        <p:nvSpPr>
          <p:cNvPr id="39" name="Inhaltsplatzhalter 2700__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2341933" y="2512628"/>
            <a:ext cx="586058" cy="276999"/>
          </a:xfrm>
          <a:prstGeom prst="rect">
            <a:avLst/>
          </a:prstGeom>
          <a:noFill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45720" tIns="45720" rIns="45720" bIns="45720" rtlCol="0" anchor="ctr">
            <a:spAutoFit/>
          </a:bodyPr>
          <a:lstStyle>
            <a:lvl1pPr marL="251460" indent="-251460" algn="l" defTabSz="822716" rtl="0" eaLnBrk="1" latinLnBrk="0" hangingPunct="1">
              <a:lnSpc>
                <a:spcPct val="107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8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1pPr>
            <a:lvl2pPr marL="508000" indent="-27432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2pPr>
            <a:lvl3pPr marL="730250" indent="-204470" algn="l" defTabSz="822716" rtl="0" eaLnBrk="1" latinLnBrk="0" hangingPunct="1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3pPr>
            <a:lvl4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4pPr>
            <a:lvl5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5pPr>
            <a:lvl6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6pPr>
            <a:lvl7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7pPr>
            <a:lvl8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8pPr>
            <a:lvl9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 baseline="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200" dirty="0" smtClean="0">
                <a:solidFill>
                  <a:srgbClr val="08427E"/>
                </a:solidFill>
              </a:rPr>
              <a:t>Europa</a:t>
            </a:r>
            <a:endParaRPr lang="pt-BR" sz="1200" dirty="0">
              <a:solidFill>
                <a:srgbClr val="08427E"/>
              </a:solidFill>
            </a:endParaRPr>
          </a:p>
        </p:txBody>
      </p:sp>
      <p:sp>
        <p:nvSpPr>
          <p:cNvPr id="40" name="Textfeld 4500000"/>
          <p:cNvSpPr txBox="1"/>
          <p:nvPr/>
        </p:nvSpPr>
        <p:spPr>
          <a:xfrm>
            <a:off x="2963214" y="3749642"/>
            <a:ext cx="559127" cy="234499"/>
          </a:xfrm>
          <a:prstGeom prst="rect">
            <a:avLst/>
          </a:prstGeom>
          <a:noFill/>
          <a:ln w="9525">
            <a:solidFill>
              <a:srgbClr val="08427E"/>
            </a:solidFill>
          </a:ln>
          <a:effectLst/>
          <a:extLst/>
        </p:spPr>
        <p:txBody>
          <a:bodyPr vert="horz" wrap="none" lIns="45720" tIns="45720" rIns="45720" bIns="45720" rtlCol="0" anchor="ctr" anchorCtr="0">
            <a:no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sz="900" dirty="0" smtClean="0">
                <a:solidFill>
                  <a:srgbClr val="08427E"/>
                </a:solidFill>
              </a:rPr>
              <a:t>138</a:t>
            </a:r>
            <a:endParaRPr lang="pt-BR" sz="900" dirty="0">
              <a:solidFill>
                <a:srgbClr val="08427E"/>
              </a:solidFill>
            </a:endParaRPr>
          </a:p>
        </p:txBody>
      </p:sp>
      <p:grpSp>
        <p:nvGrpSpPr>
          <p:cNvPr id="41" name="Group 162"/>
          <p:cNvGrpSpPr/>
          <p:nvPr/>
        </p:nvGrpSpPr>
        <p:grpSpPr>
          <a:xfrm>
            <a:off x="2439917" y="3704016"/>
            <a:ext cx="361999" cy="325751"/>
            <a:chOff x="-3035300" y="1792288"/>
            <a:chExt cx="2409825" cy="2168525"/>
          </a:xfrm>
          <a:solidFill>
            <a:srgbClr val="08427E"/>
          </a:solidFill>
        </p:grpSpPr>
        <p:sp>
          <p:nvSpPr>
            <p:cNvPr id="42" name="Freeform 5000000"/>
            <p:cNvSpPr>
              <a:spLocks noEditPoints="1"/>
            </p:cNvSpPr>
            <p:nvPr/>
          </p:nvSpPr>
          <p:spPr bwMode="auto">
            <a:xfrm>
              <a:off x="-3035300" y="1792288"/>
              <a:ext cx="2409825" cy="2168525"/>
            </a:xfrm>
            <a:custGeom>
              <a:avLst/>
              <a:gdLst>
                <a:gd name="T0" fmla="*/ 1518 w 1518"/>
                <a:gd name="T1" fmla="*/ 1366 h 1366"/>
                <a:gd name="T2" fmla="*/ 0 w 1518"/>
                <a:gd name="T3" fmla="*/ 1366 h 1366"/>
                <a:gd name="T4" fmla="*/ 0 w 1518"/>
                <a:gd name="T5" fmla="*/ 699 h 1366"/>
                <a:gd name="T6" fmla="*/ 379 w 1518"/>
                <a:gd name="T7" fmla="*/ 462 h 1366"/>
                <a:gd name="T8" fmla="*/ 379 w 1518"/>
                <a:gd name="T9" fmla="*/ 652 h 1366"/>
                <a:gd name="T10" fmla="*/ 683 w 1518"/>
                <a:gd name="T11" fmla="*/ 462 h 1366"/>
                <a:gd name="T12" fmla="*/ 683 w 1518"/>
                <a:gd name="T13" fmla="*/ 652 h 1366"/>
                <a:gd name="T14" fmla="*/ 987 w 1518"/>
                <a:gd name="T15" fmla="*/ 462 h 1366"/>
                <a:gd name="T16" fmla="*/ 987 w 1518"/>
                <a:gd name="T17" fmla="*/ 683 h 1366"/>
                <a:gd name="T18" fmla="*/ 1029 w 1518"/>
                <a:gd name="T19" fmla="*/ 683 h 1366"/>
                <a:gd name="T20" fmla="*/ 1105 w 1518"/>
                <a:gd name="T21" fmla="*/ 0 h 1366"/>
                <a:gd name="T22" fmla="*/ 1362 w 1518"/>
                <a:gd name="T23" fmla="*/ 0 h 1366"/>
                <a:gd name="T24" fmla="*/ 1438 w 1518"/>
                <a:gd name="T25" fmla="*/ 683 h 1366"/>
                <a:gd name="T26" fmla="*/ 1518 w 1518"/>
                <a:gd name="T27" fmla="*/ 683 h 1366"/>
                <a:gd name="T28" fmla="*/ 1518 w 1518"/>
                <a:gd name="T29" fmla="*/ 1366 h 1366"/>
                <a:gd name="T30" fmla="*/ 76 w 1518"/>
                <a:gd name="T31" fmla="*/ 1290 h 1366"/>
                <a:gd name="T32" fmla="*/ 1442 w 1518"/>
                <a:gd name="T33" fmla="*/ 1290 h 1366"/>
                <a:gd name="T34" fmla="*/ 1442 w 1518"/>
                <a:gd name="T35" fmla="*/ 759 h 1366"/>
                <a:gd name="T36" fmla="*/ 1371 w 1518"/>
                <a:gd name="T37" fmla="*/ 759 h 1366"/>
                <a:gd name="T38" fmla="*/ 1295 w 1518"/>
                <a:gd name="T39" fmla="*/ 76 h 1366"/>
                <a:gd name="T40" fmla="*/ 1172 w 1518"/>
                <a:gd name="T41" fmla="*/ 76 h 1366"/>
                <a:gd name="T42" fmla="*/ 1096 w 1518"/>
                <a:gd name="T43" fmla="*/ 759 h 1366"/>
                <a:gd name="T44" fmla="*/ 911 w 1518"/>
                <a:gd name="T45" fmla="*/ 759 h 1366"/>
                <a:gd name="T46" fmla="*/ 911 w 1518"/>
                <a:gd name="T47" fmla="*/ 600 h 1366"/>
                <a:gd name="T48" fmla="*/ 607 w 1518"/>
                <a:gd name="T49" fmla="*/ 789 h 1366"/>
                <a:gd name="T50" fmla="*/ 607 w 1518"/>
                <a:gd name="T51" fmla="*/ 600 h 1366"/>
                <a:gd name="T52" fmla="*/ 304 w 1518"/>
                <a:gd name="T53" fmla="*/ 789 h 1366"/>
                <a:gd name="T54" fmla="*/ 304 w 1518"/>
                <a:gd name="T55" fmla="*/ 600 h 1366"/>
                <a:gd name="T56" fmla="*/ 76 w 1518"/>
                <a:gd name="T57" fmla="*/ 742 h 1366"/>
                <a:gd name="T58" fmla="*/ 76 w 1518"/>
                <a:gd name="T59" fmla="*/ 1290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18" h="1366">
                  <a:moveTo>
                    <a:pt x="1518" y="1366"/>
                  </a:moveTo>
                  <a:lnTo>
                    <a:pt x="0" y="1366"/>
                  </a:lnTo>
                  <a:lnTo>
                    <a:pt x="0" y="699"/>
                  </a:lnTo>
                  <a:lnTo>
                    <a:pt x="379" y="462"/>
                  </a:lnTo>
                  <a:lnTo>
                    <a:pt x="379" y="652"/>
                  </a:lnTo>
                  <a:lnTo>
                    <a:pt x="683" y="462"/>
                  </a:lnTo>
                  <a:lnTo>
                    <a:pt x="683" y="652"/>
                  </a:lnTo>
                  <a:lnTo>
                    <a:pt x="987" y="462"/>
                  </a:lnTo>
                  <a:lnTo>
                    <a:pt x="987" y="683"/>
                  </a:lnTo>
                  <a:lnTo>
                    <a:pt x="1029" y="683"/>
                  </a:lnTo>
                  <a:lnTo>
                    <a:pt x="1105" y="0"/>
                  </a:lnTo>
                  <a:lnTo>
                    <a:pt x="1362" y="0"/>
                  </a:lnTo>
                  <a:lnTo>
                    <a:pt x="1438" y="683"/>
                  </a:lnTo>
                  <a:lnTo>
                    <a:pt x="1518" y="683"/>
                  </a:lnTo>
                  <a:lnTo>
                    <a:pt x="1518" y="1366"/>
                  </a:lnTo>
                  <a:close/>
                  <a:moveTo>
                    <a:pt x="76" y="1290"/>
                  </a:moveTo>
                  <a:lnTo>
                    <a:pt x="1442" y="1290"/>
                  </a:lnTo>
                  <a:lnTo>
                    <a:pt x="1442" y="759"/>
                  </a:lnTo>
                  <a:lnTo>
                    <a:pt x="1371" y="759"/>
                  </a:lnTo>
                  <a:lnTo>
                    <a:pt x="1295" y="76"/>
                  </a:lnTo>
                  <a:lnTo>
                    <a:pt x="1172" y="76"/>
                  </a:lnTo>
                  <a:lnTo>
                    <a:pt x="1096" y="759"/>
                  </a:lnTo>
                  <a:lnTo>
                    <a:pt x="911" y="759"/>
                  </a:lnTo>
                  <a:lnTo>
                    <a:pt x="911" y="600"/>
                  </a:lnTo>
                  <a:lnTo>
                    <a:pt x="607" y="789"/>
                  </a:lnTo>
                  <a:lnTo>
                    <a:pt x="607" y="600"/>
                  </a:lnTo>
                  <a:lnTo>
                    <a:pt x="304" y="789"/>
                  </a:lnTo>
                  <a:lnTo>
                    <a:pt x="304" y="600"/>
                  </a:lnTo>
                  <a:lnTo>
                    <a:pt x="76" y="742"/>
                  </a:lnTo>
                  <a:lnTo>
                    <a:pt x="76" y="12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  <p:sp>
          <p:nvSpPr>
            <p:cNvPr id="43" name="Rectangle 6000000"/>
            <p:cNvSpPr>
              <a:spLocks noChangeArrowheads="1"/>
            </p:cNvSpPr>
            <p:nvPr/>
          </p:nvSpPr>
          <p:spPr bwMode="auto">
            <a:xfrm>
              <a:off x="-2733675" y="3236913"/>
              <a:ext cx="481013" cy="120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  <p:sp>
          <p:nvSpPr>
            <p:cNvPr id="44" name="Rectangle 700000"/>
            <p:cNvSpPr>
              <a:spLocks noChangeArrowheads="1"/>
            </p:cNvSpPr>
            <p:nvPr/>
          </p:nvSpPr>
          <p:spPr bwMode="auto">
            <a:xfrm>
              <a:off x="-2071688" y="3236913"/>
              <a:ext cx="482600" cy="120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  <p:sp>
          <p:nvSpPr>
            <p:cNvPr id="45" name="Rectangle 800000"/>
            <p:cNvSpPr>
              <a:spLocks noChangeArrowheads="1"/>
            </p:cNvSpPr>
            <p:nvPr/>
          </p:nvSpPr>
          <p:spPr bwMode="auto">
            <a:xfrm>
              <a:off x="-1408113" y="3236913"/>
              <a:ext cx="481013" cy="120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46" name="Textfeld 42_0000000000"/>
          <p:cNvSpPr txBox="1"/>
          <p:nvPr/>
        </p:nvSpPr>
        <p:spPr>
          <a:xfrm>
            <a:off x="2970038" y="3346594"/>
            <a:ext cx="559127" cy="234499"/>
          </a:xfrm>
          <a:prstGeom prst="rect">
            <a:avLst/>
          </a:prstGeom>
          <a:noFill/>
          <a:ln w="9525">
            <a:solidFill>
              <a:srgbClr val="08427E"/>
            </a:solidFill>
          </a:ln>
          <a:effectLst/>
          <a:extLst/>
        </p:spPr>
        <p:txBody>
          <a:bodyPr vert="horz" wrap="none" lIns="45720" tIns="45720" rIns="45720" bIns="45720" rtlCol="0" anchor="ctr" anchorCtr="0">
            <a:no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sz="900" dirty="0" smtClean="0">
                <a:solidFill>
                  <a:srgbClr val="08427E"/>
                </a:solidFill>
              </a:rPr>
              <a:t>242.506</a:t>
            </a:r>
            <a:endParaRPr lang="pt-BR" sz="900" dirty="0">
              <a:solidFill>
                <a:srgbClr val="08427E"/>
              </a:solidFill>
            </a:endParaRPr>
          </a:p>
        </p:txBody>
      </p:sp>
      <p:grpSp>
        <p:nvGrpSpPr>
          <p:cNvPr id="47" name="Group 14____"/>
          <p:cNvGrpSpPr>
            <a:grpSpLocks noChangeAspect="1"/>
          </p:cNvGrpSpPr>
          <p:nvPr/>
        </p:nvGrpSpPr>
        <p:grpSpPr bwMode="auto">
          <a:xfrm>
            <a:off x="2415503" y="3361137"/>
            <a:ext cx="410826" cy="205413"/>
            <a:chOff x="324" y="2342"/>
            <a:chExt cx="490" cy="245"/>
          </a:xfrm>
          <a:solidFill>
            <a:srgbClr val="08427E"/>
          </a:solidFill>
        </p:grpSpPr>
        <p:sp>
          <p:nvSpPr>
            <p:cNvPr id="48" name="Freeform 15000000000"/>
            <p:cNvSpPr>
              <a:spLocks noEditPoints="1"/>
            </p:cNvSpPr>
            <p:nvPr/>
          </p:nvSpPr>
          <p:spPr bwMode="auto">
            <a:xfrm>
              <a:off x="459" y="2342"/>
              <a:ext cx="220" cy="245"/>
            </a:xfrm>
            <a:custGeom>
              <a:avLst/>
              <a:gdLst>
                <a:gd name="T0" fmla="*/ 186 w 288"/>
                <a:gd name="T1" fmla="*/ 182 h 320"/>
                <a:gd name="T2" fmla="*/ 240 w 288"/>
                <a:gd name="T3" fmla="*/ 96 h 320"/>
                <a:gd name="T4" fmla="*/ 144 w 288"/>
                <a:gd name="T5" fmla="*/ 0 h 320"/>
                <a:gd name="T6" fmla="*/ 48 w 288"/>
                <a:gd name="T7" fmla="*/ 96 h 320"/>
                <a:gd name="T8" fmla="*/ 102 w 288"/>
                <a:gd name="T9" fmla="*/ 182 h 320"/>
                <a:gd name="T10" fmla="*/ 0 w 288"/>
                <a:gd name="T11" fmla="*/ 320 h 320"/>
                <a:gd name="T12" fmla="*/ 32 w 288"/>
                <a:gd name="T13" fmla="*/ 320 h 320"/>
                <a:gd name="T14" fmla="*/ 144 w 288"/>
                <a:gd name="T15" fmla="*/ 208 h 320"/>
                <a:gd name="T16" fmla="*/ 256 w 288"/>
                <a:gd name="T17" fmla="*/ 320 h 320"/>
                <a:gd name="T18" fmla="*/ 288 w 288"/>
                <a:gd name="T19" fmla="*/ 320 h 320"/>
                <a:gd name="T20" fmla="*/ 186 w 288"/>
                <a:gd name="T21" fmla="*/ 182 h 320"/>
                <a:gd name="T22" fmla="*/ 80 w 288"/>
                <a:gd name="T23" fmla="*/ 96 h 320"/>
                <a:gd name="T24" fmla="*/ 144 w 288"/>
                <a:gd name="T25" fmla="*/ 32 h 320"/>
                <a:gd name="T26" fmla="*/ 208 w 288"/>
                <a:gd name="T27" fmla="*/ 96 h 320"/>
                <a:gd name="T28" fmla="*/ 144 w 288"/>
                <a:gd name="T29" fmla="*/ 160 h 320"/>
                <a:gd name="T30" fmla="*/ 80 w 288"/>
                <a:gd name="T31" fmla="*/ 9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320">
                  <a:moveTo>
                    <a:pt x="186" y="182"/>
                  </a:moveTo>
                  <a:cubicBezTo>
                    <a:pt x="218" y="167"/>
                    <a:pt x="240" y="134"/>
                    <a:pt x="240" y="96"/>
                  </a:cubicBezTo>
                  <a:cubicBezTo>
                    <a:pt x="240" y="43"/>
                    <a:pt x="197" y="0"/>
                    <a:pt x="144" y="0"/>
                  </a:cubicBezTo>
                  <a:cubicBezTo>
                    <a:pt x="91" y="0"/>
                    <a:pt x="48" y="43"/>
                    <a:pt x="48" y="96"/>
                  </a:cubicBezTo>
                  <a:cubicBezTo>
                    <a:pt x="48" y="134"/>
                    <a:pt x="70" y="167"/>
                    <a:pt x="102" y="182"/>
                  </a:cubicBezTo>
                  <a:cubicBezTo>
                    <a:pt x="43" y="200"/>
                    <a:pt x="0" y="255"/>
                    <a:pt x="0" y="320"/>
                  </a:cubicBezTo>
                  <a:cubicBezTo>
                    <a:pt x="32" y="320"/>
                    <a:pt x="32" y="320"/>
                    <a:pt x="32" y="320"/>
                  </a:cubicBezTo>
                  <a:cubicBezTo>
                    <a:pt x="32" y="258"/>
                    <a:pt x="82" y="208"/>
                    <a:pt x="144" y="208"/>
                  </a:cubicBezTo>
                  <a:cubicBezTo>
                    <a:pt x="206" y="208"/>
                    <a:pt x="256" y="258"/>
                    <a:pt x="256" y="320"/>
                  </a:cubicBezTo>
                  <a:cubicBezTo>
                    <a:pt x="288" y="320"/>
                    <a:pt x="288" y="320"/>
                    <a:pt x="288" y="320"/>
                  </a:cubicBezTo>
                  <a:cubicBezTo>
                    <a:pt x="288" y="255"/>
                    <a:pt x="245" y="200"/>
                    <a:pt x="186" y="182"/>
                  </a:cubicBezTo>
                  <a:moveTo>
                    <a:pt x="80" y="96"/>
                  </a:moveTo>
                  <a:cubicBezTo>
                    <a:pt x="80" y="61"/>
                    <a:pt x="109" y="32"/>
                    <a:pt x="144" y="32"/>
                  </a:cubicBezTo>
                  <a:cubicBezTo>
                    <a:pt x="179" y="32"/>
                    <a:pt x="208" y="61"/>
                    <a:pt x="208" y="96"/>
                  </a:cubicBezTo>
                  <a:cubicBezTo>
                    <a:pt x="208" y="131"/>
                    <a:pt x="179" y="160"/>
                    <a:pt x="144" y="160"/>
                  </a:cubicBezTo>
                  <a:cubicBezTo>
                    <a:pt x="109" y="160"/>
                    <a:pt x="80" y="131"/>
                    <a:pt x="80" y="9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  <p:sp>
          <p:nvSpPr>
            <p:cNvPr id="49" name="Freeform 16000000000"/>
            <p:cNvSpPr>
              <a:spLocks noEditPoints="1"/>
            </p:cNvSpPr>
            <p:nvPr/>
          </p:nvSpPr>
          <p:spPr bwMode="auto">
            <a:xfrm>
              <a:off x="324" y="2416"/>
              <a:ext cx="129" cy="171"/>
            </a:xfrm>
            <a:custGeom>
              <a:avLst/>
              <a:gdLst>
                <a:gd name="T0" fmla="*/ 168 w 169"/>
                <a:gd name="T1" fmla="*/ 64 h 224"/>
                <a:gd name="T2" fmla="*/ 104 w 169"/>
                <a:gd name="T3" fmla="*/ 0 h 224"/>
                <a:gd name="T4" fmla="*/ 40 w 169"/>
                <a:gd name="T5" fmla="*/ 64 h 224"/>
                <a:gd name="T6" fmla="*/ 70 w 169"/>
                <a:gd name="T7" fmla="*/ 118 h 224"/>
                <a:gd name="T8" fmla="*/ 0 w 169"/>
                <a:gd name="T9" fmla="*/ 216 h 224"/>
                <a:gd name="T10" fmla="*/ 0 w 169"/>
                <a:gd name="T11" fmla="*/ 224 h 224"/>
                <a:gd name="T12" fmla="*/ 32 w 169"/>
                <a:gd name="T13" fmla="*/ 224 h 224"/>
                <a:gd name="T14" fmla="*/ 32 w 169"/>
                <a:gd name="T15" fmla="*/ 216 h 224"/>
                <a:gd name="T16" fmla="*/ 104 w 169"/>
                <a:gd name="T17" fmla="*/ 144 h 224"/>
                <a:gd name="T18" fmla="*/ 154 w 169"/>
                <a:gd name="T19" fmla="*/ 165 h 224"/>
                <a:gd name="T20" fmla="*/ 169 w 169"/>
                <a:gd name="T21" fmla="*/ 135 h 224"/>
                <a:gd name="T22" fmla="*/ 138 w 169"/>
                <a:gd name="T23" fmla="*/ 118 h 224"/>
                <a:gd name="T24" fmla="*/ 168 w 169"/>
                <a:gd name="T25" fmla="*/ 64 h 224"/>
                <a:gd name="T26" fmla="*/ 104 w 169"/>
                <a:gd name="T27" fmla="*/ 32 h 224"/>
                <a:gd name="T28" fmla="*/ 136 w 169"/>
                <a:gd name="T29" fmla="*/ 64 h 224"/>
                <a:gd name="T30" fmla="*/ 104 w 169"/>
                <a:gd name="T31" fmla="*/ 96 h 224"/>
                <a:gd name="T32" fmla="*/ 72 w 169"/>
                <a:gd name="T33" fmla="*/ 64 h 224"/>
                <a:gd name="T34" fmla="*/ 104 w 169"/>
                <a:gd name="T35" fmla="*/ 3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224">
                  <a:moveTo>
                    <a:pt x="168" y="64"/>
                  </a:moveTo>
                  <a:cubicBezTo>
                    <a:pt x="168" y="29"/>
                    <a:pt x="139" y="0"/>
                    <a:pt x="104" y="0"/>
                  </a:cubicBezTo>
                  <a:cubicBezTo>
                    <a:pt x="69" y="0"/>
                    <a:pt x="40" y="29"/>
                    <a:pt x="40" y="64"/>
                  </a:cubicBezTo>
                  <a:cubicBezTo>
                    <a:pt x="40" y="87"/>
                    <a:pt x="52" y="106"/>
                    <a:pt x="70" y="118"/>
                  </a:cubicBezTo>
                  <a:cubicBezTo>
                    <a:pt x="29" y="132"/>
                    <a:pt x="0" y="171"/>
                    <a:pt x="0" y="216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32" y="224"/>
                    <a:pt x="32" y="224"/>
                    <a:pt x="32" y="224"/>
                  </a:cubicBezTo>
                  <a:cubicBezTo>
                    <a:pt x="32" y="216"/>
                    <a:pt x="32" y="216"/>
                    <a:pt x="32" y="216"/>
                  </a:cubicBezTo>
                  <a:cubicBezTo>
                    <a:pt x="32" y="176"/>
                    <a:pt x="64" y="144"/>
                    <a:pt x="104" y="144"/>
                  </a:cubicBezTo>
                  <a:cubicBezTo>
                    <a:pt x="123" y="144"/>
                    <a:pt x="141" y="152"/>
                    <a:pt x="154" y="165"/>
                  </a:cubicBezTo>
                  <a:cubicBezTo>
                    <a:pt x="158" y="154"/>
                    <a:pt x="163" y="144"/>
                    <a:pt x="169" y="135"/>
                  </a:cubicBezTo>
                  <a:cubicBezTo>
                    <a:pt x="159" y="127"/>
                    <a:pt x="149" y="122"/>
                    <a:pt x="138" y="118"/>
                  </a:cubicBezTo>
                  <a:cubicBezTo>
                    <a:pt x="156" y="107"/>
                    <a:pt x="168" y="87"/>
                    <a:pt x="168" y="64"/>
                  </a:cubicBezTo>
                  <a:moveTo>
                    <a:pt x="104" y="32"/>
                  </a:moveTo>
                  <a:cubicBezTo>
                    <a:pt x="122" y="32"/>
                    <a:pt x="136" y="46"/>
                    <a:pt x="136" y="64"/>
                  </a:cubicBezTo>
                  <a:cubicBezTo>
                    <a:pt x="136" y="82"/>
                    <a:pt x="122" y="96"/>
                    <a:pt x="104" y="96"/>
                  </a:cubicBezTo>
                  <a:cubicBezTo>
                    <a:pt x="86" y="96"/>
                    <a:pt x="72" y="82"/>
                    <a:pt x="72" y="64"/>
                  </a:cubicBezTo>
                  <a:cubicBezTo>
                    <a:pt x="72" y="46"/>
                    <a:pt x="86" y="32"/>
                    <a:pt x="10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  <p:sp>
          <p:nvSpPr>
            <p:cNvPr id="50" name="Freeform 17000000000"/>
            <p:cNvSpPr>
              <a:spLocks noEditPoints="1"/>
            </p:cNvSpPr>
            <p:nvPr/>
          </p:nvSpPr>
          <p:spPr bwMode="auto">
            <a:xfrm>
              <a:off x="685" y="2416"/>
              <a:ext cx="129" cy="171"/>
            </a:xfrm>
            <a:custGeom>
              <a:avLst/>
              <a:gdLst>
                <a:gd name="T0" fmla="*/ 99 w 169"/>
                <a:gd name="T1" fmla="*/ 118 h 224"/>
                <a:gd name="T2" fmla="*/ 129 w 169"/>
                <a:gd name="T3" fmla="*/ 64 h 224"/>
                <a:gd name="T4" fmla="*/ 65 w 169"/>
                <a:gd name="T5" fmla="*/ 0 h 224"/>
                <a:gd name="T6" fmla="*/ 1 w 169"/>
                <a:gd name="T7" fmla="*/ 64 h 224"/>
                <a:gd name="T8" fmla="*/ 31 w 169"/>
                <a:gd name="T9" fmla="*/ 118 h 224"/>
                <a:gd name="T10" fmla="*/ 0 w 169"/>
                <a:gd name="T11" fmla="*/ 135 h 224"/>
                <a:gd name="T12" fmla="*/ 15 w 169"/>
                <a:gd name="T13" fmla="*/ 165 h 224"/>
                <a:gd name="T14" fmla="*/ 65 w 169"/>
                <a:gd name="T15" fmla="*/ 144 h 224"/>
                <a:gd name="T16" fmla="*/ 137 w 169"/>
                <a:gd name="T17" fmla="*/ 216 h 224"/>
                <a:gd name="T18" fmla="*/ 137 w 169"/>
                <a:gd name="T19" fmla="*/ 224 h 224"/>
                <a:gd name="T20" fmla="*/ 169 w 169"/>
                <a:gd name="T21" fmla="*/ 224 h 224"/>
                <a:gd name="T22" fmla="*/ 169 w 169"/>
                <a:gd name="T23" fmla="*/ 216 h 224"/>
                <a:gd name="T24" fmla="*/ 99 w 169"/>
                <a:gd name="T25" fmla="*/ 118 h 224"/>
                <a:gd name="T26" fmla="*/ 65 w 169"/>
                <a:gd name="T27" fmla="*/ 32 h 224"/>
                <a:gd name="T28" fmla="*/ 97 w 169"/>
                <a:gd name="T29" fmla="*/ 64 h 224"/>
                <a:gd name="T30" fmla="*/ 65 w 169"/>
                <a:gd name="T31" fmla="*/ 96 h 224"/>
                <a:gd name="T32" fmla="*/ 33 w 169"/>
                <a:gd name="T33" fmla="*/ 64 h 224"/>
                <a:gd name="T34" fmla="*/ 65 w 169"/>
                <a:gd name="T35" fmla="*/ 3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224">
                  <a:moveTo>
                    <a:pt x="99" y="118"/>
                  </a:moveTo>
                  <a:cubicBezTo>
                    <a:pt x="117" y="106"/>
                    <a:pt x="129" y="87"/>
                    <a:pt x="129" y="64"/>
                  </a:cubicBezTo>
                  <a:cubicBezTo>
                    <a:pt x="129" y="29"/>
                    <a:pt x="100" y="0"/>
                    <a:pt x="65" y="0"/>
                  </a:cubicBezTo>
                  <a:cubicBezTo>
                    <a:pt x="30" y="0"/>
                    <a:pt x="1" y="29"/>
                    <a:pt x="1" y="64"/>
                  </a:cubicBezTo>
                  <a:cubicBezTo>
                    <a:pt x="1" y="87"/>
                    <a:pt x="13" y="107"/>
                    <a:pt x="31" y="118"/>
                  </a:cubicBezTo>
                  <a:cubicBezTo>
                    <a:pt x="20" y="122"/>
                    <a:pt x="10" y="127"/>
                    <a:pt x="0" y="135"/>
                  </a:cubicBezTo>
                  <a:cubicBezTo>
                    <a:pt x="6" y="144"/>
                    <a:pt x="11" y="154"/>
                    <a:pt x="15" y="165"/>
                  </a:cubicBezTo>
                  <a:cubicBezTo>
                    <a:pt x="28" y="152"/>
                    <a:pt x="46" y="144"/>
                    <a:pt x="65" y="144"/>
                  </a:cubicBezTo>
                  <a:cubicBezTo>
                    <a:pt x="105" y="144"/>
                    <a:pt x="137" y="176"/>
                    <a:pt x="137" y="216"/>
                  </a:cubicBezTo>
                  <a:cubicBezTo>
                    <a:pt x="137" y="224"/>
                    <a:pt x="137" y="224"/>
                    <a:pt x="137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9" y="171"/>
                    <a:pt x="140" y="132"/>
                    <a:pt x="99" y="118"/>
                  </a:cubicBezTo>
                  <a:moveTo>
                    <a:pt x="65" y="32"/>
                  </a:moveTo>
                  <a:cubicBezTo>
                    <a:pt x="83" y="32"/>
                    <a:pt x="97" y="46"/>
                    <a:pt x="97" y="64"/>
                  </a:cubicBezTo>
                  <a:cubicBezTo>
                    <a:pt x="97" y="82"/>
                    <a:pt x="83" y="96"/>
                    <a:pt x="65" y="96"/>
                  </a:cubicBezTo>
                  <a:cubicBezTo>
                    <a:pt x="47" y="96"/>
                    <a:pt x="33" y="82"/>
                    <a:pt x="33" y="64"/>
                  </a:cubicBezTo>
                  <a:cubicBezTo>
                    <a:pt x="33" y="46"/>
                    <a:pt x="47" y="32"/>
                    <a:pt x="65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51" name="Textfeld 42_00000000000"/>
          <p:cNvSpPr txBox="1"/>
          <p:nvPr/>
        </p:nvSpPr>
        <p:spPr>
          <a:xfrm>
            <a:off x="2963214" y="2952232"/>
            <a:ext cx="559127" cy="234499"/>
          </a:xfrm>
          <a:prstGeom prst="rect">
            <a:avLst/>
          </a:prstGeom>
          <a:noFill/>
          <a:ln w="9525">
            <a:solidFill>
              <a:srgbClr val="08427E"/>
            </a:solidFill>
          </a:ln>
          <a:effectLst/>
          <a:extLst/>
        </p:spPr>
        <p:txBody>
          <a:bodyPr vert="horz" wrap="none" lIns="45720" tIns="45720" rIns="45720" bIns="45720" rtlCol="0" anchor="ctr" anchorCtr="0">
            <a:no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sz="900" dirty="0" smtClean="0">
                <a:solidFill>
                  <a:srgbClr val="08427E"/>
                </a:solidFill>
              </a:rPr>
              <a:t>52%</a:t>
            </a:r>
            <a:endParaRPr lang="pt-BR" sz="900" dirty="0">
              <a:solidFill>
                <a:srgbClr val="08427E"/>
              </a:solidFill>
            </a:endParaRPr>
          </a:p>
        </p:txBody>
      </p:sp>
      <p:grpSp>
        <p:nvGrpSpPr>
          <p:cNvPr id="52" name="Group 179"/>
          <p:cNvGrpSpPr/>
          <p:nvPr/>
        </p:nvGrpSpPr>
        <p:grpSpPr>
          <a:xfrm>
            <a:off x="2481216" y="2944965"/>
            <a:ext cx="279400" cy="278706"/>
            <a:chOff x="-512763" y="3192463"/>
            <a:chExt cx="641351" cy="639762"/>
          </a:xfrm>
          <a:noFill/>
        </p:grpSpPr>
        <p:sp>
          <p:nvSpPr>
            <p:cNvPr id="53" name="Freeform 500"/>
            <p:cNvSpPr>
              <a:spLocks/>
            </p:cNvSpPr>
            <p:nvPr/>
          </p:nvSpPr>
          <p:spPr bwMode="auto">
            <a:xfrm>
              <a:off x="-134938" y="3203575"/>
              <a:ext cx="152400" cy="182562"/>
            </a:xfrm>
            <a:custGeom>
              <a:avLst/>
              <a:gdLst>
                <a:gd name="T0" fmla="*/ 6 w 40"/>
                <a:gd name="T1" fmla="*/ 0 h 48"/>
                <a:gd name="T2" fmla="*/ 0 w 40"/>
                <a:gd name="T3" fmla="*/ 43 h 48"/>
                <a:gd name="T4" fmla="*/ 8 w 40"/>
                <a:gd name="T5" fmla="*/ 48 h 48"/>
                <a:gd name="T6" fmla="*/ 40 w 40"/>
                <a:gd name="T7" fmla="*/ 18 h 48"/>
                <a:gd name="T8" fmla="*/ 6 w 40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8">
                  <a:moveTo>
                    <a:pt x="6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3" y="45"/>
                    <a:pt x="6" y="46"/>
                    <a:pt x="8" y="48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1" y="9"/>
                    <a:pt x="19" y="3"/>
                    <a:pt x="6" y="0"/>
                  </a:cubicBezTo>
                  <a:close/>
                </a:path>
              </a:pathLst>
            </a:custGeom>
            <a:grpFill/>
            <a:ln w="15875" cap="flat">
              <a:solidFill>
                <a:srgbClr val="08427E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4" name="Freeform 60"/>
            <p:cNvSpPr>
              <a:spLocks/>
            </p:cNvSpPr>
            <p:nvPr/>
          </p:nvSpPr>
          <p:spPr bwMode="auto">
            <a:xfrm>
              <a:off x="-88900" y="3325813"/>
              <a:ext cx="217488" cy="449262"/>
            </a:xfrm>
            <a:custGeom>
              <a:avLst/>
              <a:gdLst>
                <a:gd name="T0" fmla="*/ 41 w 57"/>
                <a:gd name="T1" fmla="*/ 0 h 118"/>
                <a:gd name="T2" fmla="*/ 9 w 57"/>
                <a:gd name="T3" fmla="*/ 30 h 118"/>
                <a:gd name="T4" fmla="*/ 14 w 57"/>
                <a:gd name="T5" fmla="*/ 49 h 118"/>
                <a:gd name="T6" fmla="*/ 0 w 57"/>
                <a:gd name="T7" fmla="*/ 79 h 118"/>
                <a:gd name="T8" fmla="*/ 20 w 57"/>
                <a:gd name="T9" fmla="*/ 118 h 118"/>
                <a:gd name="T10" fmla="*/ 57 w 57"/>
                <a:gd name="T11" fmla="*/ 49 h 118"/>
                <a:gd name="T12" fmla="*/ 41 w 57"/>
                <a:gd name="T1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118">
                  <a:moveTo>
                    <a:pt x="41" y="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12" y="36"/>
                    <a:pt x="14" y="42"/>
                    <a:pt x="14" y="49"/>
                  </a:cubicBezTo>
                  <a:cubicBezTo>
                    <a:pt x="14" y="61"/>
                    <a:pt x="8" y="72"/>
                    <a:pt x="0" y="79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42" y="103"/>
                    <a:pt x="57" y="78"/>
                    <a:pt x="57" y="49"/>
                  </a:cubicBezTo>
                  <a:cubicBezTo>
                    <a:pt x="57" y="31"/>
                    <a:pt x="51" y="14"/>
                    <a:pt x="41" y="0"/>
                  </a:cubicBezTo>
                  <a:close/>
                </a:path>
              </a:pathLst>
            </a:custGeom>
            <a:grpFill/>
            <a:ln w="15875" cap="flat">
              <a:solidFill>
                <a:srgbClr val="08427E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5" name="Freeform 70"/>
            <p:cNvSpPr>
              <a:spLocks/>
            </p:cNvSpPr>
            <p:nvPr/>
          </p:nvSpPr>
          <p:spPr bwMode="auto">
            <a:xfrm>
              <a:off x="-401638" y="3192463"/>
              <a:ext cx="217488" cy="193675"/>
            </a:xfrm>
            <a:custGeom>
              <a:avLst/>
              <a:gdLst>
                <a:gd name="T0" fmla="*/ 32 w 57"/>
                <a:gd name="T1" fmla="*/ 51 h 51"/>
                <a:gd name="T2" fmla="*/ 51 w 57"/>
                <a:gd name="T3" fmla="*/ 44 h 51"/>
                <a:gd name="T4" fmla="*/ 57 w 57"/>
                <a:gd name="T5" fmla="*/ 0 h 51"/>
                <a:gd name="T6" fmla="*/ 55 w 57"/>
                <a:gd name="T7" fmla="*/ 0 h 51"/>
                <a:gd name="T8" fmla="*/ 0 w 57"/>
                <a:gd name="T9" fmla="*/ 21 h 51"/>
                <a:gd name="T10" fmla="*/ 32 w 57"/>
                <a:gd name="T1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51">
                  <a:moveTo>
                    <a:pt x="32" y="51"/>
                  </a:moveTo>
                  <a:cubicBezTo>
                    <a:pt x="38" y="47"/>
                    <a:pt x="44" y="44"/>
                    <a:pt x="51" y="44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6" y="0"/>
                    <a:pt x="56" y="0"/>
                    <a:pt x="55" y="0"/>
                  </a:cubicBezTo>
                  <a:cubicBezTo>
                    <a:pt x="34" y="0"/>
                    <a:pt x="15" y="8"/>
                    <a:pt x="0" y="21"/>
                  </a:cubicBezTo>
                  <a:lnTo>
                    <a:pt x="32" y="51"/>
                  </a:lnTo>
                  <a:close/>
                </a:path>
              </a:pathLst>
            </a:custGeom>
            <a:grpFill/>
            <a:ln w="15875" cap="flat">
              <a:solidFill>
                <a:srgbClr val="08427E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56" name="Freeform 80"/>
            <p:cNvSpPr>
              <a:spLocks/>
            </p:cNvSpPr>
            <p:nvPr/>
          </p:nvSpPr>
          <p:spPr bwMode="auto">
            <a:xfrm>
              <a:off x="-512763" y="3325813"/>
              <a:ext cx="434975" cy="506412"/>
            </a:xfrm>
            <a:custGeom>
              <a:avLst/>
              <a:gdLst>
                <a:gd name="T0" fmla="*/ 93 w 114"/>
                <a:gd name="T1" fmla="*/ 88 h 133"/>
                <a:gd name="T2" fmla="*/ 84 w 114"/>
                <a:gd name="T3" fmla="*/ 90 h 133"/>
                <a:gd name="T4" fmla="*/ 43 w 114"/>
                <a:gd name="T5" fmla="*/ 49 h 133"/>
                <a:gd name="T6" fmla="*/ 48 w 114"/>
                <a:gd name="T7" fmla="*/ 30 h 133"/>
                <a:gd name="T8" fmla="*/ 16 w 114"/>
                <a:gd name="T9" fmla="*/ 0 h 133"/>
                <a:gd name="T10" fmla="*/ 0 w 114"/>
                <a:gd name="T11" fmla="*/ 49 h 133"/>
                <a:gd name="T12" fmla="*/ 84 w 114"/>
                <a:gd name="T13" fmla="*/ 133 h 133"/>
                <a:gd name="T14" fmla="*/ 114 w 114"/>
                <a:gd name="T15" fmla="*/ 127 h 133"/>
                <a:gd name="T16" fmla="*/ 93 w 114"/>
                <a:gd name="T17" fmla="*/ 88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133">
                  <a:moveTo>
                    <a:pt x="93" y="88"/>
                  </a:moveTo>
                  <a:cubicBezTo>
                    <a:pt x="90" y="89"/>
                    <a:pt x="87" y="90"/>
                    <a:pt x="84" y="90"/>
                  </a:cubicBezTo>
                  <a:cubicBezTo>
                    <a:pt x="62" y="90"/>
                    <a:pt x="43" y="71"/>
                    <a:pt x="43" y="49"/>
                  </a:cubicBezTo>
                  <a:cubicBezTo>
                    <a:pt x="43" y="42"/>
                    <a:pt x="45" y="36"/>
                    <a:pt x="48" y="3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6" y="14"/>
                    <a:pt x="0" y="31"/>
                    <a:pt x="0" y="49"/>
                  </a:cubicBezTo>
                  <a:cubicBezTo>
                    <a:pt x="0" y="95"/>
                    <a:pt x="38" y="133"/>
                    <a:pt x="84" y="133"/>
                  </a:cubicBezTo>
                  <a:cubicBezTo>
                    <a:pt x="95" y="133"/>
                    <a:pt x="105" y="131"/>
                    <a:pt x="114" y="127"/>
                  </a:cubicBezTo>
                  <a:lnTo>
                    <a:pt x="93" y="88"/>
                  </a:lnTo>
                  <a:close/>
                </a:path>
              </a:pathLst>
            </a:custGeom>
            <a:grpFill/>
            <a:ln w="15875" cap="flat">
              <a:solidFill>
                <a:srgbClr val="08427E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sp>
        <p:nvSpPr>
          <p:cNvPr id="57" name="Inhaltsplatzhalter 2700_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027484" y="2512628"/>
            <a:ext cx="1108638" cy="276999"/>
          </a:xfrm>
          <a:prstGeom prst="rect">
            <a:avLst/>
          </a:prstGeom>
          <a:noFill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45720" tIns="45720" rIns="45720" bIns="45720" rtlCol="0" anchor="ctr">
            <a:spAutoFit/>
          </a:bodyPr>
          <a:lstStyle>
            <a:lvl1pPr marL="251460" indent="-251460" algn="l" defTabSz="822716" rtl="0" eaLnBrk="1" latinLnBrk="0" hangingPunct="1">
              <a:lnSpc>
                <a:spcPct val="107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8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1pPr>
            <a:lvl2pPr marL="508000" indent="-27432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2pPr>
            <a:lvl3pPr marL="730250" indent="-204470" algn="l" defTabSz="822716" rtl="0" eaLnBrk="1" latinLnBrk="0" hangingPunct="1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3pPr>
            <a:lvl4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4pPr>
            <a:lvl5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5pPr>
            <a:lvl6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6pPr>
            <a:lvl7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7pPr>
            <a:lvl8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8pPr>
            <a:lvl9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 baseline="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200" dirty="0" smtClean="0">
                <a:solidFill>
                  <a:srgbClr val="67B419"/>
                </a:solidFill>
              </a:rPr>
              <a:t>Ásia e Pacífico</a:t>
            </a:r>
            <a:endParaRPr lang="pt-BR" sz="1200" baseline="30000" dirty="0">
              <a:solidFill>
                <a:srgbClr val="67B419"/>
              </a:solidFill>
            </a:endParaRPr>
          </a:p>
        </p:txBody>
      </p:sp>
      <p:sp>
        <p:nvSpPr>
          <p:cNvPr id="58" name="Textfeld 450000"/>
          <p:cNvSpPr txBox="1"/>
          <p:nvPr/>
        </p:nvSpPr>
        <p:spPr>
          <a:xfrm>
            <a:off x="6624538" y="3749632"/>
            <a:ext cx="559127" cy="234499"/>
          </a:xfrm>
          <a:prstGeom prst="rect">
            <a:avLst/>
          </a:prstGeom>
          <a:noFill/>
          <a:ln w="9525">
            <a:solidFill>
              <a:srgbClr val="67B419"/>
            </a:solidFill>
          </a:ln>
          <a:effectLst/>
          <a:extLst/>
        </p:spPr>
        <p:txBody>
          <a:bodyPr vert="horz" wrap="none" lIns="45720" tIns="45720" rIns="45720" bIns="45720" rtlCol="0" anchor="ctr" anchorCtr="0">
            <a:no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sz="900" dirty="0" smtClean="0">
                <a:solidFill>
                  <a:srgbClr val="67B419"/>
                </a:solidFill>
              </a:rPr>
              <a:t>72</a:t>
            </a:r>
            <a:endParaRPr lang="pt-BR" sz="900" dirty="0">
              <a:solidFill>
                <a:srgbClr val="67B419"/>
              </a:solidFill>
            </a:endParaRPr>
          </a:p>
        </p:txBody>
      </p:sp>
      <p:grpSp>
        <p:nvGrpSpPr>
          <p:cNvPr id="59" name="Group 144"/>
          <p:cNvGrpSpPr/>
          <p:nvPr/>
        </p:nvGrpSpPr>
        <p:grpSpPr>
          <a:xfrm>
            <a:off x="6101241" y="3704006"/>
            <a:ext cx="361999" cy="325751"/>
            <a:chOff x="-3035300" y="1792288"/>
            <a:chExt cx="2409825" cy="2168525"/>
          </a:xfrm>
          <a:solidFill>
            <a:srgbClr val="67B419"/>
          </a:solidFill>
        </p:grpSpPr>
        <p:sp>
          <p:nvSpPr>
            <p:cNvPr id="60" name="Freeform 500000"/>
            <p:cNvSpPr>
              <a:spLocks noEditPoints="1"/>
            </p:cNvSpPr>
            <p:nvPr/>
          </p:nvSpPr>
          <p:spPr bwMode="auto">
            <a:xfrm>
              <a:off x="-3035300" y="1792288"/>
              <a:ext cx="2409825" cy="2168525"/>
            </a:xfrm>
            <a:custGeom>
              <a:avLst/>
              <a:gdLst>
                <a:gd name="T0" fmla="*/ 1518 w 1518"/>
                <a:gd name="T1" fmla="*/ 1366 h 1366"/>
                <a:gd name="T2" fmla="*/ 0 w 1518"/>
                <a:gd name="T3" fmla="*/ 1366 h 1366"/>
                <a:gd name="T4" fmla="*/ 0 w 1518"/>
                <a:gd name="T5" fmla="*/ 699 h 1366"/>
                <a:gd name="T6" fmla="*/ 379 w 1518"/>
                <a:gd name="T7" fmla="*/ 462 h 1366"/>
                <a:gd name="T8" fmla="*/ 379 w 1518"/>
                <a:gd name="T9" fmla="*/ 652 h 1366"/>
                <a:gd name="T10" fmla="*/ 683 w 1518"/>
                <a:gd name="T11" fmla="*/ 462 h 1366"/>
                <a:gd name="T12" fmla="*/ 683 w 1518"/>
                <a:gd name="T13" fmla="*/ 652 h 1366"/>
                <a:gd name="T14" fmla="*/ 987 w 1518"/>
                <a:gd name="T15" fmla="*/ 462 h 1366"/>
                <a:gd name="T16" fmla="*/ 987 w 1518"/>
                <a:gd name="T17" fmla="*/ 683 h 1366"/>
                <a:gd name="T18" fmla="*/ 1029 w 1518"/>
                <a:gd name="T19" fmla="*/ 683 h 1366"/>
                <a:gd name="T20" fmla="*/ 1105 w 1518"/>
                <a:gd name="T21" fmla="*/ 0 h 1366"/>
                <a:gd name="T22" fmla="*/ 1362 w 1518"/>
                <a:gd name="T23" fmla="*/ 0 h 1366"/>
                <a:gd name="T24" fmla="*/ 1438 w 1518"/>
                <a:gd name="T25" fmla="*/ 683 h 1366"/>
                <a:gd name="T26" fmla="*/ 1518 w 1518"/>
                <a:gd name="T27" fmla="*/ 683 h 1366"/>
                <a:gd name="T28" fmla="*/ 1518 w 1518"/>
                <a:gd name="T29" fmla="*/ 1366 h 1366"/>
                <a:gd name="T30" fmla="*/ 76 w 1518"/>
                <a:gd name="T31" fmla="*/ 1290 h 1366"/>
                <a:gd name="T32" fmla="*/ 1442 w 1518"/>
                <a:gd name="T33" fmla="*/ 1290 h 1366"/>
                <a:gd name="T34" fmla="*/ 1442 w 1518"/>
                <a:gd name="T35" fmla="*/ 759 h 1366"/>
                <a:gd name="T36" fmla="*/ 1371 w 1518"/>
                <a:gd name="T37" fmla="*/ 759 h 1366"/>
                <a:gd name="T38" fmla="*/ 1295 w 1518"/>
                <a:gd name="T39" fmla="*/ 76 h 1366"/>
                <a:gd name="T40" fmla="*/ 1172 w 1518"/>
                <a:gd name="T41" fmla="*/ 76 h 1366"/>
                <a:gd name="T42" fmla="*/ 1096 w 1518"/>
                <a:gd name="T43" fmla="*/ 759 h 1366"/>
                <a:gd name="T44" fmla="*/ 911 w 1518"/>
                <a:gd name="T45" fmla="*/ 759 h 1366"/>
                <a:gd name="T46" fmla="*/ 911 w 1518"/>
                <a:gd name="T47" fmla="*/ 600 h 1366"/>
                <a:gd name="T48" fmla="*/ 607 w 1518"/>
                <a:gd name="T49" fmla="*/ 789 h 1366"/>
                <a:gd name="T50" fmla="*/ 607 w 1518"/>
                <a:gd name="T51" fmla="*/ 600 h 1366"/>
                <a:gd name="T52" fmla="*/ 304 w 1518"/>
                <a:gd name="T53" fmla="*/ 789 h 1366"/>
                <a:gd name="T54" fmla="*/ 304 w 1518"/>
                <a:gd name="T55" fmla="*/ 600 h 1366"/>
                <a:gd name="T56" fmla="*/ 76 w 1518"/>
                <a:gd name="T57" fmla="*/ 742 h 1366"/>
                <a:gd name="T58" fmla="*/ 76 w 1518"/>
                <a:gd name="T59" fmla="*/ 1290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18" h="1366">
                  <a:moveTo>
                    <a:pt x="1518" y="1366"/>
                  </a:moveTo>
                  <a:lnTo>
                    <a:pt x="0" y="1366"/>
                  </a:lnTo>
                  <a:lnTo>
                    <a:pt x="0" y="699"/>
                  </a:lnTo>
                  <a:lnTo>
                    <a:pt x="379" y="462"/>
                  </a:lnTo>
                  <a:lnTo>
                    <a:pt x="379" y="652"/>
                  </a:lnTo>
                  <a:lnTo>
                    <a:pt x="683" y="462"/>
                  </a:lnTo>
                  <a:lnTo>
                    <a:pt x="683" y="652"/>
                  </a:lnTo>
                  <a:lnTo>
                    <a:pt x="987" y="462"/>
                  </a:lnTo>
                  <a:lnTo>
                    <a:pt x="987" y="683"/>
                  </a:lnTo>
                  <a:lnTo>
                    <a:pt x="1029" y="683"/>
                  </a:lnTo>
                  <a:lnTo>
                    <a:pt x="1105" y="0"/>
                  </a:lnTo>
                  <a:lnTo>
                    <a:pt x="1362" y="0"/>
                  </a:lnTo>
                  <a:lnTo>
                    <a:pt x="1438" y="683"/>
                  </a:lnTo>
                  <a:lnTo>
                    <a:pt x="1518" y="683"/>
                  </a:lnTo>
                  <a:lnTo>
                    <a:pt x="1518" y="1366"/>
                  </a:lnTo>
                  <a:close/>
                  <a:moveTo>
                    <a:pt x="76" y="1290"/>
                  </a:moveTo>
                  <a:lnTo>
                    <a:pt x="1442" y="1290"/>
                  </a:lnTo>
                  <a:lnTo>
                    <a:pt x="1442" y="759"/>
                  </a:lnTo>
                  <a:lnTo>
                    <a:pt x="1371" y="759"/>
                  </a:lnTo>
                  <a:lnTo>
                    <a:pt x="1295" y="76"/>
                  </a:lnTo>
                  <a:lnTo>
                    <a:pt x="1172" y="76"/>
                  </a:lnTo>
                  <a:lnTo>
                    <a:pt x="1096" y="759"/>
                  </a:lnTo>
                  <a:lnTo>
                    <a:pt x="911" y="759"/>
                  </a:lnTo>
                  <a:lnTo>
                    <a:pt x="911" y="600"/>
                  </a:lnTo>
                  <a:lnTo>
                    <a:pt x="607" y="789"/>
                  </a:lnTo>
                  <a:lnTo>
                    <a:pt x="607" y="600"/>
                  </a:lnTo>
                  <a:lnTo>
                    <a:pt x="304" y="789"/>
                  </a:lnTo>
                  <a:lnTo>
                    <a:pt x="304" y="600"/>
                  </a:lnTo>
                  <a:lnTo>
                    <a:pt x="76" y="742"/>
                  </a:lnTo>
                  <a:lnTo>
                    <a:pt x="76" y="12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/>
            </a:p>
          </p:txBody>
        </p:sp>
        <p:sp>
          <p:nvSpPr>
            <p:cNvPr id="61" name="Rectangle 600000"/>
            <p:cNvSpPr>
              <a:spLocks noChangeArrowheads="1"/>
            </p:cNvSpPr>
            <p:nvPr/>
          </p:nvSpPr>
          <p:spPr bwMode="auto">
            <a:xfrm>
              <a:off x="-2733675" y="3236913"/>
              <a:ext cx="481013" cy="120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/>
            </a:p>
          </p:txBody>
        </p:sp>
        <p:sp>
          <p:nvSpPr>
            <p:cNvPr id="62" name="Rectangle 70000"/>
            <p:cNvSpPr>
              <a:spLocks noChangeArrowheads="1"/>
            </p:cNvSpPr>
            <p:nvPr/>
          </p:nvSpPr>
          <p:spPr bwMode="auto">
            <a:xfrm>
              <a:off x="-2071688" y="3236913"/>
              <a:ext cx="482600" cy="120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/>
            </a:p>
          </p:txBody>
        </p:sp>
        <p:sp>
          <p:nvSpPr>
            <p:cNvPr id="63" name="Rectangle 80000"/>
            <p:cNvSpPr>
              <a:spLocks noChangeArrowheads="1"/>
            </p:cNvSpPr>
            <p:nvPr/>
          </p:nvSpPr>
          <p:spPr bwMode="auto">
            <a:xfrm>
              <a:off x="-1408113" y="3236913"/>
              <a:ext cx="481013" cy="1206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/>
            </a:p>
          </p:txBody>
        </p:sp>
      </p:grpSp>
      <p:sp>
        <p:nvSpPr>
          <p:cNvPr id="64" name="Textfeld 42_00000000"/>
          <p:cNvSpPr txBox="1"/>
          <p:nvPr/>
        </p:nvSpPr>
        <p:spPr>
          <a:xfrm>
            <a:off x="6624538" y="3346584"/>
            <a:ext cx="559127" cy="234499"/>
          </a:xfrm>
          <a:prstGeom prst="rect">
            <a:avLst/>
          </a:prstGeom>
          <a:noFill/>
          <a:ln w="9525">
            <a:solidFill>
              <a:srgbClr val="67B419"/>
            </a:solidFill>
          </a:ln>
          <a:effectLst/>
          <a:extLst/>
        </p:spPr>
        <p:txBody>
          <a:bodyPr vert="horz" wrap="none" lIns="45720" tIns="45720" rIns="45720" bIns="45720" rtlCol="0" anchor="ctr" anchorCtr="0">
            <a:no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sz="900" dirty="0" smtClean="0">
                <a:solidFill>
                  <a:srgbClr val="67B419"/>
                </a:solidFill>
              </a:rPr>
              <a:t>111.717</a:t>
            </a:r>
            <a:endParaRPr lang="pt-BR" sz="900" dirty="0">
              <a:solidFill>
                <a:srgbClr val="67B419"/>
              </a:solidFill>
            </a:endParaRPr>
          </a:p>
        </p:txBody>
      </p:sp>
      <p:grpSp>
        <p:nvGrpSpPr>
          <p:cNvPr id="65" name="Group 14__"/>
          <p:cNvGrpSpPr>
            <a:grpSpLocks noChangeAspect="1"/>
          </p:cNvGrpSpPr>
          <p:nvPr/>
        </p:nvGrpSpPr>
        <p:grpSpPr bwMode="auto">
          <a:xfrm>
            <a:off x="6076827" y="3361127"/>
            <a:ext cx="410826" cy="205413"/>
            <a:chOff x="324" y="2342"/>
            <a:chExt cx="490" cy="245"/>
          </a:xfrm>
          <a:solidFill>
            <a:srgbClr val="67B419"/>
          </a:solidFill>
        </p:grpSpPr>
        <p:sp>
          <p:nvSpPr>
            <p:cNvPr id="66" name="Freeform 150000000"/>
            <p:cNvSpPr>
              <a:spLocks noEditPoints="1"/>
            </p:cNvSpPr>
            <p:nvPr/>
          </p:nvSpPr>
          <p:spPr bwMode="auto">
            <a:xfrm>
              <a:off x="459" y="2342"/>
              <a:ext cx="220" cy="245"/>
            </a:xfrm>
            <a:custGeom>
              <a:avLst/>
              <a:gdLst>
                <a:gd name="T0" fmla="*/ 186 w 288"/>
                <a:gd name="T1" fmla="*/ 182 h 320"/>
                <a:gd name="T2" fmla="*/ 240 w 288"/>
                <a:gd name="T3" fmla="*/ 96 h 320"/>
                <a:gd name="T4" fmla="*/ 144 w 288"/>
                <a:gd name="T5" fmla="*/ 0 h 320"/>
                <a:gd name="T6" fmla="*/ 48 w 288"/>
                <a:gd name="T7" fmla="*/ 96 h 320"/>
                <a:gd name="T8" fmla="*/ 102 w 288"/>
                <a:gd name="T9" fmla="*/ 182 h 320"/>
                <a:gd name="T10" fmla="*/ 0 w 288"/>
                <a:gd name="T11" fmla="*/ 320 h 320"/>
                <a:gd name="T12" fmla="*/ 32 w 288"/>
                <a:gd name="T13" fmla="*/ 320 h 320"/>
                <a:gd name="T14" fmla="*/ 144 w 288"/>
                <a:gd name="T15" fmla="*/ 208 h 320"/>
                <a:gd name="T16" fmla="*/ 256 w 288"/>
                <a:gd name="T17" fmla="*/ 320 h 320"/>
                <a:gd name="T18" fmla="*/ 288 w 288"/>
                <a:gd name="T19" fmla="*/ 320 h 320"/>
                <a:gd name="T20" fmla="*/ 186 w 288"/>
                <a:gd name="T21" fmla="*/ 182 h 320"/>
                <a:gd name="T22" fmla="*/ 80 w 288"/>
                <a:gd name="T23" fmla="*/ 96 h 320"/>
                <a:gd name="T24" fmla="*/ 144 w 288"/>
                <a:gd name="T25" fmla="*/ 32 h 320"/>
                <a:gd name="T26" fmla="*/ 208 w 288"/>
                <a:gd name="T27" fmla="*/ 96 h 320"/>
                <a:gd name="T28" fmla="*/ 144 w 288"/>
                <a:gd name="T29" fmla="*/ 160 h 320"/>
                <a:gd name="T30" fmla="*/ 80 w 288"/>
                <a:gd name="T31" fmla="*/ 9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320">
                  <a:moveTo>
                    <a:pt x="186" y="182"/>
                  </a:moveTo>
                  <a:cubicBezTo>
                    <a:pt x="218" y="167"/>
                    <a:pt x="240" y="134"/>
                    <a:pt x="240" y="96"/>
                  </a:cubicBezTo>
                  <a:cubicBezTo>
                    <a:pt x="240" y="43"/>
                    <a:pt x="197" y="0"/>
                    <a:pt x="144" y="0"/>
                  </a:cubicBezTo>
                  <a:cubicBezTo>
                    <a:pt x="91" y="0"/>
                    <a:pt x="48" y="43"/>
                    <a:pt x="48" y="96"/>
                  </a:cubicBezTo>
                  <a:cubicBezTo>
                    <a:pt x="48" y="134"/>
                    <a:pt x="70" y="167"/>
                    <a:pt x="102" y="182"/>
                  </a:cubicBezTo>
                  <a:cubicBezTo>
                    <a:pt x="43" y="200"/>
                    <a:pt x="0" y="255"/>
                    <a:pt x="0" y="320"/>
                  </a:cubicBezTo>
                  <a:cubicBezTo>
                    <a:pt x="32" y="320"/>
                    <a:pt x="32" y="320"/>
                    <a:pt x="32" y="320"/>
                  </a:cubicBezTo>
                  <a:cubicBezTo>
                    <a:pt x="32" y="258"/>
                    <a:pt x="82" y="208"/>
                    <a:pt x="144" y="208"/>
                  </a:cubicBezTo>
                  <a:cubicBezTo>
                    <a:pt x="206" y="208"/>
                    <a:pt x="256" y="258"/>
                    <a:pt x="256" y="320"/>
                  </a:cubicBezTo>
                  <a:cubicBezTo>
                    <a:pt x="288" y="320"/>
                    <a:pt x="288" y="320"/>
                    <a:pt x="288" y="320"/>
                  </a:cubicBezTo>
                  <a:cubicBezTo>
                    <a:pt x="288" y="255"/>
                    <a:pt x="245" y="200"/>
                    <a:pt x="186" y="182"/>
                  </a:cubicBezTo>
                  <a:moveTo>
                    <a:pt x="80" y="96"/>
                  </a:moveTo>
                  <a:cubicBezTo>
                    <a:pt x="80" y="61"/>
                    <a:pt x="109" y="32"/>
                    <a:pt x="144" y="32"/>
                  </a:cubicBezTo>
                  <a:cubicBezTo>
                    <a:pt x="179" y="32"/>
                    <a:pt x="208" y="61"/>
                    <a:pt x="208" y="96"/>
                  </a:cubicBezTo>
                  <a:cubicBezTo>
                    <a:pt x="208" y="131"/>
                    <a:pt x="179" y="160"/>
                    <a:pt x="144" y="160"/>
                  </a:cubicBezTo>
                  <a:cubicBezTo>
                    <a:pt x="109" y="160"/>
                    <a:pt x="80" y="131"/>
                    <a:pt x="80" y="9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/>
            </a:p>
          </p:txBody>
        </p:sp>
        <p:sp>
          <p:nvSpPr>
            <p:cNvPr id="67" name="Freeform 160000000"/>
            <p:cNvSpPr>
              <a:spLocks noEditPoints="1"/>
            </p:cNvSpPr>
            <p:nvPr/>
          </p:nvSpPr>
          <p:spPr bwMode="auto">
            <a:xfrm>
              <a:off x="324" y="2416"/>
              <a:ext cx="129" cy="171"/>
            </a:xfrm>
            <a:custGeom>
              <a:avLst/>
              <a:gdLst>
                <a:gd name="T0" fmla="*/ 168 w 169"/>
                <a:gd name="T1" fmla="*/ 64 h 224"/>
                <a:gd name="T2" fmla="*/ 104 w 169"/>
                <a:gd name="T3" fmla="*/ 0 h 224"/>
                <a:gd name="T4" fmla="*/ 40 w 169"/>
                <a:gd name="T5" fmla="*/ 64 h 224"/>
                <a:gd name="T6" fmla="*/ 70 w 169"/>
                <a:gd name="T7" fmla="*/ 118 h 224"/>
                <a:gd name="T8" fmla="*/ 0 w 169"/>
                <a:gd name="T9" fmla="*/ 216 h 224"/>
                <a:gd name="T10" fmla="*/ 0 w 169"/>
                <a:gd name="T11" fmla="*/ 224 h 224"/>
                <a:gd name="T12" fmla="*/ 32 w 169"/>
                <a:gd name="T13" fmla="*/ 224 h 224"/>
                <a:gd name="T14" fmla="*/ 32 w 169"/>
                <a:gd name="T15" fmla="*/ 216 h 224"/>
                <a:gd name="T16" fmla="*/ 104 w 169"/>
                <a:gd name="T17" fmla="*/ 144 h 224"/>
                <a:gd name="T18" fmla="*/ 154 w 169"/>
                <a:gd name="T19" fmla="*/ 165 h 224"/>
                <a:gd name="T20" fmla="*/ 169 w 169"/>
                <a:gd name="T21" fmla="*/ 135 h 224"/>
                <a:gd name="T22" fmla="*/ 138 w 169"/>
                <a:gd name="T23" fmla="*/ 118 h 224"/>
                <a:gd name="T24" fmla="*/ 168 w 169"/>
                <a:gd name="T25" fmla="*/ 64 h 224"/>
                <a:gd name="T26" fmla="*/ 104 w 169"/>
                <a:gd name="T27" fmla="*/ 32 h 224"/>
                <a:gd name="T28" fmla="*/ 136 w 169"/>
                <a:gd name="T29" fmla="*/ 64 h 224"/>
                <a:gd name="T30" fmla="*/ 104 w 169"/>
                <a:gd name="T31" fmla="*/ 96 h 224"/>
                <a:gd name="T32" fmla="*/ 72 w 169"/>
                <a:gd name="T33" fmla="*/ 64 h 224"/>
                <a:gd name="T34" fmla="*/ 104 w 169"/>
                <a:gd name="T35" fmla="*/ 3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224">
                  <a:moveTo>
                    <a:pt x="168" y="64"/>
                  </a:moveTo>
                  <a:cubicBezTo>
                    <a:pt x="168" y="29"/>
                    <a:pt x="139" y="0"/>
                    <a:pt x="104" y="0"/>
                  </a:cubicBezTo>
                  <a:cubicBezTo>
                    <a:pt x="69" y="0"/>
                    <a:pt x="40" y="29"/>
                    <a:pt x="40" y="64"/>
                  </a:cubicBezTo>
                  <a:cubicBezTo>
                    <a:pt x="40" y="87"/>
                    <a:pt x="52" y="106"/>
                    <a:pt x="70" y="118"/>
                  </a:cubicBezTo>
                  <a:cubicBezTo>
                    <a:pt x="29" y="132"/>
                    <a:pt x="0" y="171"/>
                    <a:pt x="0" y="216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32" y="224"/>
                    <a:pt x="32" y="224"/>
                    <a:pt x="32" y="224"/>
                  </a:cubicBezTo>
                  <a:cubicBezTo>
                    <a:pt x="32" y="216"/>
                    <a:pt x="32" y="216"/>
                    <a:pt x="32" y="216"/>
                  </a:cubicBezTo>
                  <a:cubicBezTo>
                    <a:pt x="32" y="176"/>
                    <a:pt x="64" y="144"/>
                    <a:pt x="104" y="144"/>
                  </a:cubicBezTo>
                  <a:cubicBezTo>
                    <a:pt x="123" y="144"/>
                    <a:pt x="141" y="152"/>
                    <a:pt x="154" y="165"/>
                  </a:cubicBezTo>
                  <a:cubicBezTo>
                    <a:pt x="158" y="154"/>
                    <a:pt x="163" y="144"/>
                    <a:pt x="169" y="135"/>
                  </a:cubicBezTo>
                  <a:cubicBezTo>
                    <a:pt x="159" y="127"/>
                    <a:pt x="149" y="122"/>
                    <a:pt x="138" y="118"/>
                  </a:cubicBezTo>
                  <a:cubicBezTo>
                    <a:pt x="156" y="107"/>
                    <a:pt x="168" y="87"/>
                    <a:pt x="168" y="64"/>
                  </a:cubicBezTo>
                  <a:moveTo>
                    <a:pt x="104" y="32"/>
                  </a:moveTo>
                  <a:cubicBezTo>
                    <a:pt x="122" y="32"/>
                    <a:pt x="136" y="46"/>
                    <a:pt x="136" y="64"/>
                  </a:cubicBezTo>
                  <a:cubicBezTo>
                    <a:pt x="136" y="82"/>
                    <a:pt x="122" y="96"/>
                    <a:pt x="104" y="96"/>
                  </a:cubicBezTo>
                  <a:cubicBezTo>
                    <a:pt x="86" y="96"/>
                    <a:pt x="72" y="82"/>
                    <a:pt x="72" y="64"/>
                  </a:cubicBezTo>
                  <a:cubicBezTo>
                    <a:pt x="72" y="46"/>
                    <a:pt x="86" y="32"/>
                    <a:pt x="104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/>
            </a:p>
          </p:txBody>
        </p:sp>
        <p:sp>
          <p:nvSpPr>
            <p:cNvPr id="68" name="Freeform 170000000"/>
            <p:cNvSpPr>
              <a:spLocks noEditPoints="1"/>
            </p:cNvSpPr>
            <p:nvPr/>
          </p:nvSpPr>
          <p:spPr bwMode="auto">
            <a:xfrm>
              <a:off x="685" y="2416"/>
              <a:ext cx="129" cy="171"/>
            </a:xfrm>
            <a:custGeom>
              <a:avLst/>
              <a:gdLst>
                <a:gd name="T0" fmla="*/ 99 w 169"/>
                <a:gd name="T1" fmla="*/ 118 h 224"/>
                <a:gd name="T2" fmla="*/ 129 w 169"/>
                <a:gd name="T3" fmla="*/ 64 h 224"/>
                <a:gd name="T4" fmla="*/ 65 w 169"/>
                <a:gd name="T5" fmla="*/ 0 h 224"/>
                <a:gd name="T6" fmla="*/ 1 w 169"/>
                <a:gd name="T7" fmla="*/ 64 h 224"/>
                <a:gd name="T8" fmla="*/ 31 w 169"/>
                <a:gd name="T9" fmla="*/ 118 h 224"/>
                <a:gd name="T10" fmla="*/ 0 w 169"/>
                <a:gd name="T11" fmla="*/ 135 h 224"/>
                <a:gd name="T12" fmla="*/ 15 w 169"/>
                <a:gd name="T13" fmla="*/ 165 h 224"/>
                <a:gd name="T14" fmla="*/ 65 w 169"/>
                <a:gd name="T15" fmla="*/ 144 h 224"/>
                <a:gd name="T16" fmla="*/ 137 w 169"/>
                <a:gd name="T17" fmla="*/ 216 h 224"/>
                <a:gd name="T18" fmla="*/ 137 w 169"/>
                <a:gd name="T19" fmla="*/ 224 h 224"/>
                <a:gd name="T20" fmla="*/ 169 w 169"/>
                <a:gd name="T21" fmla="*/ 224 h 224"/>
                <a:gd name="T22" fmla="*/ 169 w 169"/>
                <a:gd name="T23" fmla="*/ 216 h 224"/>
                <a:gd name="T24" fmla="*/ 99 w 169"/>
                <a:gd name="T25" fmla="*/ 118 h 224"/>
                <a:gd name="T26" fmla="*/ 65 w 169"/>
                <a:gd name="T27" fmla="*/ 32 h 224"/>
                <a:gd name="T28" fmla="*/ 97 w 169"/>
                <a:gd name="T29" fmla="*/ 64 h 224"/>
                <a:gd name="T30" fmla="*/ 65 w 169"/>
                <a:gd name="T31" fmla="*/ 96 h 224"/>
                <a:gd name="T32" fmla="*/ 33 w 169"/>
                <a:gd name="T33" fmla="*/ 64 h 224"/>
                <a:gd name="T34" fmla="*/ 65 w 169"/>
                <a:gd name="T35" fmla="*/ 3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224">
                  <a:moveTo>
                    <a:pt x="99" y="118"/>
                  </a:moveTo>
                  <a:cubicBezTo>
                    <a:pt x="117" y="106"/>
                    <a:pt x="129" y="87"/>
                    <a:pt x="129" y="64"/>
                  </a:cubicBezTo>
                  <a:cubicBezTo>
                    <a:pt x="129" y="29"/>
                    <a:pt x="100" y="0"/>
                    <a:pt x="65" y="0"/>
                  </a:cubicBezTo>
                  <a:cubicBezTo>
                    <a:pt x="30" y="0"/>
                    <a:pt x="1" y="29"/>
                    <a:pt x="1" y="64"/>
                  </a:cubicBezTo>
                  <a:cubicBezTo>
                    <a:pt x="1" y="87"/>
                    <a:pt x="13" y="107"/>
                    <a:pt x="31" y="118"/>
                  </a:cubicBezTo>
                  <a:cubicBezTo>
                    <a:pt x="20" y="122"/>
                    <a:pt x="10" y="127"/>
                    <a:pt x="0" y="135"/>
                  </a:cubicBezTo>
                  <a:cubicBezTo>
                    <a:pt x="6" y="144"/>
                    <a:pt x="11" y="154"/>
                    <a:pt x="15" y="165"/>
                  </a:cubicBezTo>
                  <a:cubicBezTo>
                    <a:pt x="28" y="152"/>
                    <a:pt x="46" y="144"/>
                    <a:pt x="65" y="144"/>
                  </a:cubicBezTo>
                  <a:cubicBezTo>
                    <a:pt x="105" y="144"/>
                    <a:pt x="137" y="176"/>
                    <a:pt x="137" y="216"/>
                  </a:cubicBezTo>
                  <a:cubicBezTo>
                    <a:pt x="137" y="224"/>
                    <a:pt x="137" y="224"/>
                    <a:pt x="137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9" y="171"/>
                    <a:pt x="140" y="132"/>
                    <a:pt x="99" y="118"/>
                  </a:cubicBezTo>
                  <a:moveTo>
                    <a:pt x="65" y="32"/>
                  </a:moveTo>
                  <a:cubicBezTo>
                    <a:pt x="83" y="32"/>
                    <a:pt x="97" y="46"/>
                    <a:pt x="97" y="64"/>
                  </a:cubicBezTo>
                  <a:cubicBezTo>
                    <a:pt x="97" y="82"/>
                    <a:pt x="83" y="96"/>
                    <a:pt x="65" y="96"/>
                  </a:cubicBezTo>
                  <a:cubicBezTo>
                    <a:pt x="47" y="96"/>
                    <a:pt x="33" y="82"/>
                    <a:pt x="33" y="64"/>
                  </a:cubicBezTo>
                  <a:cubicBezTo>
                    <a:pt x="33" y="46"/>
                    <a:pt x="47" y="32"/>
                    <a:pt x="65" y="3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/>
            </a:p>
          </p:txBody>
        </p:sp>
      </p:grpSp>
      <p:sp>
        <p:nvSpPr>
          <p:cNvPr id="69" name="Textfeld 42_000000000"/>
          <p:cNvSpPr txBox="1"/>
          <p:nvPr/>
        </p:nvSpPr>
        <p:spPr>
          <a:xfrm>
            <a:off x="6624538" y="2952222"/>
            <a:ext cx="559127" cy="234499"/>
          </a:xfrm>
          <a:prstGeom prst="rect">
            <a:avLst/>
          </a:prstGeom>
          <a:noFill/>
          <a:ln w="9525">
            <a:solidFill>
              <a:srgbClr val="67B419"/>
            </a:solidFill>
          </a:ln>
          <a:effectLst/>
          <a:extLst/>
        </p:spPr>
        <p:txBody>
          <a:bodyPr vert="horz" wrap="none" lIns="45720" tIns="45720" rIns="45720" bIns="45720" rtlCol="0" anchor="ctr" anchorCtr="0">
            <a:no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sz="900" dirty="0" smtClean="0">
                <a:solidFill>
                  <a:srgbClr val="67B419"/>
                </a:solidFill>
              </a:rPr>
              <a:t>29%</a:t>
            </a:r>
            <a:endParaRPr lang="pt-BR" sz="900" dirty="0">
              <a:solidFill>
                <a:srgbClr val="67B419"/>
              </a:solidFill>
            </a:endParaRPr>
          </a:p>
        </p:txBody>
      </p:sp>
      <p:grpSp>
        <p:nvGrpSpPr>
          <p:cNvPr id="70" name="Group 184"/>
          <p:cNvGrpSpPr/>
          <p:nvPr/>
        </p:nvGrpSpPr>
        <p:grpSpPr>
          <a:xfrm>
            <a:off x="6142540" y="2944955"/>
            <a:ext cx="279400" cy="278706"/>
            <a:chOff x="-512763" y="3192463"/>
            <a:chExt cx="641351" cy="639762"/>
          </a:xfrm>
          <a:noFill/>
        </p:grpSpPr>
        <p:sp>
          <p:nvSpPr>
            <p:cNvPr id="71" name="Freeform 5000"/>
            <p:cNvSpPr>
              <a:spLocks/>
            </p:cNvSpPr>
            <p:nvPr/>
          </p:nvSpPr>
          <p:spPr bwMode="auto">
            <a:xfrm>
              <a:off x="-134938" y="3203575"/>
              <a:ext cx="152400" cy="182562"/>
            </a:xfrm>
            <a:custGeom>
              <a:avLst/>
              <a:gdLst>
                <a:gd name="T0" fmla="*/ 6 w 40"/>
                <a:gd name="T1" fmla="*/ 0 h 48"/>
                <a:gd name="T2" fmla="*/ 0 w 40"/>
                <a:gd name="T3" fmla="*/ 43 h 48"/>
                <a:gd name="T4" fmla="*/ 8 w 40"/>
                <a:gd name="T5" fmla="*/ 48 h 48"/>
                <a:gd name="T6" fmla="*/ 40 w 40"/>
                <a:gd name="T7" fmla="*/ 18 h 48"/>
                <a:gd name="T8" fmla="*/ 6 w 40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8">
                  <a:moveTo>
                    <a:pt x="6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3" y="45"/>
                    <a:pt x="6" y="46"/>
                    <a:pt x="8" y="48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1" y="9"/>
                    <a:pt x="19" y="3"/>
                    <a:pt x="6" y="0"/>
                  </a:cubicBezTo>
                  <a:close/>
                </a:path>
              </a:pathLst>
            </a:custGeom>
            <a:grpFill/>
            <a:ln w="15875" cap="flat">
              <a:solidFill>
                <a:srgbClr val="67B419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2" name="Freeform 600"/>
            <p:cNvSpPr>
              <a:spLocks/>
            </p:cNvSpPr>
            <p:nvPr/>
          </p:nvSpPr>
          <p:spPr bwMode="auto">
            <a:xfrm>
              <a:off x="-88900" y="3325813"/>
              <a:ext cx="217488" cy="449262"/>
            </a:xfrm>
            <a:custGeom>
              <a:avLst/>
              <a:gdLst>
                <a:gd name="T0" fmla="*/ 41 w 57"/>
                <a:gd name="T1" fmla="*/ 0 h 118"/>
                <a:gd name="T2" fmla="*/ 9 w 57"/>
                <a:gd name="T3" fmla="*/ 30 h 118"/>
                <a:gd name="T4" fmla="*/ 14 w 57"/>
                <a:gd name="T5" fmla="*/ 49 h 118"/>
                <a:gd name="T6" fmla="*/ 0 w 57"/>
                <a:gd name="T7" fmla="*/ 79 h 118"/>
                <a:gd name="T8" fmla="*/ 20 w 57"/>
                <a:gd name="T9" fmla="*/ 118 h 118"/>
                <a:gd name="T10" fmla="*/ 57 w 57"/>
                <a:gd name="T11" fmla="*/ 49 h 118"/>
                <a:gd name="T12" fmla="*/ 41 w 57"/>
                <a:gd name="T1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118">
                  <a:moveTo>
                    <a:pt x="41" y="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12" y="36"/>
                    <a:pt x="14" y="42"/>
                    <a:pt x="14" y="49"/>
                  </a:cubicBezTo>
                  <a:cubicBezTo>
                    <a:pt x="14" y="61"/>
                    <a:pt x="8" y="72"/>
                    <a:pt x="0" y="79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42" y="103"/>
                    <a:pt x="57" y="78"/>
                    <a:pt x="57" y="49"/>
                  </a:cubicBezTo>
                  <a:cubicBezTo>
                    <a:pt x="57" y="31"/>
                    <a:pt x="51" y="14"/>
                    <a:pt x="41" y="0"/>
                  </a:cubicBezTo>
                  <a:close/>
                </a:path>
              </a:pathLst>
            </a:custGeom>
            <a:grpFill/>
            <a:ln w="15875" cap="flat">
              <a:solidFill>
                <a:srgbClr val="67B419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3" name="Freeform 700"/>
            <p:cNvSpPr>
              <a:spLocks/>
            </p:cNvSpPr>
            <p:nvPr/>
          </p:nvSpPr>
          <p:spPr bwMode="auto">
            <a:xfrm>
              <a:off x="-401638" y="3192463"/>
              <a:ext cx="217488" cy="193675"/>
            </a:xfrm>
            <a:custGeom>
              <a:avLst/>
              <a:gdLst>
                <a:gd name="T0" fmla="*/ 32 w 57"/>
                <a:gd name="T1" fmla="*/ 51 h 51"/>
                <a:gd name="T2" fmla="*/ 51 w 57"/>
                <a:gd name="T3" fmla="*/ 44 h 51"/>
                <a:gd name="T4" fmla="*/ 57 w 57"/>
                <a:gd name="T5" fmla="*/ 0 h 51"/>
                <a:gd name="T6" fmla="*/ 55 w 57"/>
                <a:gd name="T7" fmla="*/ 0 h 51"/>
                <a:gd name="T8" fmla="*/ 0 w 57"/>
                <a:gd name="T9" fmla="*/ 21 h 51"/>
                <a:gd name="T10" fmla="*/ 32 w 57"/>
                <a:gd name="T1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51">
                  <a:moveTo>
                    <a:pt x="32" y="51"/>
                  </a:moveTo>
                  <a:cubicBezTo>
                    <a:pt x="38" y="47"/>
                    <a:pt x="44" y="44"/>
                    <a:pt x="51" y="44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6" y="0"/>
                    <a:pt x="56" y="0"/>
                    <a:pt x="55" y="0"/>
                  </a:cubicBezTo>
                  <a:cubicBezTo>
                    <a:pt x="34" y="0"/>
                    <a:pt x="15" y="8"/>
                    <a:pt x="0" y="21"/>
                  </a:cubicBezTo>
                  <a:lnTo>
                    <a:pt x="32" y="51"/>
                  </a:lnTo>
                  <a:close/>
                </a:path>
              </a:pathLst>
            </a:custGeom>
            <a:grpFill/>
            <a:ln w="15875" cap="flat">
              <a:solidFill>
                <a:srgbClr val="67B419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74" name="Freeform 800"/>
            <p:cNvSpPr>
              <a:spLocks/>
            </p:cNvSpPr>
            <p:nvPr/>
          </p:nvSpPr>
          <p:spPr bwMode="auto">
            <a:xfrm>
              <a:off x="-512763" y="3325813"/>
              <a:ext cx="434975" cy="506412"/>
            </a:xfrm>
            <a:custGeom>
              <a:avLst/>
              <a:gdLst>
                <a:gd name="T0" fmla="*/ 93 w 114"/>
                <a:gd name="T1" fmla="*/ 88 h 133"/>
                <a:gd name="T2" fmla="*/ 84 w 114"/>
                <a:gd name="T3" fmla="*/ 90 h 133"/>
                <a:gd name="T4" fmla="*/ 43 w 114"/>
                <a:gd name="T5" fmla="*/ 49 h 133"/>
                <a:gd name="T6" fmla="*/ 48 w 114"/>
                <a:gd name="T7" fmla="*/ 30 h 133"/>
                <a:gd name="T8" fmla="*/ 16 w 114"/>
                <a:gd name="T9" fmla="*/ 0 h 133"/>
                <a:gd name="T10" fmla="*/ 0 w 114"/>
                <a:gd name="T11" fmla="*/ 49 h 133"/>
                <a:gd name="T12" fmla="*/ 84 w 114"/>
                <a:gd name="T13" fmla="*/ 133 h 133"/>
                <a:gd name="T14" fmla="*/ 114 w 114"/>
                <a:gd name="T15" fmla="*/ 127 h 133"/>
                <a:gd name="T16" fmla="*/ 93 w 114"/>
                <a:gd name="T17" fmla="*/ 88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133">
                  <a:moveTo>
                    <a:pt x="93" y="88"/>
                  </a:moveTo>
                  <a:cubicBezTo>
                    <a:pt x="90" y="89"/>
                    <a:pt x="87" y="90"/>
                    <a:pt x="84" y="90"/>
                  </a:cubicBezTo>
                  <a:cubicBezTo>
                    <a:pt x="62" y="90"/>
                    <a:pt x="43" y="71"/>
                    <a:pt x="43" y="49"/>
                  </a:cubicBezTo>
                  <a:cubicBezTo>
                    <a:pt x="43" y="42"/>
                    <a:pt x="45" y="36"/>
                    <a:pt x="48" y="3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6" y="14"/>
                    <a:pt x="0" y="31"/>
                    <a:pt x="0" y="49"/>
                  </a:cubicBezTo>
                  <a:cubicBezTo>
                    <a:pt x="0" y="95"/>
                    <a:pt x="38" y="133"/>
                    <a:pt x="84" y="133"/>
                  </a:cubicBezTo>
                  <a:cubicBezTo>
                    <a:pt x="95" y="133"/>
                    <a:pt x="105" y="131"/>
                    <a:pt x="114" y="127"/>
                  </a:cubicBezTo>
                  <a:lnTo>
                    <a:pt x="93" y="88"/>
                  </a:lnTo>
                  <a:close/>
                </a:path>
              </a:pathLst>
            </a:custGeom>
            <a:grpFill/>
            <a:ln w="15875" cap="flat">
              <a:solidFill>
                <a:srgbClr val="67B419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sp>
        <p:nvSpPr>
          <p:cNvPr id="75" name="Inhaltsplatzhalter 2700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9464308" y="2512628"/>
            <a:ext cx="731932" cy="276999"/>
          </a:xfrm>
          <a:prstGeom prst="rect">
            <a:avLst/>
          </a:prstGeom>
          <a:noFill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45720" tIns="45720" rIns="45720" bIns="45720" rtlCol="0" anchor="ctr">
            <a:spAutoFit/>
          </a:bodyPr>
          <a:lstStyle>
            <a:lvl1pPr marL="251460" indent="-251460" algn="l" defTabSz="822716" rtl="0" eaLnBrk="1" latinLnBrk="0" hangingPunct="1">
              <a:lnSpc>
                <a:spcPct val="107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8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1pPr>
            <a:lvl2pPr marL="508000" indent="-27432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2pPr>
            <a:lvl3pPr marL="730250" indent="-204470" algn="l" defTabSz="822716" rtl="0" eaLnBrk="1" latinLnBrk="0" hangingPunct="1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3pPr>
            <a:lvl4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4pPr>
            <a:lvl5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5pPr>
            <a:lvl6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6pPr>
            <a:lvl7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7pPr>
            <a:lvl8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8pPr>
            <a:lvl9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 baseline="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200" dirty="0" smtClean="0">
                <a:solidFill>
                  <a:srgbClr val="3F136C"/>
                </a:solidFill>
              </a:rPr>
              <a:t>Américas</a:t>
            </a:r>
            <a:endParaRPr lang="pt-BR" sz="1200" dirty="0">
              <a:solidFill>
                <a:srgbClr val="3F136C"/>
              </a:solidFill>
            </a:endParaRPr>
          </a:p>
        </p:txBody>
      </p:sp>
      <p:sp>
        <p:nvSpPr>
          <p:cNvPr id="76" name="Textfeld 45000"/>
          <p:cNvSpPr txBox="1"/>
          <p:nvPr/>
        </p:nvSpPr>
        <p:spPr>
          <a:xfrm>
            <a:off x="10146973" y="3749624"/>
            <a:ext cx="559127" cy="234499"/>
          </a:xfrm>
          <a:prstGeom prst="rect">
            <a:avLst/>
          </a:prstGeom>
          <a:noFill/>
          <a:ln w="9525">
            <a:solidFill>
              <a:srgbClr val="3F136C"/>
            </a:solidFill>
          </a:ln>
          <a:effectLst/>
          <a:extLst/>
        </p:spPr>
        <p:txBody>
          <a:bodyPr vert="horz" wrap="none" lIns="45720" tIns="45720" rIns="45720" bIns="45720" rtlCol="0" anchor="ctr" anchorCtr="0">
            <a:no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sz="900" dirty="0" smtClean="0"/>
              <a:t>35</a:t>
            </a:r>
            <a:endParaRPr lang="pt-BR" sz="900" dirty="0">
              <a:solidFill>
                <a:srgbClr val="3F136C"/>
              </a:solidFill>
            </a:endParaRPr>
          </a:p>
        </p:txBody>
      </p:sp>
      <p:grpSp>
        <p:nvGrpSpPr>
          <p:cNvPr id="77" name="Group 135"/>
          <p:cNvGrpSpPr/>
          <p:nvPr/>
        </p:nvGrpSpPr>
        <p:grpSpPr>
          <a:xfrm>
            <a:off x="9623675" y="3703998"/>
            <a:ext cx="361998" cy="325751"/>
            <a:chOff x="-3035300" y="1792288"/>
            <a:chExt cx="2409825" cy="2168525"/>
          </a:xfrm>
          <a:solidFill>
            <a:srgbClr val="3F136C"/>
          </a:solidFill>
        </p:grpSpPr>
        <p:sp>
          <p:nvSpPr>
            <p:cNvPr id="78" name="Freeform 50000"/>
            <p:cNvSpPr>
              <a:spLocks noEditPoints="1"/>
            </p:cNvSpPr>
            <p:nvPr/>
          </p:nvSpPr>
          <p:spPr bwMode="auto">
            <a:xfrm>
              <a:off x="-3035300" y="1792288"/>
              <a:ext cx="2409825" cy="2168525"/>
            </a:xfrm>
            <a:custGeom>
              <a:avLst/>
              <a:gdLst>
                <a:gd name="T0" fmla="*/ 1518 w 1518"/>
                <a:gd name="T1" fmla="*/ 1366 h 1366"/>
                <a:gd name="T2" fmla="*/ 0 w 1518"/>
                <a:gd name="T3" fmla="*/ 1366 h 1366"/>
                <a:gd name="T4" fmla="*/ 0 w 1518"/>
                <a:gd name="T5" fmla="*/ 699 h 1366"/>
                <a:gd name="T6" fmla="*/ 379 w 1518"/>
                <a:gd name="T7" fmla="*/ 462 h 1366"/>
                <a:gd name="T8" fmla="*/ 379 w 1518"/>
                <a:gd name="T9" fmla="*/ 652 h 1366"/>
                <a:gd name="T10" fmla="*/ 683 w 1518"/>
                <a:gd name="T11" fmla="*/ 462 h 1366"/>
                <a:gd name="T12" fmla="*/ 683 w 1518"/>
                <a:gd name="T13" fmla="*/ 652 h 1366"/>
                <a:gd name="T14" fmla="*/ 987 w 1518"/>
                <a:gd name="T15" fmla="*/ 462 h 1366"/>
                <a:gd name="T16" fmla="*/ 987 w 1518"/>
                <a:gd name="T17" fmla="*/ 683 h 1366"/>
                <a:gd name="T18" fmla="*/ 1029 w 1518"/>
                <a:gd name="T19" fmla="*/ 683 h 1366"/>
                <a:gd name="T20" fmla="*/ 1105 w 1518"/>
                <a:gd name="T21" fmla="*/ 0 h 1366"/>
                <a:gd name="T22" fmla="*/ 1362 w 1518"/>
                <a:gd name="T23" fmla="*/ 0 h 1366"/>
                <a:gd name="T24" fmla="*/ 1438 w 1518"/>
                <a:gd name="T25" fmla="*/ 683 h 1366"/>
                <a:gd name="T26" fmla="*/ 1518 w 1518"/>
                <a:gd name="T27" fmla="*/ 683 h 1366"/>
                <a:gd name="T28" fmla="*/ 1518 w 1518"/>
                <a:gd name="T29" fmla="*/ 1366 h 1366"/>
                <a:gd name="T30" fmla="*/ 76 w 1518"/>
                <a:gd name="T31" fmla="*/ 1290 h 1366"/>
                <a:gd name="T32" fmla="*/ 1442 w 1518"/>
                <a:gd name="T33" fmla="*/ 1290 h 1366"/>
                <a:gd name="T34" fmla="*/ 1442 w 1518"/>
                <a:gd name="T35" fmla="*/ 759 h 1366"/>
                <a:gd name="T36" fmla="*/ 1371 w 1518"/>
                <a:gd name="T37" fmla="*/ 759 h 1366"/>
                <a:gd name="T38" fmla="*/ 1295 w 1518"/>
                <a:gd name="T39" fmla="*/ 76 h 1366"/>
                <a:gd name="T40" fmla="*/ 1172 w 1518"/>
                <a:gd name="T41" fmla="*/ 76 h 1366"/>
                <a:gd name="T42" fmla="*/ 1096 w 1518"/>
                <a:gd name="T43" fmla="*/ 759 h 1366"/>
                <a:gd name="T44" fmla="*/ 911 w 1518"/>
                <a:gd name="T45" fmla="*/ 759 h 1366"/>
                <a:gd name="T46" fmla="*/ 911 w 1518"/>
                <a:gd name="T47" fmla="*/ 600 h 1366"/>
                <a:gd name="T48" fmla="*/ 607 w 1518"/>
                <a:gd name="T49" fmla="*/ 789 h 1366"/>
                <a:gd name="T50" fmla="*/ 607 w 1518"/>
                <a:gd name="T51" fmla="*/ 600 h 1366"/>
                <a:gd name="T52" fmla="*/ 304 w 1518"/>
                <a:gd name="T53" fmla="*/ 789 h 1366"/>
                <a:gd name="T54" fmla="*/ 304 w 1518"/>
                <a:gd name="T55" fmla="*/ 600 h 1366"/>
                <a:gd name="T56" fmla="*/ 76 w 1518"/>
                <a:gd name="T57" fmla="*/ 742 h 1366"/>
                <a:gd name="T58" fmla="*/ 76 w 1518"/>
                <a:gd name="T59" fmla="*/ 1290 h 1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18" h="1366">
                  <a:moveTo>
                    <a:pt x="1518" y="1366"/>
                  </a:moveTo>
                  <a:lnTo>
                    <a:pt x="0" y="1366"/>
                  </a:lnTo>
                  <a:lnTo>
                    <a:pt x="0" y="699"/>
                  </a:lnTo>
                  <a:lnTo>
                    <a:pt x="379" y="462"/>
                  </a:lnTo>
                  <a:lnTo>
                    <a:pt x="379" y="652"/>
                  </a:lnTo>
                  <a:lnTo>
                    <a:pt x="683" y="462"/>
                  </a:lnTo>
                  <a:lnTo>
                    <a:pt x="683" y="652"/>
                  </a:lnTo>
                  <a:lnTo>
                    <a:pt x="987" y="462"/>
                  </a:lnTo>
                  <a:lnTo>
                    <a:pt x="987" y="683"/>
                  </a:lnTo>
                  <a:lnTo>
                    <a:pt x="1029" y="683"/>
                  </a:lnTo>
                  <a:lnTo>
                    <a:pt x="1105" y="0"/>
                  </a:lnTo>
                  <a:lnTo>
                    <a:pt x="1362" y="0"/>
                  </a:lnTo>
                  <a:lnTo>
                    <a:pt x="1438" y="683"/>
                  </a:lnTo>
                  <a:lnTo>
                    <a:pt x="1518" y="683"/>
                  </a:lnTo>
                  <a:lnTo>
                    <a:pt x="1518" y="1366"/>
                  </a:lnTo>
                  <a:close/>
                  <a:moveTo>
                    <a:pt x="76" y="1290"/>
                  </a:moveTo>
                  <a:lnTo>
                    <a:pt x="1442" y="1290"/>
                  </a:lnTo>
                  <a:lnTo>
                    <a:pt x="1442" y="759"/>
                  </a:lnTo>
                  <a:lnTo>
                    <a:pt x="1371" y="759"/>
                  </a:lnTo>
                  <a:lnTo>
                    <a:pt x="1295" y="76"/>
                  </a:lnTo>
                  <a:lnTo>
                    <a:pt x="1172" y="76"/>
                  </a:lnTo>
                  <a:lnTo>
                    <a:pt x="1096" y="759"/>
                  </a:lnTo>
                  <a:lnTo>
                    <a:pt x="911" y="759"/>
                  </a:lnTo>
                  <a:lnTo>
                    <a:pt x="911" y="600"/>
                  </a:lnTo>
                  <a:lnTo>
                    <a:pt x="607" y="789"/>
                  </a:lnTo>
                  <a:lnTo>
                    <a:pt x="607" y="600"/>
                  </a:lnTo>
                  <a:lnTo>
                    <a:pt x="304" y="789"/>
                  </a:lnTo>
                  <a:lnTo>
                    <a:pt x="304" y="600"/>
                  </a:lnTo>
                  <a:lnTo>
                    <a:pt x="76" y="742"/>
                  </a:lnTo>
                  <a:lnTo>
                    <a:pt x="76" y="129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  <p:sp>
          <p:nvSpPr>
            <p:cNvPr id="79" name="Rectangle 60000"/>
            <p:cNvSpPr>
              <a:spLocks noChangeArrowheads="1"/>
            </p:cNvSpPr>
            <p:nvPr/>
          </p:nvSpPr>
          <p:spPr bwMode="auto">
            <a:xfrm>
              <a:off x="-2733675" y="3236913"/>
              <a:ext cx="481013" cy="1206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  <p:sp>
          <p:nvSpPr>
            <p:cNvPr id="80" name="Rectangle 7000"/>
            <p:cNvSpPr>
              <a:spLocks noChangeArrowheads="1"/>
            </p:cNvSpPr>
            <p:nvPr/>
          </p:nvSpPr>
          <p:spPr bwMode="auto">
            <a:xfrm>
              <a:off x="-2071688" y="3236913"/>
              <a:ext cx="482600" cy="1206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  <p:sp>
          <p:nvSpPr>
            <p:cNvPr id="81" name="Rectangle 8000"/>
            <p:cNvSpPr>
              <a:spLocks noChangeArrowheads="1"/>
            </p:cNvSpPr>
            <p:nvPr/>
          </p:nvSpPr>
          <p:spPr bwMode="auto">
            <a:xfrm>
              <a:off x="-1408113" y="3236913"/>
              <a:ext cx="481013" cy="1206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82" name="Textfeld 42_000000"/>
          <p:cNvSpPr txBox="1"/>
          <p:nvPr/>
        </p:nvSpPr>
        <p:spPr>
          <a:xfrm>
            <a:off x="10146972" y="3346576"/>
            <a:ext cx="559127" cy="234499"/>
          </a:xfrm>
          <a:prstGeom prst="rect">
            <a:avLst/>
          </a:prstGeom>
          <a:noFill/>
          <a:ln w="9525">
            <a:solidFill>
              <a:srgbClr val="3F136C"/>
            </a:solidFill>
          </a:ln>
          <a:effectLst/>
          <a:extLst/>
        </p:spPr>
        <p:txBody>
          <a:bodyPr vert="horz" wrap="none" lIns="45720" tIns="45720" rIns="45720" bIns="45720" rtlCol="0" anchor="ctr" anchorCtr="0">
            <a:no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sz="900" dirty="0" smtClean="0">
                <a:solidFill>
                  <a:srgbClr val="3F136C"/>
                </a:solidFill>
              </a:rPr>
              <a:t>43.927</a:t>
            </a:r>
            <a:endParaRPr lang="pt-BR" sz="900" dirty="0">
              <a:solidFill>
                <a:srgbClr val="3F136C"/>
              </a:solidFill>
            </a:endParaRPr>
          </a:p>
        </p:txBody>
      </p:sp>
      <p:grpSp>
        <p:nvGrpSpPr>
          <p:cNvPr id="83" name="Group 14_____"/>
          <p:cNvGrpSpPr>
            <a:grpSpLocks noChangeAspect="1"/>
          </p:cNvGrpSpPr>
          <p:nvPr/>
        </p:nvGrpSpPr>
        <p:grpSpPr bwMode="auto">
          <a:xfrm>
            <a:off x="9599261" y="3361119"/>
            <a:ext cx="410826" cy="205413"/>
            <a:chOff x="324" y="2342"/>
            <a:chExt cx="490" cy="245"/>
          </a:xfrm>
          <a:solidFill>
            <a:srgbClr val="3F136C"/>
          </a:solidFill>
        </p:grpSpPr>
        <p:sp>
          <p:nvSpPr>
            <p:cNvPr id="84" name="Freeform 1500000"/>
            <p:cNvSpPr>
              <a:spLocks noEditPoints="1"/>
            </p:cNvSpPr>
            <p:nvPr/>
          </p:nvSpPr>
          <p:spPr bwMode="auto">
            <a:xfrm>
              <a:off x="459" y="2342"/>
              <a:ext cx="220" cy="245"/>
            </a:xfrm>
            <a:custGeom>
              <a:avLst/>
              <a:gdLst>
                <a:gd name="T0" fmla="*/ 186 w 288"/>
                <a:gd name="T1" fmla="*/ 182 h 320"/>
                <a:gd name="T2" fmla="*/ 240 w 288"/>
                <a:gd name="T3" fmla="*/ 96 h 320"/>
                <a:gd name="T4" fmla="*/ 144 w 288"/>
                <a:gd name="T5" fmla="*/ 0 h 320"/>
                <a:gd name="T6" fmla="*/ 48 w 288"/>
                <a:gd name="T7" fmla="*/ 96 h 320"/>
                <a:gd name="T8" fmla="*/ 102 w 288"/>
                <a:gd name="T9" fmla="*/ 182 h 320"/>
                <a:gd name="T10" fmla="*/ 0 w 288"/>
                <a:gd name="T11" fmla="*/ 320 h 320"/>
                <a:gd name="T12" fmla="*/ 32 w 288"/>
                <a:gd name="T13" fmla="*/ 320 h 320"/>
                <a:gd name="T14" fmla="*/ 144 w 288"/>
                <a:gd name="T15" fmla="*/ 208 h 320"/>
                <a:gd name="T16" fmla="*/ 256 w 288"/>
                <a:gd name="T17" fmla="*/ 320 h 320"/>
                <a:gd name="T18" fmla="*/ 288 w 288"/>
                <a:gd name="T19" fmla="*/ 320 h 320"/>
                <a:gd name="T20" fmla="*/ 186 w 288"/>
                <a:gd name="T21" fmla="*/ 182 h 320"/>
                <a:gd name="T22" fmla="*/ 80 w 288"/>
                <a:gd name="T23" fmla="*/ 96 h 320"/>
                <a:gd name="T24" fmla="*/ 144 w 288"/>
                <a:gd name="T25" fmla="*/ 32 h 320"/>
                <a:gd name="T26" fmla="*/ 208 w 288"/>
                <a:gd name="T27" fmla="*/ 96 h 320"/>
                <a:gd name="T28" fmla="*/ 144 w 288"/>
                <a:gd name="T29" fmla="*/ 160 h 320"/>
                <a:gd name="T30" fmla="*/ 80 w 288"/>
                <a:gd name="T31" fmla="*/ 96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320">
                  <a:moveTo>
                    <a:pt x="186" y="182"/>
                  </a:moveTo>
                  <a:cubicBezTo>
                    <a:pt x="218" y="167"/>
                    <a:pt x="240" y="134"/>
                    <a:pt x="240" y="96"/>
                  </a:cubicBezTo>
                  <a:cubicBezTo>
                    <a:pt x="240" y="43"/>
                    <a:pt x="197" y="0"/>
                    <a:pt x="144" y="0"/>
                  </a:cubicBezTo>
                  <a:cubicBezTo>
                    <a:pt x="91" y="0"/>
                    <a:pt x="48" y="43"/>
                    <a:pt x="48" y="96"/>
                  </a:cubicBezTo>
                  <a:cubicBezTo>
                    <a:pt x="48" y="134"/>
                    <a:pt x="70" y="167"/>
                    <a:pt x="102" y="182"/>
                  </a:cubicBezTo>
                  <a:cubicBezTo>
                    <a:pt x="43" y="200"/>
                    <a:pt x="0" y="255"/>
                    <a:pt x="0" y="320"/>
                  </a:cubicBezTo>
                  <a:cubicBezTo>
                    <a:pt x="32" y="320"/>
                    <a:pt x="32" y="320"/>
                    <a:pt x="32" y="320"/>
                  </a:cubicBezTo>
                  <a:cubicBezTo>
                    <a:pt x="32" y="258"/>
                    <a:pt x="82" y="208"/>
                    <a:pt x="144" y="208"/>
                  </a:cubicBezTo>
                  <a:cubicBezTo>
                    <a:pt x="206" y="208"/>
                    <a:pt x="256" y="258"/>
                    <a:pt x="256" y="320"/>
                  </a:cubicBezTo>
                  <a:cubicBezTo>
                    <a:pt x="288" y="320"/>
                    <a:pt x="288" y="320"/>
                    <a:pt x="288" y="320"/>
                  </a:cubicBezTo>
                  <a:cubicBezTo>
                    <a:pt x="288" y="255"/>
                    <a:pt x="245" y="200"/>
                    <a:pt x="186" y="182"/>
                  </a:cubicBezTo>
                  <a:moveTo>
                    <a:pt x="80" y="96"/>
                  </a:moveTo>
                  <a:cubicBezTo>
                    <a:pt x="80" y="61"/>
                    <a:pt x="109" y="32"/>
                    <a:pt x="144" y="32"/>
                  </a:cubicBezTo>
                  <a:cubicBezTo>
                    <a:pt x="179" y="32"/>
                    <a:pt x="208" y="61"/>
                    <a:pt x="208" y="96"/>
                  </a:cubicBezTo>
                  <a:cubicBezTo>
                    <a:pt x="208" y="131"/>
                    <a:pt x="179" y="160"/>
                    <a:pt x="144" y="160"/>
                  </a:cubicBezTo>
                  <a:cubicBezTo>
                    <a:pt x="109" y="160"/>
                    <a:pt x="80" y="131"/>
                    <a:pt x="80" y="9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  <p:sp>
          <p:nvSpPr>
            <p:cNvPr id="85" name="Freeform 1600000"/>
            <p:cNvSpPr>
              <a:spLocks noEditPoints="1"/>
            </p:cNvSpPr>
            <p:nvPr/>
          </p:nvSpPr>
          <p:spPr bwMode="auto">
            <a:xfrm>
              <a:off x="324" y="2416"/>
              <a:ext cx="129" cy="171"/>
            </a:xfrm>
            <a:custGeom>
              <a:avLst/>
              <a:gdLst>
                <a:gd name="T0" fmla="*/ 168 w 169"/>
                <a:gd name="T1" fmla="*/ 64 h 224"/>
                <a:gd name="T2" fmla="*/ 104 w 169"/>
                <a:gd name="T3" fmla="*/ 0 h 224"/>
                <a:gd name="T4" fmla="*/ 40 w 169"/>
                <a:gd name="T5" fmla="*/ 64 h 224"/>
                <a:gd name="T6" fmla="*/ 70 w 169"/>
                <a:gd name="T7" fmla="*/ 118 h 224"/>
                <a:gd name="T8" fmla="*/ 0 w 169"/>
                <a:gd name="T9" fmla="*/ 216 h 224"/>
                <a:gd name="T10" fmla="*/ 0 w 169"/>
                <a:gd name="T11" fmla="*/ 224 h 224"/>
                <a:gd name="T12" fmla="*/ 32 w 169"/>
                <a:gd name="T13" fmla="*/ 224 h 224"/>
                <a:gd name="T14" fmla="*/ 32 w 169"/>
                <a:gd name="T15" fmla="*/ 216 h 224"/>
                <a:gd name="T16" fmla="*/ 104 w 169"/>
                <a:gd name="T17" fmla="*/ 144 h 224"/>
                <a:gd name="T18" fmla="*/ 154 w 169"/>
                <a:gd name="T19" fmla="*/ 165 h 224"/>
                <a:gd name="T20" fmla="*/ 169 w 169"/>
                <a:gd name="T21" fmla="*/ 135 h 224"/>
                <a:gd name="T22" fmla="*/ 138 w 169"/>
                <a:gd name="T23" fmla="*/ 118 h 224"/>
                <a:gd name="T24" fmla="*/ 168 w 169"/>
                <a:gd name="T25" fmla="*/ 64 h 224"/>
                <a:gd name="T26" fmla="*/ 104 w 169"/>
                <a:gd name="T27" fmla="*/ 32 h 224"/>
                <a:gd name="T28" fmla="*/ 136 w 169"/>
                <a:gd name="T29" fmla="*/ 64 h 224"/>
                <a:gd name="T30" fmla="*/ 104 w 169"/>
                <a:gd name="T31" fmla="*/ 96 h 224"/>
                <a:gd name="T32" fmla="*/ 72 w 169"/>
                <a:gd name="T33" fmla="*/ 64 h 224"/>
                <a:gd name="T34" fmla="*/ 104 w 169"/>
                <a:gd name="T35" fmla="*/ 3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224">
                  <a:moveTo>
                    <a:pt x="168" y="64"/>
                  </a:moveTo>
                  <a:cubicBezTo>
                    <a:pt x="168" y="29"/>
                    <a:pt x="139" y="0"/>
                    <a:pt x="104" y="0"/>
                  </a:cubicBezTo>
                  <a:cubicBezTo>
                    <a:pt x="69" y="0"/>
                    <a:pt x="40" y="29"/>
                    <a:pt x="40" y="64"/>
                  </a:cubicBezTo>
                  <a:cubicBezTo>
                    <a:pt x="40" y="87"/>
                    <a:pt x="52" y="106"/>
                    <a:pt x="70" y="118"/>
                  </a:cubicBezTo>
                  <a:cubicBezTo>
                    <a:pt x="29" y="132"/>
                    <a:pt x="0" y="171"/>
                    <a:pt x="0" y="216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32" y="224"/>
                    <a:pt x="32" y="224"/>
                    <a:pt x="32" y="224"/>
                  </a:cubicBezTo>
                  <a:cubicBezTo>
                    <a:pt x="32" y="216"/>
                    <a:pt x="32" y="216"/>
                    <a:pt x="32" y="216"/>
                  </a:cubicBezTo>
                  <a:cubicBezTo>
                    <a:pt x="32" y="176"/>
                    <a:pt x="64" y="144"/>
                    <a:pt x="104" y="144"/>
                  </a:cubicBezTo>
                  <a:cubicBezTo>
                    <a:pt x="123" y="144"/>
                    <a:pt x="141" y="152"/>
                    <a:pt x="154" y="165"/>
                  </a:cubicBezTo>
                  <a:cubicBezTo>
                    <a:pt x="158" y="154"/>
                    <a:pt x="163" y="144"/>
                    <a:pt x="169" y="135"/>
                  </a:cubicBezTo>
                  <a:cubicBezTo>
                    <a:pt x="159" y="127"/>
                    <a:pt x="149" y="122"/>
                    <a:pt x="138" y="118"/>
                  </a:cubicBezTo>
                  <a:cubicBezTo>
                    <a:pt x="156" y="107"/>
                    <a:pt x="168" y="87"/>
                    <a:pt x="168" y="64"/>
                  </a:cubicBezTo>
                  <a:moveTo>
                    <a:pt x="104" y="32"/>
                  </a:moveTo>
                  <a:cubicBezTo>
                    <a:pt x="122" y="32"/>
                    <a:pt x="136" y="46"/>
                    <a:pt x="136" y="64"/>
                  </a:cubicBezTo>
                  <a:cubicBezTo>
                    <a:pt x="136" y="82"/>
                    <a:pt x="122" y="96"/>
                    <a:pt x="104" y="96"/>
                  </a:cubicBezTo>
                  <a:cubicBezTo>
                    <a:pt x="86" y="96"/>
                    <a:pt x="72" y="82"/>
                    <a:pt x="72" y="64"/>
                  </a:cubicBezTo>
                  <a:cubicBezTo>
                    <a:pt x="72" y="46"/>
                    <a:pt x="86" y="32"/>
                    <a:pt x="104" y="3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  <p:sp>
          <p:nvSpPr>
            <p:cNvPr id="86" name="Freeform 1700000"/>
            <p:cNvSpPr>
              <a:spLocks noEditPoints="1"/>
            </p:cNvSpPr>
            <p:nvPr/>
          </p:nvSpPr>
          <p:spPr bwMode="auto">
            <a:xfrm>
              <a:off x="685" y="2416"/>
              <a:ext cx="129" cy="171"/>
            </a:xfrm>
            <a:custGeom>
              <a:avLst/>
              <a:gdLst>
                <a:gd name="T0" fmla="*/ 99 w 169"/>
                <a:gd name="T1" fmla="*/ 118 h 224"/>
                <a:gd name="T2" fmla="*/ 129 w 169"/>
                <a:gd name="T3" fmla="*/ 64 h 224"/>
                <a:gd name="T4" fmla="*/ 65 w 169"/>
                <a:gd name="T5" fmla="*/ 0 h 224"/>
                <a:gd name="T6" fmla="*/ 1 w 169"/>
                <a:gd name="T7" fmla="*/ 64 h 224"/>
                <a:gd name="T8" fmla="*/ 31 w 169"/>
                <a:gd name="T9" fmla="*/ 118 h 224"/>
                <a:gd name="T10" fmla="*/ 0 w 169"/>
                <a:gd name="T11" fmla="*/ 135 h 224"/>
                <a:gd name="T12" fmla="*/ 15 w 169"/>
                <a:gd name="T13" fmla="*/ 165 h 224"/>
                <a:gd name="T14" fmla="*/ 65 w 169"/>
                <a:gd name="T15" fmla="*/ 144 h 224"/>
                <a:gd name="T16" fmla="*/ 137 w 169"/>
                <a:gd name="T17" fmla="*/ 216 h 224"/>
                <a:gd name="T18" fmla="*/ 137 w 169"/>
                <a:gd name="T19" fmla="*/ 224 h 224"/>
                <a:gd name="T20" fmla="*/ 169 w 169"/>
                <a:gd name="T21" fmla="*/ 224 h 224"/>
                <a:gd name="T22" fmla="*/ 169 w 169"/>
                <a:gd name="T23" fmla="*/ 216 h 224"/>
                <a:gd name="T24" fmla="*/ 99 w 169"/>
                <a:gd name="T25" fmla="*/ 118 h 224"/>
                <a:gd name="T26" fmla="*/ 65 w 169"/>
                <a:gd name="T27" fmla="*/ 32 h 224"/>
                <a:gd name="T28" fmla="*/ 97 w 169"/>
                <a:gd name="T29" fmla="*/ 64 h 224"/>
                <a:gd name="T30" fmla="*/ 65 w 169"/>
                <a:gd name="T31" fmla="*/ 96 h 224"/>
                <a:gd name="T32" fmla="*/ 33 w 169"/>
                <a:gd name="T33" fmla="*/ 64 h 224"/>
                <a:gd name="T34" fmla="*/ 65 w 169"/>
                <a:gd name="T35" fmla="*/ 32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9" h="224">
                  <a:moveTo>
                    <a:pt x="99" y="118"/>
                  </a:moveTo>
                  <a:cubicBezTo>
                    <a:pt x="117" y="106"/>
                    <a:pt x="129" y="87"/>
                    <a:pt x="129" y="64"/>
                  </a:cubicBezTo>
                  <a:cubicBezTo>
                    <a:pt x="129" y="29"/>
                    <a:pt x="100" y="0"/>
                    <a:pt x="65" y="0"/>
                  </a:cubicBezTo>
                  <a:cubicBezTo>
                    <a:pt x="30" y="0"/>
                    <a:pt x="1" y="29"/>
                    <a:pt x="1" y="64"/>
                  </a:cubicBezTo>
                  <a:cubicBezTo>
                    <a:pt x="1" y="87"/>
                    <a:pt x="13" y="107"/>
                    <a:pt x="31" y="118"/>
                  </a:cubicBezTo>
                  <a:cubicBezTo>
                    <a:pt x="20" y="122"/>
                    <a:pt x="10" y="127"/>
                    <a:pt x="0" y="135"/>
                  </a:cubicBezTo>
                  <a:cubicBezTo>
                    <a:pt x="6" y="144"/>
                    <a:pt x="11" y="154"/>
                    <a:pt x="15" y="165"/>
                  </a:cubicBezTo>
                  <a:cubicBezTo>
                    <a:pt x="28" y="152"/>
                    <a:pt x="46" y="144"/>
                    <a:pt x="65" y="144"/>
                  </a:cubicBezTo>
                  <a:cubicBezTo>
                    <a:pt x="105" y="144"/>
                    <a:pt x="137" y="176"/>
                    <a:pt x="137" y="216"/>
                  </a:cubicBezTo>
                  <a:cubicBezTo>
                    <a:pt x="137" y="224"/>
                    <a:pt x="137" y="224"/>
                    <a:pt x="137" y="224"/>
                  </a:cubicBezTo>
                  <a:cubicBezTo>
                    <a:pt x="169" y="224"/>
                    <a:pt x="169" y="224"/>
                    <a:pt x="169" y="224"/>
                  </a:cubicBezTo>
                  <a:cubicBezTo>
                    <a:pt x="169" y="216"/>
                    <a:pt x="169" y="216"/>
                    <a:pt x="169" y="216"/>
                  </a:cubicBezTo>
                  <a:cubicBezTo>
                    <a:pt x="169" y="171"/>
                    <a:pt x="140" y="132"/>
                    <a:pt x="99" y="118"/>
                  </a:cubicBezTo>
                  <a:moveTo>
                    <a:pt x="65" y="32"/>
                  </a:moveTo>
                  <a:cubicBezTo>
                    <a:pt x="83" y="32"/>
                    <a:pt x="97" y="46"/>
                    <a:pt x="97" y="64"/>
                  </a:cubicBezTo>
                  <a:cubicBezTo>
                    <a:pt x="97" y="82"/>
                    <a:pt x="83" y="96"/>
                    <a:pt x="65" y="96"/>
                  </a:cubicBezTo>
                  <a:cubicBezTo>
                    <a:pt x="47" y="96"/>
                    <a:pt x="33" y="82"/>
                    <a:pt x="33" y="64"/>
                  </a:cubicBezTo>
                  <a:cubicBezTo>
                    <a:pt x="33" y="46"/>
                    <a:pt x="47" y="32"/>
                    <a:pt x="65" y="3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pt-BR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87" name="Textfeld 42_0000000"/>
          <p:cNvSpPr txBox="1"/>
          <p:nvPr/>
        </p:nvSpPr>
        <p:spPr>
          <a:xfrm>
            <a:off x="10146973" y="2952214"/>
            <a:ext cx="559127" cy="234499"/>
          </a:xfrm>
          <a:prstGeom prst="rect">
            <a:avLst/>
          </a:prstGeom>
          <a:noFill/>
          <a:ln w="9525">
            <a:solidFill>
              <a:srgbClr val="3F136C"/>
            </a:solidFill>
          </a:ln>
          <a:effectLst/>
          <a:extLst/>
        </p:spPr>
        <p:txBody>
          <a:bodyPr vert="horz" wrap="none" lIns="45720" tIns="45720" rIns="45720" bIns="45720" rtlCol="0" anchor="ctr" anchorCtr="0">
            <a:noAutofit/>
          </a:bodyPr>
          <a:lstStyle>
            <a:defPPr>
              <a:defRPr lang="de-DE"/>
            </a:defPPr>
            <a:lvl1pPr indent="0" algn="ctr" defTabSz="822716">
              <a:lnSpc>
                <a:spcPct val="100000"/>
              </a:lnSpc>
              <a:spcBef>
                <a:spcPts val="0"/>
              </a:spcBef>
              <a:buClrTx/>
              <a:buSzPct val="100000"/>
              <a:buFont typeface="Wingdings 3" panose="05040102010807070707" pitchFamily="18" charset="2"/>
              <a:defRPr sz="1600">
                <a:solidFill>
                  <a:srgbClr val="3F136C"/>
                </a:solidFill>
              </a:defRPr>
            </a:lvl1pPr>
            <a:lvl2pPr marL="508000" indent="-27432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>
                <a:latin typeface="Bosch Office Sans" pitchFamily="2" charset="0"/>
              </a:defRPr>
            </a:lvl2pPr>
            <a:lvl3pPr marL="730250" indent="-204470" defTabSz="822716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>
                <a:latin typeface="Bosch Office Sans" pitchFamily="2" charset="0"/>
              </a:defRPr>
            </a:lvl3pPr>
            <a:lvl4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4pPr>
            <a:lvl5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5pPr>
            <a:lvl6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6pPr>
            <a:lvl7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7pPr>
            <a:lvl8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>
                <a:latin typeface="Bosch Office Sans" pitchFamily="2" charset="0"/>
              </a:defRPr>
            </a:lvl8pPr>
            <a:lvl9pPr marL="932180" indent="-184150" defTabSz="822716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baseline="0">
                <a:latin typeface="Bosch Office Sans" pitchFamily="2" charset="0"/>
              </a:defRPr>
            </a:lvl9pPr>
          </a:lstStyle>
          <a:p>
            <a:pPr algn="l"/>
            <a:r>
              <a:rPr lang="pt-BR" sz="900" dirty="0" smtClean="0">
                <a:solidFill>
                  <a:srgbClr val="3F136C"/>
                </a:solidFill>
              </a:rPr>
              <a:t>19% </a:t>
            </a:r>
            <a:endParaRPr lang="pt-BR" sz="900" dirty="0">
              <a:solidFill>
                <a:srgbClr val="3F136C"/>
              </a:solidFill>
            </a:endParaRPr>
          </a:p>
        </p:txBody>
      </p:sp>
      <p:grpSp>
        <p:nvGrpSpPr>
          <p:cNvPr id="88" name="Group 28"/>
          <p:cNvGrpSpPr/>
          <p:nvPr/>
        </p:nvGrpSpPr>
        <p:grpSpPr>
          <a:xfrm>
            <a:off x="9664974" y="2944947"/>
            <a:ext cx="279400" cy="278706"/>
            <a:chOff x="-512763" y="3192463"/>
            <a:chExt cx="641351" cy="639762"/>
          </a:xfrm>
          <a:noFill/>
        </p:grpSpPr>
        <p:sp>
          <p:nvSpPr>
            <p:cNvPr id="89" name="Freeform 5"/>
            <p:cNvSpPr>
              <a:spLocks/>
            </p:cNvSpPr>
            <p:nvPr/>
          </p:nvSpPr>
          <p:spPr bwMode="auto">
            <a:xfrm>
              <a:off x="-134938" y="3203575"/>
              <a:ext cx="152400" cy="182562"/>
            </a:xfrm>
            <a:custGeom>
              <a:avLst/>
              <a:gdLst>
                <a:gd name="T0" fmla="*/ 6 w 40"/>
                <a:gd name="T1" fmla="*/ 0 h 48"/>
                <a:gd name="T2" fmla="*/ 0 w 40"/>
                <a:gd name="T3" fmla="*/ 43 h 48"/>
                <a:gd name="T4" fmla="*/ 8 w 40"/>
                <a:gd name="T5" fmla="*/ 48 h 48"/>
                <a:gd name="T6" fmla="*/ 40 w 40"/>
                <a:gd name="T7" fmla="*/ 18 h 48"/>
                <a:gd name="T8" fmla="*/ 6 w 40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48">
                  <a:moveTo>
                    <a:pt x="6" y="0"/>
                  </a:moveTo>
                  <a:cubicBezTo>
                    <a:pt x="0" y="43"/>
                    <a:pt x="0" y="43"/>
                    <a:pt x="0" y="43"/>
                  </a:cubicBezTo>
                  <a:cubicBezTo>
                    <a:pt x="3" y="45"/>
                    <a:pt x="6" y="46"/>
                    <a:pt x="8" y="48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1" y="9"/>
                    <a:pt x="19" y="3"/>
                    <a:pt x="6" y="0"/>
                  </a:cubicBezTo>
                  <a:close/>
                </a:path>
              </a:pathLst>
            </a:custGeom>
            <a:grpFill/>
            <a:ln w="15875" cap="flat">
              <a:solidFill>
                <a:srgbClr val="3F136C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0" name="Freeform 6"/>
            <p:cNvSpPr>
              <a:spLocks/>
            </p:cNvSpPr>
            <p:nvPr/>
          </p:nvSpPr>
          <p:spPr bwMode="auto">
            <a:xfrm>
              <a:off x="-88900" y="3325813"/>
              <a:ext cx="217488" cy="449262"/>
            </a:xfrm>
            <a:custGeom>
              <a:avLst/>
              <a:gdLst>
                <a:gd name="T0" fmla="*/ 41 w 57"/>
                <a:gd name="T1" fmla="*/ 0 h 118"/>
                <a:gd name="T2" fmla="*/ 9 w 57"/>
                <a:gd name="T3" fmla="*/ 30 h 118"/>
                <a:gd name="T4" fmla="*/ 14 w 57"/>
                <a:gd name="T5" fmla="*/ 49 h 118"/>
                <a:gd name="T6" fmla="*/ 0 w 57"/>
                <a:gd name="T7" fmla="*/ 79 h 118"/>
                <a:gd name="T8" fmla="*/ 20 w 57"/>
                <a:gd name="T9" fmla="*/ 118 h 118"/>
                <a:gd name="T10" fmla="*/ 57 w 57"/>
                <a:gd name="T11" fmla="*/ 49 h 118"/>
                <a:gd name="T12" fmla="*/ 41 w 57"/>
                <a:gd name="T13" fmla="*/ 0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118">
                  <a:moveTo>
                    <a:pt x="41" y="0"/>
                  </a:moveTo>
                  <a:cubicBezTo>
                    <a:pt x="9" y="30"/>
                    <a:pt x="9" y="30"/>
                    <a:pt x="9" y="30"/>
                  </a:cubicBezTo>
                  <a:cubicBezTo>
                    <a:pt x="12" y="36"/>
                    <a:pt x="14" y="42"/>
                    <a:pt x="14" y="49"/>
                  </a:cubicBezTo>
                  <a:cubicBezTo>
                    <a:pt x="14" y="61"/>
                    <a:pt x="8" y="72"/>
                    <a:pt x="0" y="79"/>
                  </a:cubicBezTo>
                  <a:cubicBezTo>
                    <a:pt x="20" y="118"/>
                    <a:pt x="20" y="118"/>
                    <a:pt x="20" y="118"/>
                  </a:cubicBezTo>
                  <a:cubicBezTo>
                    <a:pt x="42" y="103"/>
                    <a:pt x="57" y="78"/>
                    <a:pt x="57" y="49"/>
                  </a:cubicBezTo>
                  <a:cubicBezTo>
                    <a:pt x="57" y="31"/>
                    <a:pt x="51" y="14"/>
                    <a:pt x="41" y="0"/>
                  </a:cubicBezTo>
                  <a:close/>
                </a:path>
              </a:pathLst>
            </a:custGeom>
            <a:grpFill/>
            <a:ln w="15875" cap="flat">
              <a:solidFill>
                <a:srgbClr val="3F136C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1" name="Freeform 7"/>
            <p:cNvSpPr>
              <a:spLocks/>
            </p:cNvSpPr>
            <p:nvPr/>
          </p:nvSpPr>
          <p:spPr bwMode="auto">
            <a:xfrm>
              <a:off x="-401638" y="3192463"/>
              <a:ext cx="217488" cy="193675"/>
            </a:xfrm>
            <a:custGeom>
              <a:avLst/>
              <a:gdLst>
                <a:gd name="T0" fmla="*/ 32 w 57"/>
                <a:gd name="T1" fmla="*/ 51 h 51"/>
                <a:gd name="T2" fmla="*/ 51 w 57"/>
                <a:gd name="T3" fmla="*/ 44 h 51"/>
                <a:gd name="T4" fmla="*/ 57 w 57"/>
                <a:gd name="T5" fmla="*/ 0 h 51"/>
                <a:gd name="T6" fmla="*/ 55 w 57"/>
                <a:gd name="T7" fmla="*/ 0 h 51"/>
                <a:gd name="T8" fmla="*/ 0 w 57"/>
                <a:gd name="T9" fmla="*/ 21 h 51"/>
                <a:gd name="T10" fmla="*/ 32 w 57"/>
                <a:gd name="T11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51">
                  <a:moveTo>
                    <a:pt x="32" y="51"/>
                  </a:moveTo>
                  <a:cubicBezTo>
                    <a:pt x="38" y="47"/>
                    <a:pt x="44" y="44"/>
                    <a:pt x="51" y="44"/>
                  </a:cubicBezTo>
                  <a:cubicBezTo>
                    <a:pt x="57" y="0"/>
                    <a:pt x="57" y="0"/>
                    <a:pt x="57" y="0"/>
                  </a:cubicBezTo>
                  <a:cubicBezTo>
                    <a:pt x="56" y="0"/>
                    <a:pt x="56" y="0"/>
                    <a:pt x="55" y="0"/>
                  </a:cubicBezTo>
                  <a:cubicBezTo>
                    <a:pt x="34" y="0"/>
                    <a:pt x="15" y="8"/>
                    <a:pt x="0" y="21"/>
                  </a:cubicBezTo>
                  <a:lnTo>
                    <a:pt x="32" y="51"/>
                  </a:lnTo>
                  <a:close/>
                </a:path>
              </a:pathLst>
            </a:custGeom>
            <a:grpFill/>
            <a:ln w="15875" cap="flat">
              <a:solidFill>
                <a:srgbClr val="3F136C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92" name="Freeform 8"/>
            <p:cNvSpPr>
              <a:spLocks/>
            </p:cNvSpPr>
            <p:nvPr/>
          </p:nvSpPr>
          <p:spPr bwMode="auto">
            <a:xfrm>
              <a:off x="-512763" y="3325813"/>
              <a:ext cx="434975" cy="506412"/>
            </a:xfrm>
            <a:custGeom>
              <a:avLst/>
              <a:gdLst>
                <a:gd name="T0" fmla="*/ 93 w 114"/>
                <a:gd name="T1" fmla="*/ 88 h 133"/>
                <a:gd name="T2" fmla="*/ 84 w 114"/>
                <a:gd name="T3" fmla="*/ 90 h 133"/>
                <a:gd name="T4" fmla="*/ 43 w 114"/>
                <a:gd name="T5" fmla="*/ 49 h 133"/>
                <a:gd name="T6" fmla="*/ 48 w 114"/>
                <a:gd name="T7" fmla="*/ 30 h 133"/>
                <a:gd name="T8" fmla="*/ 16 w 114"/>
                <a:gd name="T9" fmla="*/ 0 h 133"/>
                <a:gd name="T10" fmla="*/ 0 w 114"/>
                <a:gd name="T11" fmla="*/ 49 h 133"/>
                <a:gd name="T12" fmla="*/ 84 w 114"/>
                <a:gd name="T13" fmla="*/ 133 h 133"/>
                <a:gd name="T14" fmla="*/ 114 w 114"/>
                <a:gd name="T15" fmla="*/ 127 h 133"/>
                <a:gd name="T16" fmla="*/ 93 w 114"/>
                <a:gd name="T17" fmla="*/ 88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4" h="133">
                  <a:moveTo>
                    <a:pt x="93" y="88"/>
                  </a:moveTo>
                  <a:cubicBezTo>
                    <a:pt x="90" y="89"/>
                    <a:pt x="87" y="90"/>
                    <a:pt x="84" y="90"/>
                  </a:cubicBezTo>
                  <a:cubicBezTo>
                    <a:pt x="62" y="90"/>
                    <a:pt x="43" y="71"/>
                    <a:pt x="43" y="49"/>
                  </a:cubicBezTo>
                  <a:cubicBezTo>
                    <a:pt x="43" y="42"/>
                    <a:pt x="45" y="36"/>
                    <a:pt x="48" y="3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6" y="14"/>
                    <a:pt x="0" y="31"/>
                    <a:pt x="0" y="49"/>
                  </a:cubicBezTo>
                  <a:cubicBezTo>
                    <a:pt x="0" y="95"/>
                    <a:pt x="38" y="133"/>
                    <a:pt x="84" y="133"/>
                  </a:cubicBezTo>
                  <a:cubicBezTo>
                    <a:pt x="95" y="133"/>
                    <a:pt x="105" y="131"/>
                    <a:pt x="114" y="127"/>
                  </a:cubicBezTo>
                  <a:lnTo>
                    <a:pt x="93" y="88"/>
                  </a:lnTo>
                  <a:close/>
                </a:path>
              </a:pathLst>
            </a:custGeom>
            <a:grpFill/>
            <a:ln w="15875" cap="flat">
              <a:solidFill>
                <a:srgbClr val="3F136C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</p:grpSp>
      <p:grpSp>
        <p:nvGrpSpPr>
          <p:cNvPr id="93" name="Group 2"/>
          <p:cNvGrpSpPr/>
          <p:nvPr/>
        </p:nvGrpSpPr>
        <p:grpSpPr>
          <a:xfrm>
            <a:off x="3721757" y="2365176"/>
            <a:ext cx="3661324" cy="2355574"/>
            <a:chOff x="3721757" y="2521224"/>
            <a:chExt cx="3661324" cy="2697558"/>
          </a:xfrm>
        </p:grpSpPr>
        <p:cxnSp>
          <p:nvCxnSpPr>
            <p:cNvPr id="94" name="Straight Connector 26"/>
            <p:cNvCxnSpPr/>
            <p:nvPr/>
          </p:nvCxnSpPr>
          <p:spPr>
            <a:xfrm>
              <a:off x="3721757" y="2521224"/>
              <a:ext cx="0" cy="2697558"/>
            </a:xfrm>
            <a:prstGeom prst="line">
              <a:avLst/>
            </a:prstGeom>
            <a:ln>
              <a:solidFill>
                <a:srgbClr val="B8B9BB"/>
              </a:solidFill>
            </a:ln>
          </p:spPr>
          <p:style>
            <a:lnRef idx="1">
              <a:srgbClr val="A80163"/>
            </a:lnRef>
            <a:fillRef idx="0">
              <a:srgbClr val="A80163"/>
            </a:fillRef>
            <a:effectRef idx="0">
              <a:srgbClr val="A80163"/>
            </a:effectRef>
            <a:fontRef idx="minor">
              <a:schemeClr val="tx1"/>
            </a:fontRef>
          </p:style>
        </p:cxnSp>
        <p:cxnSp>
          <p:nvCxnSpPr>
            <p:cNvPr id="95" name="Straight Connector 98"/>
            <p:cNvCxnSpPr/>
            <p:nvPr/>
          </p:nvCxnSpPr>
          <p:spPr>
            <a:xfrm>
              <a:off x="7383081" y="2521224"/>
              <a:ext cx="0" cy="2697558"/>
            </a:xfrm>
            <a:prstGeom prst="line">
              <a:avLst/>
            </a:prstGeom>
            <a:ln>
              <a:solidFill>
                <a:srgbClr val="B8B9BB"/>
              </a:solidFill>
            </a:ln>
          </p:spPr>
          <p:style>
            <a:lnRef idx="1">
              <a:srgbClr val="A80163"/>
            </a:lnRef>
            <a:fillRef idx="0">
              <a:srgbClr val="A80163"/>
            </a:fillRef>
            <a:effectRef idx="0">
              <a:srgbClr val="A80163"/>
            </a:effectRef>
            <a:fontRef idx="minor">
              <a:schemeClr val="tx1"/>
            </a:fontRef>
          </p:style>
        </p:cxnSp>
      </p:grpSp>
      <p:sp>
        <p:nvSpPr>
          <p:cNvPr id="2" name="CaixaDeTexto 1"/>
          <p:cNvSpPr txBox="1"/>
          <p:nvPr/>
        </p:nvSpPr>
        <p:spPr>
          <a:xfrm>
            <a:off x="257175" y="5152506"/>
            <a:ext cx="891925" cy="4111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A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*</a:t>
            </a:r>
            <a:r>
              <a:rPr lang="en-AU" sz="1200" dirty="0">
                <a:solidFill>
                  <a:srgbClr val="000000"/>
                </a:solidFill>
              </a:rPr>
              <a:t>12.2019</a:t>
            </a:r>
          </a:p>
        </p:txBody>
      </p:sp>
    </p:spTree>
    <p:extLst>
      <p:ext uri="{BB962C8B-B14F-4D97-AF65-F5344CB8AC3E}">
        <p14:creationId xmlns:p14="http://schemas.microsoft.com/office/powerpoint/2010/main" val="2916699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57155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" name="Slide do think-cell" r:id="rId8" imgW="396" imgH="396" progId="TCLayout.ActiveDocument.1">
                  <p:embed/>
                </p:oleObj>
              </mc:Choice>
              <mc:Fallback>
                <p:oleObj name="Slide do think-cell" r:id="rId8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en-GB" sz="440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13"/>
          <a:stretch/>
        </p:blipFill>
        <p:spPr>
          <a:xfrm>
            <a:off x="0" y="99"/>
            <a:ext cx="10847439" cy="6170414"/>
          </a:xfrm>
          <a:prstGeom prst="rect">
            <a:avLst/>
          </a:prstGeom>
        </p:spPr>
      </p:pic>
      <p:pic>
        <p:nvPicPr>
          <p:cNvPr id="5" name="Grafik 4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9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1" name="Grafik 7"/>
          <p:cNvPicPr>
            <a:picLocks noChangeAspect="1"/>
          </p:cNvPicPr>
          <p:nvPr/>
        </p:nvPicPr>
        <p:blipFill rotWithShape="1">
          <a:blip r:embed="rId12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0659"/>
          <a:stretch/>
        </p:blipFill>
        <p:spPr>
          <a:xfrm>
            <a:off x="3053180" y="-211"/>
            <a:ext cx="4874217" cy="1018082"/>
          </a:xfrm>
          <a:prstGeom prst="rect">
            <a:avLst/>
          </a:prstGeom>
        </p:spPr>
      </p:pic>
      <p:pic>
        <p:nvPicPr>
          <p:cNvPr id="1070" name="Picture 46" descr="Resultado de imagem para compass minerals"/>
          <p:cNvPicPr>
            <a:picLocks noChangeAspect="1" noChangeArrowheads="1"/>
          </p:cNvPicPr>
          <p:nvPr/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5622" y="257175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10038489" y="5410061"/>
            <a:ext cx="770005" cy="2778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ct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wered</a:t>
            </a:r>
            <a:r>
              <a:rPr kumimoji="0" lang="en-US" sz="9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by</a:t>
            </a:r>
            <a:endParaRPr kumimoji="0" 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09120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5395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9" name="Slide do think-cell" r:id="rId8" imgW="351" imgH="351" progId="TCLayout.ActiveDocument.1">
                  <p:embed/>
                </p:oleObj>
              </mc:Choice>
              <mc:Fallback>
                <p:oleObj name="Slide do think-cell" r:id="rId8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pt-BR" sz="360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grpSp>
        <p:nvGrpSpPr>
          <p:cNvPr id="30" name="Agrupar 29"/>
          <p:cNvGrpSpPr/>
          <p:nvPr/>
        </p:nvGrpSpPr>
        <p:grpSpPr>
          <a:xfrm>
            <a:off x="-142874" y="0"/>
            <a:ext cx="11002644" cy="6170613"/>
            <a:chOff x="0" y="0"/>
            <a:chExt cx="10840720" cy="6170613"/>
          </a:xfrm>
        </p:grpSpPr>
        <p:pic>
          <p:nvPicPr>
            <p:cNvPr id="31" name="Imagem 30"/>
            <p:cNvPicPr>
              <a:picLocks noChangeAspect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351"/>
            <a:stretch/>
          </p:blipFill>
          <p:spPr>
            <a:xfrm>
              <a:off x="0" y="99"/>
              <a:ext cx="10821335" cy="6170414"/>
            </a:xfrm>
            <a:prstGeom prst="rect">
              <a:avLst/>
            </a:prstGeom>
          </p:spPr>
        </p:pic>
        <p:sp>
          <p:nvSpPr>
            <p:cNvPr id="32" name="Retângulo 31"/>
            <p:cNvSpPr/>
            <p:nvPr/>
          </p:nvSpPr>
          <p:spPr>
            <a:xfrm>
              <a:off x="0" y="0"/>
              <a:ext cx="10840720" cy="6170613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GB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82498" y="272452"/>
            <a:ext cx="7969791" cy="512872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</a:pPr>
            <a:r>
              <a:rPr lang="pt-BR" sz="3600" cap="small" dirty="0">
                <a:solidFill>
                  <a:schemeClr val="accent4"/>
                </a:solidFill>
              </a:rPr>
              <a:t>BOSCH Agro 4.0 | NEVONEX</a:t>
            </a:r>
            <a:endParaRPr lang="en-GB" sz="3600" cap="small" dirty="0">
              <a:solidFill>
                <a:schemeClr val="accent4"/>
              </a:solidFill>
            </a:endParaRPr>
          </a:p>
        </p:txBody>
      </p:sp>
      <p:pic>
        <p:nvPicPr>
          <p:cNvPr id="5" name="Grafik 4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9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ítulo 1"/>
          <p:cNvSpPr txBox="1">
            <a:spLocks/>
          </p:cNvSpPr>
          <p:nvPr/>
        </p:nvSpPr>
        <p:spPr>
          <a:xfrm>
            <a:off x="282498" y="785324"/>
            <a:ext cx="7969791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small" spc="0" normalizeH="0" baseline="0" noProof="0" dirty="0" err="1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Desafios</a:t>
            </a:r>
            <a:r>
              <a:rPr kumimoji="0" lang="en-GB" sz="28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 </a:t>
            </a:r>
            <a:r>
              <a:rPr kumimoji="0" lang="en-GB" sz="2800" b="1" i="0" u="none" strike="noStrike" kern="1200" cap="small" spc="0" normalizeH="0" baseline="0" noProof="0" dirty="0" err="1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na</a:t>
            </a:r>
            <a:r>
              <a:rPr kumimoji="0" lang="en-GB" sz="28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 </a:t>
            </a:r>
            <a:r>
              <a:rPr kumimoji="0" lang="en-GB" sz="2800" b="1" i="0" u="none" strike="noStrike" kern="1200" cap="small" spc="0" normalizeH="0" baseline="0" noProof="0" dirty="0" err="1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agricultura</a:t>
            </a:r>
            <a:r>
              <a:rPr kumimoji="0" lang="en-GB" sz="28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 </a:t>
            </a:r>
            <a:r>
              <a:rPr kumimoji="0" lang="en-GB" sz="2800" b="1" i="0" u="none" strike="noStrike" kern="1200" cap="small" spc="0" normalizeH="0" baseline="0" noProof="0" dirty="0" err="1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atualmente</a:t>
            </a:r>
            <a:endParaRPr kumimoji="0" lang="en-GB" sz="2800" b="0" i="0" u="none" strike="noStrike" kern="1200" cap="small" spc="0" normalizeH="0" baseline="0" noProof="0" dirty="0">
              <a:ln>
                <a:noFill/>
              </a:ln>
              <a:solidFill>
                <a:srgbClr val="1399A0"/>
              </a:solidFill>
              <a:effectLst/>
              <a:uLnTx/>
              <a:uFillTx/>
              <a:latin typeface="Bosch Office Sans"/>
              <a:ea typeface="+mj-ea"/>
              <a:cs typeface="+mj-cs"/>
            </a:endParaRPr>
          </a:p>
        </p:txBody>
      </p:sp>
      <p:pic>
        <p:nvPicPr>
          <p:cNvPr id="35" name="Grafik 53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55942"/>
            <a:ext cx="10787676" cy="3418591"/>
          </a:xfrm>
          <a:prstGeom prst="rect">
            <a:avLst/>
          </a:prstGeom>
        </p:spPr>
      </p:pic>
      <p:sp>
        <p:nvSpPr>
          <p:cNvPr id="17" name="CaixaDeTexto 16"/>
          <p:cNvSpPr txBox="1"/>
          <p:nvPr/>
        </p:nvSpPr>
        <p:spPr>
          <a:xfrm>
            <a:off x="10038489" y="5410061"/>
            <a:ext cx="770005" cy="2778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ct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9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wered</a:t>
            </a:r>
            <a:r>
              <a:rPr kumimoji="0" lang="en-US" sz="9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by</a:t>
            </a:r>
            <a:endParaRPr kumimoji="0" lang="en-US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79683" y="1912270"/>
            <a:ext cx="3246894" cy="798163"/>
          </a:xfrm>
          <a:prstGeom prst="rect">
            <a:avLst/>
          </a:prstGeom>
          <a:solidFill>
            <a:srgbClr val="006AA4"/>
          </a:solidFill>
          <a:ln>
            <a:solidFill>
              <a:srgbClr val="006AA4"/>
            </a:solidFill>
          </a:ln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1200" b="1" kern="0" dirty="0" smtClean="0">
                <a:solidFill>
                  <a:schemeClr val="bg1"/>
                </a:solidFill>
              </a:rPr>
              <a:t>INTEOPERABILIDADE: </a:t>
            </a:r>
            <a:r>
              <a:rPr lang="pt-BR" sz="1200" kern="0" dirty="0" smtClean="0">
                <a:solidFill>
                  <a:schemeClr val="bg1"/>
                </a:solidFill>
              </a:rPr>
              <a:t>Máquinas e implementos devem conversar entre si e trabalhar em conjunto, não importante suas cores!</a:t>
            </a:r>
            <a:endParaRPr kumimoji="0" lang="pt-BR" sz="1200" b="0" i="0" u="none" strike="noStrike" kern="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3770391" y="1912269"/>
            <a:ext cx="3246894" cy="798163"/>
          </a:xfrm>
          <a:prstGeom prst="rect">
            <a:avLst/>
          </a:prstGeom>
          <a:solidFill>
            <a:srgbClr val="006AA4"/>
          </a:solidFill>
          <a:ln>
            <a:solidFill>
              <a:srgbClr val="006AA4"/>
            </a:solidFill>
          </a:ln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1200" b="1" kern="0" dirty="0" smtClean="0">
                <a:solidFill>
                  <a:schemeClr val="bg1"/>
                </a:solidFill>
              </a:rPr>
              <a:t>ACESSO e CONTROLE: </a:t>
            </a:r>
            <a:r>
              <a:rPr lang="pt-BR" sz="1200" kern="0" dirty="0" smtClean="0">
                <a:solidFill>
                  <a:schemeClr val="bg1"/>
                </a:solidFill>
              </a:rPr>
              <a:t>O agricultor deve ser capaz de usar todos as funções do seu implemento e ter todos os seus dados!</a:t>
            </a:r>
            <a:endParaRPr kumimoji="0" lang="pt-BR" sz="1200" b="1" i="0" u="none" strike="noStrike" kern="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7353350" y="1912268"/>
            <a:ext cx="3246894" cy="798163"/>
          </a:xfrm>
          <a:prstGeom prst="rect">
            <a:avLst/>
          </a:prstGeom>
          <a:solidFill>
            <a:srgbClr val="006AA4"/>
          </a:solidFill>
          <a:ln>
            <a:solidFill>
              <a:srgbClr val="006AA4"/>
            </a:solidFill>
          </a:ln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1200" b="1" kern="0" dirty="0" smtClean="0">
                <a:solidFill>
                  <a:schemeClr val="bg1"/>
                </a:solidFill>
              </a:rPr>
              <a:t>TRABALHAR JUNTO: </a:t>
            </a:r>
            <a:r>
              <a:rPr lang="pt-BR" sz="1200" kern="0" dirty="0" smtClean="0">
                <a:solidFill>
                  <a:schemeClr val="bg1"/>
                </a:solidFill>
              </a:rPr>
              <a:t>Empresas agro e fabricantes de equipamentos devem trabalhar juntas no time do fazendeiro</a:t>
            </a:r>
            <a:endParaRPr kumimoji="0" lang="pt-BR" sz="1200" b="1" i="0" u="none" strike="noStrike" kern="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4267393" y="3581050"/>
            <a:ext cx="699814" cy="3787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3959817" y="4128179"/>
            <a:ext cx="1007390" cy="3787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500"/>
              </a:spcBef>
              <a:spcAft>
                <a:spcPts val="0"/>
              </a:spcAft>
            </a:pPr>
            <a:r>
              <a:rPr kumimoji="0" lang="pt-BR" sz="1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cesso de escrita confiável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4907990" y="4325311"/>
            <a:ext cx="699814" cy="3787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5553559" y="3153522"/>
            <a:ext cx="1007390" cy="3643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fontAlgn="auto">
              <a:spcBef>
                <a:spcPts val="500"/>
              </a:spcBef>
              <a:spcAft>
                <a:spcPts val="0"/>
              </a:spcAft>
            </a:pPr>
            <a:r>
              <a:rPr kumimoji="0" lang="pt-BR" sz="1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cesso de leitura seguro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5887345" y="3513715"/>
            <a:ext cx="699814" cy="3787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7380937" y="3710307"/>
            <a:ext cx="1007390" cy="3643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500"/>
              </a:spcBef>
              <a:spcAft>
                <a:spcPts val="0"/>
              </a:spcAft>
            </a:pPr>
            <a:r>
              <a:rPr kumimoji="0" lang="pt-BR" sz="10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Empresa Agro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8365696" y="4580926"/>
            <a:ext cx="1007390" cy="2662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500"/>
              </a:spcBef>
              <a:spcAft>
                <a:spcPts val="0"/>
              </a:spcAft>
            </a:pPr>
            <a:r>
              <a:rPr lang="pt-BR" sz="1000" kern="0" dirty="0" smtClean="0">
                <a:solidFill>
                  <a:srgbClr val="000000"/>
                </a:solidFill>
              </a:rPr>
              <a:t>Fazendeiro</a:t>
            </a:r>
            <a:endParaRPr kumimoji="0" lang="pt-BR" sz="1000" b="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9497881" y="3637298"/>
            <a:ext cx="1007390" cy="26627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fontAlgn="auto">
              <a:spcBef>
                <a:spcPts val="500"/>
              </a:spcBef>
              <a:spcAft>
                <a:spcPts val="0"/>
              </a:spcAft>
            </a:pPr>
            <a:r>
              <a:rPr lang="pt-BR" sz="1000" kern="0" dirty="0" smtClean="0">
                <a:solidFill>
                  <a:srgbClr val="000000"/>
                </a:solidFill>
              </a:rPr>
              <a:t>Fabricante de equipamentos</a:t>
            </a:r>
            <a:endParaRPr kumimoji="0" lang="pt-BR" sz="1000" b="0" i="0" u="none" strike="noStrike" kern="0" cap="none" spc="0" normalizeH="0" baseline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264408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38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7" name="Slide do think-cell" r:id="rId43" imgW="351" imgH="351" progId="TCLayout.ActiveDocument.1">
                  <p:embed/>
                </p:oleObj>
              </mc:Choice>
              <mc:Fallback>
                <p:oleObj name="Slide do think-cell" r:id="rId43" imgW="351" imgH="351" progId="TCLayout.ActiveDocument.1">
                  <p:embed/>
                  <p:pic>
                    <p:nvPicPr>
                      <p:cNvPr id="12" name="Objeto 11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pt-BR" sz="360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grpSp>
        <p:nvGrpSpPr>
          <p:cNvPr id="44" name="Agrupar 43"/>
          <p:cNvGrpSpPr/>
          <p:nvPr/>
        </p:nvGrpSpPr>
        <p:grpSpPr>
          <a:xfrm>
            <a:off x="-527538" y="0"/>
            <a:ext cx="11377739" cy="6170613"/>
            <a:chOff x="-528951" y="0"/>
            <a:chExt cx="11377739" cy="6170613"/>
          </a:xfrm>
        </p:grpSpPr>
        <p:pic>
          <p:nvPicPr>
            <p:cNvPr id="48" name="Imagem 47"/>
            <p:cNvPicPr>
              <a:picLocks noChangeAspect="1"/>
            </p:cNvPicPr>
            <p:nvPr/>
          </p:nvPicPr>
          <p:blipFill rotWithShape="1">
            <a:blip r:embed="rId4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2" r="1096"/>
            <a:stretch/>
          </p:blipFill>
          <p:spPr>
            <a:xfrm>
              <a:off x="1" y="99"/>
              <a:ext cx="10838164" cy="6170414"/>
            </a:xfrm>
            <a:prstGeom prst="rect">
              <a:avLst/>
            </a:prstGeom>
          </p:spPr>
        </p:pic>
        <p:sp>
          <p:nvSpPr>
            <p:cNvPr id="53" name="Retângulo 52"/>
            <p:cNvSpPr/>
            <p:nvPr/>
          </p:nvSpPr>
          <p:spPr>
            <a:xfrm>
              <a:off x="-528951" y="0"/>
              <a:ext cx="11377739" cy="6170613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pic>
        <p:nvPicPr>
          <p:cNvPr id="5" name="Grafik 4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9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5881410" y="1549155"/>
            <a:ext cx="4835668" cy="3907185"/>
            <a:chOff x="468036" y="1522891"/>
            <a:chExt cx="4835668" cy="3907185"/>
          </a:xfrm>
        </p:grpSpPr>
        <p:sp>
          <p:nvSpPr>
            <p:cNvPr id="41" name="Espaço Reservado para Conteúdo 10"/>
            <p:cNvSpPr txBox="1">
              <a:spLocks/>
            </p:cNvSpPr>
            <p:nvPr>
              <p:custDataLst>
                <p:tags r:id="rId39"/>
              </p:custDataLst>
            </p:nvPr>
          </p:nvSpPr>
          <p:spPr>
            <a:xfrm>
              <a:off x="468036" y="1939252"/>
              <a:ext cx="4344041" cy="3490824"/>
            </a:xfrm>
            <a:prstGeom prst="rect">
              <a:avLst/>
            </a:prstGeom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rotWithShape="0">
                      <a:scrgbClr r="0" g="0" b="0"/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0" tIns="0" rIns="0" bIns="0" rtlCol="0" anchor="t">
              <a:noAutofit/>
            </a:bodyPr>
            <a:lstStyle>
              <a:lvl1pPr marL="251460" indent="-251460" algn="l" defTabSz="822716" rtl="0" eaLnBrk="1" latinLnBrk="0" hangingPunct="1">
                <a:lnSpc>
                  <a:spcPct val="107000"/>
                </a:lnSpc>
                <a:spcBef>
                  <a:spcPts val="500"/>
                </a:spcBef>
                <a:buClrTx/>
                <a:buSzPct val="100000"/>
                <a:buFont typeface="Wingdings 3" panose="05040102010807070707" pitchFamily="18" charset="2"/>
                <a:buChar char=""/>
                <a:defRPr sz="18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1pPr>
              <a:lvl2pPr marL="508000" indent="-27432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 typeface="Wingdings 3" panose="05040102010807070707" pitchFamily="18" charset="2"/>
                <a:buChar char=""/>
                <a:defRPr sz="16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2pPr>
              <a:lvl3pPr marL="730250" indent="-204470" algn="l" defTabSz="822716" rtl="0" eaLnBrk="1" latinLnBrk="0" hangingPunct="1">
                <a:lnSpc>
                  <a:spcPct val="102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4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3pPr>
              <a:lvl4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4pPr>
              <a:lvl5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5pPr>
              <a:lvl6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6pPr>
              <a:lvl7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7pPr>
              <a:lvl8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8pPr>
              <a:lvl9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 baseline="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9pPr>
            </a:lstStyle>
            <a:p>
              <a:pPr marL="251460" marR="0" lvl="0" indent="-251460" algn="just" defTabSz="822716" rtl="0" eaLnBrk="1" fontAlgn="auto" latinLnBrk="0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Wingdings 3" panose="05040102010807070707" pitchFamily="18" charset="2"/>
                <a:buChar char=""/>
                <a:tabLst/>
                <a:defRPr/>
              </a:pPr>
              <a:r>
                <a:rPr kumimoji="0" lang="pt-BR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399A0"/>
                  </a:solidFill>
                  <a:effectLst/>
                  <a:uLnTx/>
                  <a:uFillTx/>
                </a:rPr>
                <a:t>  </a:t>
              </a:r>
              <a:r>
                <a:rPr lang="pt-BR" sz="1400" b="1" dirty="0" smtClean="0">
                  <a:solidFill>
                    <a:sysClr val="windowText" lastClr="000000"/>
                  </a:solidFill>
                </a:rPr>
                <a:t>Software de Aplicação</a:t>
              </a:r>
              <a:r>
                <a:rPr kumimoji="0" lang="pt-BR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(FEATURE)</a:t>
              </a:r>
              <a:r>
                <a:rPr kumimoji="0" lang="pt-BR" sz="1400" b="1" i="0" u="none" strike="noStrike" kern="1200" cap="none" spc="0" normalizeH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</a:t>
              </a:r>
              <a:r>
                <a:rPr lang="pt-BR" sz="1400" dirty="0" smtClean="0">
                  <a:solidFill>
                    <a:sysClr val="windowText" lastClr="000000"/>
                  </a:solidFill>
                </a:rPr>
                <a:t>que assegura a compatibilidade </a:t>
              </a:r>
            </a:p>
            <a:p>
              <a:pPr marL="251460" marR="0" lvl="0" indent="-251460" algn="just" defTabSz="822716" rtl="0" eaLnBrk="1" fontAlgn="auto" latinLnBrk="0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9C85"/>
                </a:buClr>
                <a:buSzPct val="100000"/>
                <a:buFont typeface="Wingdings 3" panose="05040102010807070707" pitchFamily="18" charset="2"/>
                <a:buChar char=""/>
                <a:tabLst/>
                <a:defRPr/>
              </a:pPr>
              <a:r>
                <a:rPr lang="pt-BR" sz="1400" b="1" noProof="0" dirty="0" smtClean="0">
                  <a:solidFill>
                    <a:sysClr val="windowText" lastClr="000000"/>
                  </a:solidFill>
                </a:rPr>
                <a:t>Sistema Operacional </a:t>
              </a:r>
              <a:r>
                <a:rPr kumimoji="0" lang="pt-BR" sz="1400" b="1" i="0" u="none" strike="noStrike" kern="1200" cap="none" spc="0" normalizeH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(NEVONEX) </a:t>
              </a:r>
              <a:r>
                <a:rPr lang="pt-BR" sz="1400" dirty="0" smtClean="0">
                  <a:solidFill>
                    <a:sysClr val="windowText" lastClr="000000"/>
                  </a:solidFill>
                </a:rPr>
                <a:t>que assegura a funcionalidade</a:t>
              </a:r>
            </a:p>
            <a:p>
              <a:pPr marL="251460" marR="0" lvl="0" indent="-251460" algn="just" defTabSz="822716" rtl="0" eaLnBrk="1" fontAlgn="auto" latinLnBrk="0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009C85"/>
                </a:buClr>
                <a:buSzPct val="100000"/>
                <a:buFont typeface="Wingdings 3" panose="05040102010807070707" pitchFamily="18" charset="2"/>
                <a:buChar char=""/>
                <a:tabLst/>
                <a:defRPr/>
              </a:pPr>
              <a:r>
                <a:rPr lang="pt-BR" sz="1400" b="1" dirty="0" smtClean="0">
                  <a:solidFill>
                    <a:sysClr val="windowText" lastClr="000000"/>
                  </a:solidFill>
                </a:rPr>
                <a:t>Meio de Transporta (</a:t>
              </a:r>
              <a:r>
                <a:rPr lang="pt-BR" sz="1400" b="1" dirty="0" err="1" smtClean="0">
                  <a:solidFill>
                    <a:sysClr val="windowText" lastClr="000000"/>
                  </a:solidFill>
                </a:rPr>
                <a:t>Cloud</a:t>
              </a:r>
              <a:r>
                <a:rPr lang="pt-BR" sz="1400" b="1" dirty="0" smtClean="0">
                  <a:solidFill>
                    <a:sysClr val="windowText" lastClr="000000"/>
                  </a:solidFill>
                </a:rPr>
                <a:t>)</a:t>
              </a:r>
              <a:r>
                <a:rPr lang="pt-BR" sz="1400" dirty="0" smtClean="0">
                  <a:solidFill>
                    <a:sysClr val="windowText" lastClr="000000"/>
                  </a:solidFill>
                </a:rPr>
                <a:t> que é seguro de ponta a ponta </a:t>
              </a:r>
            </a:p>
            <a:p>
              <a:pPr algn="just" fontAlgn="auto">
                <a:spcBef>
                  <a:spcPts val="600"/>
                </a:spcBef>
                <a:spcAft>
                  <a:spcPts val="0"/>
                </a:spcAft>
                <a:buClr>
                  <a:srgbClr val="009C85"/>
                </a:buClr>
                <a:defRPr/>
              </a:pPr>
              <a:r>
                <a:rPr lang="pt-BR" sz="1400" b="1" dirty="0" smtClean="0"/>
                <a:t>Hardware (ECU &amp; Conectividade) </a:t>
              </a:r>
              <a:r>
                <a:rPr lang="pt-BR" sz="1400" dirty="0" smtClean="0"/>
                <a:t>que pode instalado de fábrica ou via </a:t>
              </a:r>
              <a:r>
                <a:rPr lang="pt-BR" sz="1400" dirty="0" err="1" smtClean="0"/>
                <a:t>retrofit</a:t>
              </a:r>
              <a:endParaRPr lang="pt-BR" sz="1400" b="1" dirty="0" smtClean="0"/>
            </a:p>
            <a:p>
              <a:pPr algn="just" fontAlgn="auto">
                <a:spcBef>
                  <a:spcPts val="600"/>
                </a:spcBef>
                <a:spcAft>
                  <a:spcPts val="0"/>
                </a:spcAft>
                <a:buClr>
                  <a:srgbClr val="009C85"/>
                </a:buClr>
              </a:pPr>
              <a:r>
                <a:rPr lang="pt-BR" sz="1300" b="1" dirty="0" smtClean="0">
                  <a:solidFill>
                    <a:sysClr val="windowText" lastClr="000000"/>
                  </a:solidFill>
                </a:rPr>
                <a:t>Ecossistema Tecnológico </a:t>
              </a:r>
            </a:p>
            <a:p>
              <a:pPr lvl="1" algn="just" fontAlgn="auto">
                <a:spcBef>
                  <a:spcPts val="600"/>
                </a:spcBef>
                <a:spcAft>
                  <a:spcPts val="0"/>
                </a:spcAft>
                <a:buClr>
                  <a:srgbClr val="009C85"/>
                </a:buClr>
              </a:pPr>
              <a:r>
                <a:rPr lang="pt-BR" sz="1400" dirty="0" smtClean="0">
                  <a:solidFill>
                    <a:sysClr val="windowText" lastClr="000000"/>
                  </a:solidFill>
                </a:rPr>
                <a:t>Plataforma aberta para integração de máquinas</a:t>
              </a:r>
            </a:p>
            <a:p>
              <a:pPr lvl="1" algn="just" fontAlgn="auto">
                <a:spcBef>
                  <a:spcPts val="600"/>
                </a:spcBef>
                <a:spcAft>
                  <a:spcPts val="0"/>
                </a:spcAft>
                <a:buClr>
                  <a:srgbClr val="009C85"/>
                </a:buClr>
              </a:pPr>
              <a:r>
                <a:rPr lang="pt-BR" sz="1400" dirty="0" smtClean="0">
                  <a:solidFill>
                    <a:sysClr val="windowText" lastClr="000000"/>
                  </a:solidFill>
                </a:rPr>
                <a:t>Totalmente compatível com ISOBUS</a:t>
              </a:r>
            </a:p>
            <a:p>
              <a:pPr lvl="1" algn="just" fontAlgn="auto">
                <a:spcBef>
                  <a:spcPts val="600"/>
                </a:spcBef>
                <a:spcAft>
                  <a:spcPts val="0"/>
                </a:spcAft>
                <a:buClr>
                  <a:srgbClr val="009C85"/>
                </a:buClr>
              </a:pPr>
              <a:r>
                <a:rPr lang="pt-BR" sz="1400" dirty="0" smtClean="0">
                  <a:solidFill>
                    <a:sysClr val="windowText" lastClr="000000"/>
                  </a:solidFill>
                </a:rPr>
                <a:t>Baseada em testes automotivos</a:t>
              </a:r>
            </a:p>
            <a:p>
              <a:pPr lvl="1" algn="just" fontAlgn="auto">
                <a:spcBef>
                  <a:spcPts val="600"/>
                </a:spcBef>
                <a:spcAft>
                  <a:spcPts val="0"/>
                </a:spcAft>
                <a:buClr>
                  <a:srgbClr val="009C85"/>
                </a:buClr>
              </a:pPr>
              <a:r>
                <a:rPr lang="pt-BR" sz="1400" dirty="0" smtClean="0">
                  <a:solidFill>
                    <a:sysClr val="windowText" lastClr="000000"/>
                  </a:solidFill>
                </a:rPr>
                <a:t>Retrofit ou 0-km</a:t>
              </a:r>
            </a:p>
            <a:p>
              <a:pPr algn="just" fontAlgn="auto">
                <a:spcAft>
                  <a:spcPts val="0"/>
                </a:spcAft>
                <a:buClr>
                  <a:srgbClr val="009C85"/>
                </a:buClr>
                <a:defRPr/>
              </a:pPr>
              <a:endParaRPr lang="pt-BR" sz="1400" b="1" dirty="0" smtClean="0"/>
            </a:p>
            <a:p>
              <a:pPr marL="251460" marR="0" lvl="0" indent="-251460" algn="just" defTabSz="822716" rtl="0" eaLnBrk="1" fontAlgn="auto" latinLnBrk="0" hangingPunct="1">
                <a:lnSpc>
                  <a:spcPct val="107000"/>
                </a:lnSpc>
                <a:spcBef>
                  <a:spcPts val="500"/>
                </a:spcBef>
                <a:spcAft>
                  <a:spcPts val="0"/>
                </a:spcAft>
                <a:buClr>
                  <a:srgbClr val="009C85"/>
                </a:buClr>
                <a:buSzPct val="100000"/>
                <a:buFont typeface="Wingdings 3" panose="05040102010807070707" pitchFamily="18" charset="2"/>
                <a:buChar char=""/>
                <a:tabLst/>
                <a:defRPr/>
              </a:pPr>
              <a:endParaRPr kumimoji="0" lang="pt-BR" sz="1400" b="1" i="0" u="none" strike="noStrike" kern="120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251460" marR="0" lvl="0" indent="-251460" algn="just" defTabSz="822716" rtl="0" eaLnBrk="1" fontAlgn="auto" latinLnBrk="0" hangingPunct="1">
                <a:lnSpc>
                  <a:spcPct val="107000"/>
                </a:lnSpc>
                <a:spcBef>
                  <a:spcPts val="500"/>
                </a:spcBef>
                <a:spcAft>
                  <a:spcPts val="0"/>
                </a:spcAft>
                <a:buClrTx/>
                <a:buSzPct val="100000"/>
                <a:buFont typeface="Wingdings 3" panose="05040102010807070707" pitchFamily="18" charset="2"/>
                <a:buChar char=""/>
                <a:tabLst/>
                <a:defRPr/>
              </a:pPr>
              <a:endParaRPr kumimoji="0" lang="pt-BR" sz="1400" b="1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251460" marR="0" lvl="0" indent="-251460" algn="just" defTabSz="822716" rtl="0" eaLnBrk="1" fontAlgn="auto" latinLnBrk="0" hangingPunct="1">
                <a:lnSpc>
                  <a:spcPct val="107000"/>
                </a:lnSpc>
                <a:spcBef>
                  <a:spcPts val="500"/>
                </a:spcBef>
                <a:spcAft>
                  <a:spcPts val="0"/>
                </a:spcAft>
                <a:buClrTx/>
                <a:buSzPct val="100000"/>
                <a:buFont typeface="Wingdings 3" panose="05040102010807070707" pitchFamily="18" charset="2"/>
                <a:buChar char=""/>
                <a:tabLst/>
                <a:defRPr/>
              </a:pPr>
              <a:endPara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  <a:p>
              <a:pPr marL="251460" marR="0" lvl="0" indent="-251460" algn="just" defTabSz="822716" rtl="0" eaLnBrk="1" fontAlgn="auto" latinLnBrk="0" hangingPunct="1">
                <a:lnSpc>
                  <a:spcPct val="107000"/>
                </a:lnSpc>
                <a:spcBef>
                  <a:spcPts val="500"/>
                </a:spcBef>
                <a:spcAft>
                  <a:spcPts val="0"/>
                </a:spcAft>
                <a:buClrTx/>
                <a:buSzPct val="100000"/>
                <a:buFont typeface="Wingdings 3" panose="05040102010807070707" pitchFamily="18" charset="2"/>
                <a:buChar char=""/>
                <a:tabLst/>
                <a:defRPr/>
              </a:pPr>
              <a:endParaRPr kumimoji="0" lang="pt-BR" sz="14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Espaço Reservado para Conteúdo 10"/>
            <p:cNvSpPr txBox="1">
              <a:spLocks/>
            </p:cNvSpPr>
            <p:nvPr>
              <p:custDataLst>
                <p:tags r:id="rId40"/>
              </p:custDataLst>
            </p:nvPr>
          </p:nvSpPr>
          <p:spPr>
            <a:xfrm>
              <a:off x="468036" y="1544808"/>
              <a:ext cx="4835668" cy="356472"/>
            </a:xfrm>
            <a:prstGeom prst="rect">
              <a:avLst/>
            </a:prstGeom>
            <a:noFill/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  <p:txBody>
            <a:bodyPr vert="horz" wrap="square" lIns="0" tIns="0" rIns="0" bIns="0" rtlCol="0" anchor="t">
              <a:noAutofit/>
            </a:bodyPr>
            <a:lstStyle>
              <a:lvl1pPr marL="251460" indent="-251460" algn="l" defTabSz="822716" rtl="0" eaLnBrk="1" latinLnBrk="0" hangingPunct="1">
                <a:lnSpc>
                  <a:spcPct val="107000"/>
                </a:lnSpc>
                <a:spcBef>
                  <a:spcPts val="500"/>
                </a:spcBef>
                <a:buClrTx/>
                <a:buSzPct val="100000"/>
                <a:buFont typeface="Wingdings 3" panose="05040102010807070707" pitchFamily="18" charset="2"/>
                <a:buChar char=""/>
                <a:defRPr sz="18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1pPr>
              <a:lvl2pPr marL="508000" indent="-27432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 typeface="Wingdings 3" panose="05040102010807070707" pitchFamily="18" charset="2"/>
                <a:buChar char=""/>
                <a:defRPr sz="16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2pPr>
              <a:lvl3pPr marL="730250" indent="-204470" algn="l" defTabSz="822716" rtl="0" eaLnBrk="1" latinLnBrk="0" hangingPunct="1">
                <a:lnSpc>
                  <a:spcPct val="102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4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3pPr>
              <a:lvl4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4pPr>
              <a:lvl5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5pPr>
              <a:lvl6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6pPr>
              <a:lvl7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7pPr>
              <a:lvl8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8pPr>
              <a:lvl9pPr marL="932180" indent="-184150" algn="l" defTabSz="822716" rtl="0" eaLnBrk="1" latinLnBrk="0" hangingPunct="1">
                <a:lnSpc>
                  <a:spcPct val="103000"/>
                </a:lnSpc>
                <a:spcBef>
                  <a:spcPts val="500"/>
                </a:spcBef>
                <a:buClrTx/>
                <a:buSzPct val="100000"/>
                <a:buFontTx/>
                <a:buChar char="‒"/>
                <a:defRPr sz="1300" b="0" i="0" u="none" kern="1200" baseline="0">
                  <a:solidFill>
                    <a:schemeClr val="tx1"/>
                  </a:solidFill>
                  <a:latin typeface="Bosch Office Sans" pitchFamily="2" charset="0"/>
                  <a:ea typeface="+mn-ea"/>
                  <a:cs typeface="+mn-cs"/>
                </a:defRPr>
              </a:lvl9pPr>
            </a:lstStyle>
            <a:p>
              <a:pPr fontAlgn="auto">
                <a:spcAft>
                  <a:spcPts val="0"/>
                </a:spcAft>
              </a:pPr>
              <a:r>
                <a:rPr kumimoji="0" lang="pt-BR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1399A0"/>
                  </a:solidFill>
                  <a:effectLst/>
                  <a:uLnTx/>
                  <a:uFillTx/>
                </a:rPr>
                <a:t> </a:t>
              </a:r>
              <a:r>
                <a:rPr lang="pt-BR" sz="1400" dirty="0" smtClean="0"/>
                <a:t>	</a:t>
              </a:r>
              <a:r>
                <a:rPr lang="pt-BR" sz="1400" dirty="0" smtClean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</a:rPr>
                <a:t>              </a:t>
              </a:r>
              <a:r>
                <a:rPr lang="pt-BR" sz="1300" b="1" dirty="0" smtClean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</a:rPr>
                <a:t>apresenta uma abordagem ecossistêmica</a:t>
              </a:r>
            </a:p>
            <a:p>
              <a:pPr marL="251460" marR="0" lvl="0" indent="-251460" algn="just" defTabSz="822716" rtl="0" eaLnBrk="1" fontAlgn="auto" latinLnBrk="0" hangingPunct="1">
                <a:lnSpc>
                  <a:spcPct val="107000"/>
                </a:lnSpc>
                <a:spcBef>
                  <a:spcPts val="500"/>
                </a:spcBef>
                <a:spcAft>
                  <a:spcPts val="0"/>
                </a:spcAft>
                <a:buClrTx/>
                <a:buSzPct val="100000"/>
                <a:buFont typeface="Wingdings 3" panose="05040102010807070707" pitchFamily="18" charset="2"/>
                <a:buChar char=""/>
                <a:tabLst/>
                <a:defRPr/>
              </a:pPr>
              <a:endPara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47">
              <a:extLst>
                <a:ext uri="{BEBA8EAE-BF5A-486C-A8C5-ECC9F3942E4B}">
                  <a14:imgProps xmlns:a14="http://schemas.microsoft.com/office/drawing/2010/main">
                    <a14:imgLayer r:embed="rId48">
                      <a14:imgEffect>
                        <a14:backgroundRemoval t="0" b="100000" l="0" r="100000">
                          <a14:foregroundMark x1="23737" y1="55000" x2="23737" y2="55000"/>
                          <a14:foregroundMark x1="24242" y1="32500" x2="24242" y2="32500"/>
                          <a14:foregroundMark x1="26263" y1="85000" x2="26263" y2="85000"/>
                          <a14:foregroundMark x1="33333" y1="47500" x2="33333" y2="47500"/>
                          <a14:foregroundMark x1="44444" y1="65000" x2="44444" y2="65000"/>
                          <a14:foregroundMark x1="55051" y1="72500" x2="55051" y2="72500"/>
                          <a14:foregroundMark x1="63636" y1="55000" x2="63636" y2="55000"/>
                          <a14:foregroundMark x1="77778" y1="60000" x2="77778" y2="60000"/>
                          <a14:foregroundMark x1="76768" y1="30000" x2="76768" y2="30000"/>
                          <a14:foregroundMark x1="82828" y1="82500" x2="82828" y2="82500"/>
                          <a14:foregroundMark x1="90909" y1="60000" x2="90909" y2="6000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13114" y="1522891"/>
              <a:ext cx="1207113" cy="243861"/>
            </a:xfrm>
            <a:prstGeom prst="rect">
              <a:avLst/>
            </a:prstGeom>
          </p:spPr>
        </p:pic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47">
              <a:extLst>
                <a:ext uri="{BEBA8EAE-BF5A-486C-A8C5-ECC9F3942E4B}">
                  <a14:imgProps xmlns:a14="http://schemas.microsoft.com/office/drawing/2010/main">
                    <a14:imgLayer r:embed="rId48">
                      <a14:imgEffect>
                        <a14:backgroundRemoval t="0" b="100000" l="0" r="100000">
                          <a14:foregroundMark x1="23737" y1="55000" x2="23737" y2="55000"/>
                          <a14:foregroundMark x1="24242" y1="32500" x2="24242" y2="32500"/>
                          <a14:foregroundMark x1="26263" y1="85000" x2="26263" y2="85000"/>
                          <a14:foregroundMark x1="33333" y1="47500" x2="33333" y2="47500"/>
                          <a14:foregroundMark x1="44444" y1="65000" x2="44444" y2="65000"/>
                          <a14:foregroundMark x1="55051" y1="72500" x2="55051" y2="72500"/>
                          <a14:foregroundMark x1="63636" y1="55000" x2="63636" y2="55000"/>
                          <a14:foregroundMark x1="77778" y1="60000" x2="77778" y2="60000"/>
                          <a14:foregroundMark x1="76768" y1="30000" x2="76768" y2="30000"/>
                          <a14:foregroundMark x1="82828" y1="82500" x2="82828" y2="82500"/>
                          <a14:foregroundMark x1="90909" y1="60000" x2="90909" y2="6000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2808149" y="4026942"/>
              <a:ext cx="1207113" cy="243861"/>
            </a:xfrm>
            <a:prstGeom prst="rect">
              <a:avLst/>
            </a:prstGeom>
          </p:spPr>
        </p:pic>
      </p:grpSp>
      <p:grpSp>
        <p:nvGrpSpPr>
          <p:cNvPr id="16" name="Gruppieren 120"/>
          <p:cNvGrpSpPr/>
          <p:nvPr/>
        </p:nvGrpSpPr>
        <p:grpSpPr>
          <a:xfrm>
            <a:off x="287457" y="1356252"/>
            <a:ext cx="5471413" cy="4462619"/>
            <a:chOff x="5353286" y="1166021"/>
            <a:chExt cx="5471413" cy="4462619"/>
          </a:xfrm>
        </p:grpSpPr>
        <p:sp>
          <p:nvSpPr>
            <p:cNvPr id="17" name="Rechteck 23"/>
            <p:cNvSpPr/>
            <p:nvPr/>
          </p:nvSpPr>
          <p:spPr>
            <a:xfrm>
              <a:off x="9114699" y="1166021"/>
              <a:ext cx="1710000" cy="44626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800" dirty="0">
                <a:latin typeface="Bosch Office Sans" pitchFamily="2" charset="0"/>
              </a:endParaRPr>
            </a:p>
          </p:txBody>
        </p:sp>
        <p:sp>
          <p:nvSpPr>
            <p:cNvPr id="18" name="Rechteck 24"/>
            <p:cNvSpPr/>
            <p:nvPr/>
          </p:nvSpPr>
          <p:spPr>
            <a:xfrm>
              <a:off x="7232290" y="1168095"/>
              <a:ext cx="1710000" cy="446054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800" dirty="0">
                <a:latin typeface="Bosch Office Sans" pitchFamily="2" charset="0"/>
              </a:endParaRPr>
            </a:p>
          </p:txBody>
        </p:sp>
        <p:sp>
          <p:nvSpPr>
            <p:cNvPr id="19" name="Rechteck 25"/>
            <p:cNvSpPr/>
            <p:nvPr/>
          </p:nvSpPr>
          <p:spPr>
            <a:xfrm>
              <a:off x="5353286" y="1168095"/>
              <a:ext cx="1710064" cy="446054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4800" dirty="0">
                <a:latin typeface="Bosch Office Sans" pitchFamily="2" charset="0"/>
              </a:endParaRPr>
            </a:p>
          </p:txBody>
        </p:sp>
        <p:sp>
          <p:nvSpPr>
            <p:cNvPr id="20" name="Textfeld 30"/>
            <p:cNvSpPr txBox="1"/>
            <p:nvPr>
              <p:custDataLst>
                <p:tags r:id="rId5"/>
              </p:custDataLst>
            </p:nvPr>
          </p:nvSpPr>
          <p:spPr>
            <a:xfrm>
              <a:off x="5726473" y="1274157"/>
              <a:ext cx="977277" cy="1769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lnSpc>
                  <a:spcPct val="107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1200" b="1" kern="0" dirty="0" smtClean="0">
                  <a:latin typeface="Bosch Office Sans" pitchFamily="2" charset="0"/>
                </a:rPr>
                <a:t>Camada</a:t>
              </a:r>
              <a:endParaRPr kumimoji="0" lang="pt-BR" sz="12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Bosch Office Sans" pitchFamily="2" charset="0"/>
              </a:endParaRPr>
            </a:p>
          </p:txBody>
        </p:sp>
        <p:sp>
          <p:nvSpPr>
            <p:cNvPr id="21" name="Textfeld 47"/>
            <p:cNvSpPr txBox="1"/>
            <p:nvPr>
              <p:custDataLst>
                <p:tags r:id="rId6"/>
              </p:custDataLst>
            </p:nvPr>
          </p:nvSpPr>
          <p:spPr>
            <a:xfrm>
              <a:off x="7624287" y="1274157"/>
              <a:ext cx="977277" cy="1769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lnSpc>
                  <a:spcPct val="107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1200" b="1" kern="0" noProof="0" dirty="0" smtClean="0">
                  <a:latin typeface="Bosch Office Sans" pitchFamily="2" charset="0"/>
                </a:rPr>
                <a:t>Mercado de Consumo</a:t>
              </a:r>
              <a:endParaRPr kumimoji="0" lang="pt-BR" sz="12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Bosch Office Sans" pitchFamily="2" charset="0"/>
              </a:endParaRPr>
            </a:p>
          </p:txBody>
        </p:sp>
        <p:sp>
          <p:nvSpPr>
            <p:cNvPr id="22" name="Textfeld 48"/>
            <p:cNvSpPr txBox="1"/>
            <p:nvPr>
              <p:custDataLst>
                <p:tags r:id="rId7"/>
              </p:custDataLst>
            </p:nvPr>
          </p:nvSpPr>
          <p:spPr>
            <a:xfrm>
              <a:off x="9480135" y="1263835"/>
              <a:ext cx="977277" cy="176916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marR="0" algn="ctr" defTabSz="914400" eaLnBrk="1" fontAlgn="auto" latinLnBrk="0" hangingPunct="1">
                <a:lnSpc>
                  <a:spcPct val="107000"/>
                </a:lnSpc>
                <a:spcBef>
                  <a:spcPts val="5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pt-BR" sz="1200" b="1" kern="0" dirty="0" smtClean="0">
                  <a:latin typeface="Bosch Office Sans" pitchFamily="2" charset="0"/>
                </a:rPr>
                <a:t>Agricultura de Precisão</a:t>
              </a:r>
              <a:endParaRPr kumimoji="0" lang="pt-BR" sz="1200" b="1" i="0" u="none" strike="noStrike" kern="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Bosch Office Sans" pitchFamily="2" charset="0"/>
              </a:endParaRPr>
            </a:p>
          </p:txBody>
        </p:sp>
        <p:grpSp>
          <p:nvGrpSpPr>
            <p:cNvPr id="23" name="Gruppieren 104"/>
            <p:cNvGrpSpPr/>
            <p:nvPr/>
          </p:nvGrpSpPr>
          <p:grpSpPr>
            <a:xfrm>
              <a:off x="5428277" y="1579705"/>
              <a:ext cx="5280297" cy="543475"/>
              <a:chOff x="5428277" y="1579705"/>
              <a:chExt cx="5280297" cy="543475"/>
            </a:xfrm>
          </p:grpSpPr>
          <p:sp>
            <p:nvSpPr>
              <p:cNvPr id="92" name="Rechteck 26"/>
              <p:cNvSpPr/>
              <p:nvPr/>
            </p:nvSpPr>
            <p:spPr>
              <a:xfrm>
                <a:off x="6875682" y="1741167"/>
                <a:ext cx="2512867" cy="220551"/>
              </a:xfrm>
              <a:prstGeom prst="rect">
                <a:avLst/>
              </a:prstGeom>
              <a:solidFill>
                <a:srgbClr val="D8E2F0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5400" dirty="0">
                  <a:latin typeface="Bosch Office Sans" pitchFamily="2" charset="0"/>
                </a:endParaRPr>
              </a:p>
            </p:txBody>
          </p:sp>
          <p:grpSp>
            <p:nvGrpSpPr>
              <p:cNvPr id="93" name="Gruppieren 91"/>
              <p:cNvGrpSpPr/>
              <p:nvPr/>
            </p:nvGrpSpPr>
            <p:grpSpPr>
              <a:xfrm>
                <a:off x="5428277" y="1579705"/>
                <a:ext cx="1533255" cy="543475"/>
                <a:chOff x="5428277" y="1578632"/>
                <a:chExt cx="1533255" cy="543475"/>
              </a:xfrm>
            </p:grpSpPr>
            <p:sp>
              <p:nvSpPr>
                <p:cNvPr id="98" name="Gleichschenkliges Dreieck 31"/>
                <p:cNvSpPr/>
                <p:nvPr>
                  <p:custDataLst>
                    <p:tags r:id="rId35"/>
                  </p:custDataLst>
                </p:nvPr>
              </p:nvSpPr>
              <p:spPr>
                <a:xfrm rot="5400000">
                  <a:off x="6751430" y="1794663"/>
                  <a:ext cx="313714" cy="106490"/>
                </a:xfrm>
                <a:prstGeom prst="triangle">
                  <a:avLst/>
                </a:prstGeom>
                <a:solidFill>
                  <a:srgbClr val="096DB2"/>
                </a:solidFill>
                <a:ln w="952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pt-B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osch Office Sans" pitchFamily="2" charset="0"/>
                  </a:endParaRPr>
                </a:p>
              </p:txBody>
            </p:sp>
            <p:grpSp>
              <p:nvGrpSpPr>
                <p:cNvPr id="99" name="Gruppieren 84"/>
                <p:cNvGrpSpPr/>
                <p:nvPr/>
              </p:nvGrpSpPr>
              <p:grpSpPr>
                <a:xfrm>
                  <a:off x="5428277" y="1578632"/>
                  <a:ext cx="1477820" cy="543475"/>
                  <a:chOff x="5428291" y="1578632"/>
                  <a:chExt cx="1477820" cy="543475"/>
                </a:xfrm>
              </p:grpSpPr>
              <p:sp>
                <p:nvSpPr>
                  <p:cNvPr id="100" name="Rechteck 32"/>
                  <p:cNvSpPr/>
                  <p:nvPr>
                    <p:custDataLst>
                      <p:tags r:id="rId36"/>
                    </p:custDataLst>
                  </p:nvPr>
                </p:nvSpPr>
                <p:spPr>
                  <a:xfrm>
                    <a:off x="5428291" y="1578632"/>
                    <a:ext cx="1477820" cy="543475"/>
                  </a:xfrm>
                  <a:prstGeom prst="rect">
                    <a:avLst/>
                  </a:prstGeom>
                  <a:solidFill>
                    <a:schemeClr val="bg1"/>
                  </a:solidFill>
                  <a:ln w="15875" cap="flat" cmpd="sng" algn="ctr">
                    <a:solidFill>
                      <a:srgbClr val="096DB2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pt-BR" sz="105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Bosch Office Sans" pitchFamily="2" charset="0"/>
                    </a:endParaRPr>
                  </a:p>
                </p:txBody>
              </p:sp>
              <p:sp>
                <p:nvSpPr>
                  <p:cNvPr id="101" name="Rechteck 33"/>
                  <p:cNvSpPr/>
                  <p:nvPr>
                    <p:custDataLst>
                      <p:tags r:id="rId37"/>
                    </p:custDataLst>
                  </p:nvPr>
                </p:nvSpPr>
                <p:spPr>
                  <a:xfrm>
                    <a:off x="5734437" y="1699564"/>
                    <a:ext cx="1088367" cy="300238"/>
                  </a:xfrm>
                  <a:prstGeom prst="rect">
                    <a:avLst/>
                  </a:prstGeom>
                  <a:no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r>
                      <a:rPr lang="pt-BR" sz="1200" b="1" kern="0" dirty="0" smtClean="0">
                        <a:latin typeface="Bosch Office Sans" pitchFamily="2" charset="0"/>
                      </a:rPr>
                      <a:t>Software de Aplicação</a:t>
                    </a:r>
                    <a:endParaRPr lang="pt-BR" sz="1200" b="1" kern="0" dirty="0">
                      <a:latin typeface="Bosch Office Sans" pitchFamily="2" charset="0"/>
                    </a:endParaRPr>
                  </a:p>
                </p:txBody>
              </p:sp>
              <p:sp>
                <p:nvSpPr>
                  <p:cNvPr id="102" name="Rechteck 34"/>
                  <p:cNvSpPr/>
                  <p:nvPr>
                    <p:custDataLst>
                      <p:tags r:id="rId38"/>
                    </p:custDataLst>
                  </p:nvPr>
                </p:nvSpPr>
                <p:spPr>
                  <a:xfrm>
                    <a:off x="5500685" y="1749163"/>
                    <a:ext cx="158161" cy="163762"/>
                  </a:xfrm>
                  <a:prstGeom prst="rect">
                    <a:avLst/>
                  </a:prstGeom>
                  <a:solidFill>
                    <a:srgbClr val="096DB2"/>
                  </a:solidFill>
                  <a:ln w="22225" cap="flat" cmpd="sng" algn="ctr">
                    <a:solidFill>
                      <a:schemeClr val="bg1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r>
                      <a:rPr lang="pt-BR" sz="800" b="1" kern="0" dirty="0" smtClean="0">
                        <a:solidFill>
                          <a:schemeClr val="bg1"/>
                        </a:solidFill>
                        <a:latin typeface="Bosch Office Sans" pitchFamily="2" charset="0"/>
                      </a:rPr>
                      <a:t>1</a:t>
                    </a:r>
                    <a:endParaRPr lang="pt-BR" sz="800" b="1" kern="0" dirty="0">
                      <a:solidFill>
                        <a:schemeClr val="bg1"/>
                      </a:solidFill>
                      <a:latin typeface="Bosch Office Sans" pitchFamily="2" charset="0"/>
                    </a:endParaRPr>
                  </a:p>
                </p:txBody>
              </p:sp>
            </p:grpSp>
          </p:grpSp>
          <p:grpSp>
            <p:nvGrpSpPr>
              <p:cNvPr id="94" name="Gruppieren 49"/>
              <p:cNvGrpSpPr/>
              <p:nvPr/>
            </p:nvGrpSpPr>
            <p:grpSpPr>
              <a:xfrm>
                <a:off x="7343702" y="1579705"/>
                <a:ext cx="1479600" cy="543475"/>
                <a:chOff x="4640753" y="1348342"/>
                <a:chExt cx="2099960" cy="746462"/>
              </a:xfrm>
            </p:grpSpPr>
            <p:sp>
              <p:nvSpPr>
                <p:cNvPr id="96" name="Rechteck 50"/>
                <p:cNvSpPr/>
                <p:nvPr>
                  <p:custDataLst>
                    <p:tags r:id="rId34"/>
                  </p:custDataLst>
                </p:nvPr>
              </p:nvSpPr>
              <p:spPr>
                <a:xfrm>
                  <a:off x="4640753" y="1348342"/>
                  <a:ext cx="2099960" cy="746462"/>
                </a:xfrm>
                <a:prstGeom prst="rect">
                  <a:avLst/>
                </a:prstGeom>
                <a:solidFill>
                  <a:schemeClr val="bg1"/>
                </a:solidFill>
                <a:ln w="1587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lIns="144000" rtlCol="0" anchor="ctr"/>
                <a:lstStyle/>
                <a:p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Aplicativo</a:t>
                  </a:r>
                  <a:endParaRPr lang="pt-BR" sz="1200" b="1" kern="0" dirty="0">
                    <a:solidFill>
                      <a:srgbClr val="000000"/>
                    </a:solidFill>
                    <a:latin typeface="Bosch Office Sans" pitchFamily="2" charset="0"/>
                  </a:endParaRPr>
                </a:p>
              </p:txBody>
            </p:sp>
            <p:pic>
              <p:nvPicPr>
                <p:cNvPr id="97" name="Grafik 51"/>
                <p:cNvPicPr>
                  <a:picLocks noChangeAspect="1"/>
                </p:cNvPicPr>
                <p:nvPr/>
              </p:nvPicPr>
              <p:blipFill rotWithShape="1">
                <a:blip r:embed="rId49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6164899" y="1503027"/>
                  <a:ext cx="420643" cy="420643"/>
                </a:xfrm>
                <a:prstGeom prst="roundRect">
                  <a:avLst/>
                </a:prstGeom>
                <a:ln>
                  <a:solidFill>
                    <a:schemeClr val="tx2"/>
                  </a:solidFill>
                </a:ln>
                <a:effectLst>
                  <a:outerShdw blurRad="50800" dir="2700000" algn="tl" rotWithShape="0">
                    <a:prstClr val="black">
                      <a:alpha val="40000"/>
                    </a:prstClr>
                  </a:outerShdw>
                </a:effectLst>
              </p:spPr>
            </p:pic>
          </p:grpSp>
          <p:sp>
            <p:nvSpPr>
              <p:cNvPr id="95" name="Rechteck 59"/>
              <p:cNvSpPr/>
              <p:nvPr>
                <p:custDataLst>
                  <p:tags r:id="rId33"/>
                </p:custDataLst>
              </p:nvPr>
            </p:nvSpPr>
            <p:spPr>
              <a:xfrm>
                <a:off x="9228974" y="1579705"/>
                <a:ext cx="1479600" cy="543475"/>
              </a:xfrm>
              <a:prstGeom prst="rect">
                <a:avLst/>
              </a:prstGeom>
              <a:solidFill>
                <a:schemeClr val="bg1"/>
              </a:solidFill>
              <a:ln w="15875" cap="flat" cmpd="sng" algn="ctr">
                <a:solidFill>
                  <a:srgbClr val="096DB2"/>
                </a:solidFill>
                <a:prstDash val="solid"/>
              </a:ln>
              <a:effectLst/>
            </p:spPr>
            <p:txBody>
              <a:bodyPr lIns="144000" rtlCol="0" anchor="ctr"/>
              <a:lstStyle/>
              <a:p>
                <a:r>
                  <a:rPr lang="pt-BR" sz="1200" b="1" kern="0" dirty="0" smtClean="0">
                    <a:solidFill>
                      <a:srgbClr val="000000"/>
                    </a:solidFill>
                    <a:latin typeface="Bosch Office Sans" pitchFamily="2" charset="0"/>
                  </a:rPr>
                  <a:t>FEATURE</a:t>
                </a:r>
                <a:endParaRPr lang="pt-BR" sz="1200" b="1" kern="0" dirty="0">
                  <a:solidFill>
                    <a:srgbClr val="000000"/>
                  </a:solidFill>
                  <a:latin typeface="Bosch Office Sans" pitchFamily="2" charset="0"/>
                </a:endParaRPr>
              </a:p>
            </p:txBody>
          </p:sp>
        </p:grpSp>
        <p:grpSp>
          <p:nvGrpSpPr>
            <p:cNvPr id="24" name="Gruppieren 105"/>
            <p:cNvGrpSpPr/>
            <p:nvPr/>
          </p:nvGrpSpPr>
          <p:grpSpPr>
            <a:xfrm>
              <a:off x="5428277" y="2250216"/>
              <a:ext cx="5378943" cy="543475"/>
              <a:chOff x="5428277" y="2267778"/>
              <a:chExt cx="5378943" cy="543475"/>
            </a:xfrm>
          </p:grpSpPr>
          <p:sp>
            <p:nvSpPr>
              <p:cNvPr id="79" name="Rechteck 27"/>
              <p:cNvSpPr/>
              <p:nvPr/>
            </p:nvSpPr>
            <p:spPr>
              <a:xfrm>
                <a:off x="6818311" y="2429240"/>
                <a:ext cx="3016806" cy="220551"/>
              </a:xfrm>
              <a:prstGeom prst="rect">
                <a:avLst/>
              </a:prstGeom>
              <a:solidFill>
                <a:srgbClr val="D8E2F0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5400" dirty="0">
                  <a:latin typeface="Bosch Office Sans" pitchFamily="2" charset="0"/>
                </a:endParaRPr>
              </a:p>
            </p:txBody>
          </p:sp>
          <p:grpSp>
            <p:nvGrpSpPr>
              <p:cNvPr id="80" name="Gruppieren 92"/>
              <p:cNvGrpSpPr/>
              <p:nvPr/>
            </p:nvGrpSpPr>
            <p:grpSpPr>
              <a:xfrm>
                <a:off x="5428277" y="2268112"/>
                <a:ext cx="1533254" cy="542807"/>
                <a:chOff x="5428277" y="2159057"/>
                <a:chExt cx="1533254" cy="542807"/>
              </a:xfrm>
            </p:grpSpPr>
            <p:sp>
              <p:nvSpPr>
                <p:cNvPr id="87" name="Gleichschenkliges Dreieck 35"/>
                <p:cNvSpPr/>
                <p:nvPr>
                  <p:custDataLst>
                    <p:tags r:id="rId29"/>
                  </p:custDataLst>
                </p:nvPr>
              </p:nvSpPr>
              <p:spPr>
                <a:xfrm rot="5400000">
                  <a:off x="6751118" y="2368596"/>
                  <a:ext cx="313714" cy="107113"/>
                </a:xfrm>
                <a:prstGeom prst="triangle">
                  <a:avLst/>
                </a:prstGeom>
                <a:solidFill>
                  <a:srgbClr val="096DB2"/>
                </a:solidFill>
                <a:ln w="952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pt-B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osch Office Sans" pitchFamily="2" charset="0"/>
                  </a:endParaRPr>
                </a:p>
              </p:txBody>
            </p:sp>
            <p:grpSp>
              <p:nvGrpSpPr>
                <p:cNvPr id="88" name="Gruppieren 83"/>
                <p:cNvGrpSpPr/>
                <p:nvPr/>
              </p:nvGrpSpPr>
              <p:grpSpPr>
                <a:xfrm>
                  <a:off x="5428277" y="2159057"/>
                  <a:ext cx="1477820" cy="542807"/>
                  <a:chOff x="5428292" y="2392975"/>
                  <a:chExt cx="1477820" cy="542807"/>
                </a:xfrm>
              </p:grpSpPr>
              <p:sp>
                <p:nvSpPr>
                  <p:cNvPr id="89" name="Rechteck 36"/>
                  <p:cNvSpPr/>
                  <p:nvPr>
                    <p:custDataLst>
                      <p:tags r:id="rId30"/>
                    </p:custDataLst>
                  </p:nvPr>
                </p:nvSpPr>
                <p:spPr>
                  <a:xfrm>
                    <a:off x="5428292" y="2392975"/>
                    <a:ext cx="1477820" cy="542807"/>
                  </a:xfrm>
                  <a:prstGeom prst="rect">
                    <a:avLst/>
                  </a:prstGeom>
                  <a:solidFill>
                    <a:schemeClr val="bg1"/>
                  </a:solidFill>
                  <a:ln w="15875" cap="flat" cmpd="sng" algn="ctr">
                    <a:solidFill>
                      <a:srgbClr val="096DB2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pt-BR" sz="4800" kern="0" dirty="0">
                      <a:solidFill>
                        <a:srgbClr val="000000"/>
                      </a:solidFill>
                      <a:latin typeface="Bosch Office Sans" pitchFamily="2" charset="0"/>
                    </a:endParaRPr>
                  </a:p>
                </p:txBody>
              </p:sp>
              <p:sp>
                <p:nvSpPr>
                  <p:cNvPr id="90" name="Rechteck 37"/>
                  <p:cNvSpPr/>
                  <p:nvPr>
                    <p:custDataLst>
                      <p:tags r:id="rId31"/>
                    </p:custDataLst>
                  </p:nvPr>
                </p:nvSpPr>
                <p:spPr>
                  <a:xfrm>
                    <a:off x="5737392" y="2519029"/>
                    <a:ext cx="1094741" cy="300238"/>
                  </a:xfrm>
                  <a:prstGeom prst="rect">
                    <a:avLst/>
                  </a:prstGeom>
                  <a:no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r>
                      <a:rPr lang="pt-BR" sz="1200" b="1" kern="0" dirty="0" smtClean="0">
                        <a:latin typeface="Bosch Office Sans" pitchFamily="2" charset="0"/>
                      </a:rPr>
                      <a:t>Sistema Operacional</a:t>
                    </a:r>
                    <a:endParaRPr lang="pt-BR" sz="1200" b="1" kern="0" dirty="0">
                      <a:latin typeface="Bosch Office Sans" pitchFamily="2" charset="0"/>
                    </a:endParaRPr>
                  </a:p>
                </p:txBody>
              </p:sp>
              <p:sp>
                <p:nvSpPr>
                  <p:cNvPr id="91" name="Rechteck 38"/>
                  <p:cNvSpPr/>
                  <p:nvPr>
                    <p:custDataLst>
                      <p:tags r:id="rId32"/>
                    </p:custDataLst>
                  </p:nvPr>
                </p:nvSpPr>
                <p:spPr>
                  <a:xfrm>
                    <a:off x="5501110" y="2562837"/>
                    <a:ext cx="159087" cy="163762"/>
                  </a:xfrm>
                  <a:prstGeom prst="rect">
                    <a:avLst/>
                  </a:prstGeom>
                  <a:solidFill>
                    <a:srgbClr val="096DB2"/>
                  </a:solidFill>
                  <a:ln w="22225" cap="flat" cmpd="sng" algn="ctr">
                    <a:solidFill>
                      <a:schemeClr val="bg1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pt-BR" sz="8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Bosch Office Sans" pitchFamily="2" charset="0"/>
                      </a:rPr>
                      <a:t>2</a:t>
                    </a:r>
                  </a:p>
                </p:txBody>
              </p:sp>
            </p:grpSp>
          </p:grpSp>
          <p:grpSp>
            <p:nvGrpSpPr>
              <p:cNvPr id="81" name="Gruppieren 52"/>
              <p:cNvGrpSpPr/>
              <p:nvPr/>
            </p:nvGrpSpPr>
            <p:grpSpPr>
              <a:xfrm>
                <a:off x="7343702" y="2267778"/>
                <a:ext cx="1479600" cy="543475"/>
                <a:chOff x="4629096" y="2507548"/>
                <a:chExt cx="1907645" cy="746462"/>
              </a:xfrm>
            </p:grpSpPr>
            <p:sp>
              <p:nvSpPr>
                <p:cNvPr id="85" name="Rechteck 53"/>
                <p:cNvSpPr/>
                <p:nvPr>
                  <p:custDataLst>
                    <p:tags r:id="rId28"/>
                  </p:custDataLst>
                </p:nvPr>
              </p:nvSpPr>
              <p:spPr>
                <a:xfrm>
                  <a:off x="4629096" y="2507548"/>
                  <a:ext cx="1907645" cy="746462"/>
                </a:xfrm>
                <a:prstGeom prst="rect">
                  <a:avLst/>
                </a:prstGeom>
                <a:solidFill>
                  <a:schemeClr val="bg1"/>
                </a:solidFill>
                <a:ln w="1587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lIns="144000" rtlCol="0" anchor="ctr"/>
                <a:lstStyle/>
                <a:p>
                  <a:r>
                    <a:rPr lang="pt-BR" sz="1200" b="1" kern="0" dirty="0" err="1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Android</a:t>
                  </a:r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,</a:t>
                  </a:r>
                  <a:b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</a:br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iOS</a:t>
                  </a:r>
                  <a:endParaRPr lang="pt-BR" sz="1200" b="1" kern="0" dirty="0">
                    <a:solidFill>
                      <a:srgbClr val="000000"/>
                    </a:solidFill>
                    <a:latin typeface="Bosch Office Sans" pitchFamily="2" charset="0"/>
                  </a:endParaRPr>
                </a:p>
              </p:txBody>
            </p:sp>
            <p:pic>
              <p:nvPicPr>
                <p:cNvPr id="86" name="Grafik 54"/>
                <p:cNvPicPr>
                  <a:picLocks noChangeAspect="1"/>
                </p:cNvPicPr>
                <p:nvPr/>
              </p:nvPicPr>
              <p:blipFill>
                <a:blip r:embed="rId50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52781" y="2635330"/>
                  <a:ext cx="503875" cy="503876"/>
                </a:xfrm>
                <a:prstGeom prst="rect">
                  <a:avLst/>
                </a:prstGeom>
              </p:spPr>
            </p:pic>
          </p:grpSp>
          <p:grpSp>
            <p:nvGrpSpPr>
              <p:cNvPr id="82" name="Gruppieren 62"/>
              <p:cNvGrpSpPr/>
              <p:nvPr/>
            </p:nvGrpSpPr>
            <p:grpSpPr>
              <a:xfrm>
                <a:off x="9205022" y="2267778"/>
                <a:ext cx="1602198" cy="543474"/>
                <a:chOff x="8018795" y="2507548"/>
                <a:chExt cx="2065709" cy="746462"/>
              </a:xfrm>
            </p:grpSpPr>
            <p:sp>
              <p:nvSpPr>
                <p:cNvPr id="83" name="Rechteck 63"/>
                <p:cNvSpPr/>
                <p:nvPr>
                  <p:custDataLst>
                    <p:tags r:id="rId27"/>
                  </p:custDataLst>
                </p:nvPr>
              </p:nvSpPr>
              <p:spPr>
                <a:xfrm>
                  <a:off x="8052157" y="2507548"/>
                  <a:ext cx="1907644" cy="746462"/>
                </a:xfrm>
                <a:prstGeom prst="rect">
                  <a:avLst/>
                </a:prstGeom>
                <a:solidFill>
                  <a:schemeClr val="bg1"/>
                </a:solidFill>
                <a:ln w="1587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lIns="144000" rtlCol="0" anchor="ctr"/>
                <a:lstStyle/>
                <a:p>
                  <a:endParaRPr lang="pt-BR" sz="800" b="1" kern="0" dirty="0">
                    <a:solidFill>
                      <a:srgbClr val="000000"/>
                    </a:solidFill>
                    <a:latin typeface="Bosch Office Sans" pitchFamily="2" charset="0"/>
                  </a:endParaRPr>
                </a:p>
              </p:txBody>
            </p:sp>
            <p:pic>
              <p:nvPicPr>
                <p:cNvPr id="84" name="Grafik 64"/>
                <p:cNvPicPr>
                  <a:picLocks noChangeAspect="1"/>
                </p:cNvPicPr>
                <p:nvPr/>
              </p:nvPicPr>
              <p:blipFill rotWithShape="1">
                <a:blip r:embed="rId51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b="39269"/>
                <a:stretch/>
              </p:blipFill>
              <p:spPr>
                <a:xfrm>
                  <a:off x="8018795" y="2590602"/>
                  <a:ext cx="2065709" cy="502322"/>
                </a:xfrm>
                <a:prstGeom prst="rect">
                  <a:avLst/>
                </a:prstGeom>
              </p:spPr>
            </p:pic>
          </p:grpSp>
        </p:grpSp>
        <p:pic>
          <p:nvPicPr>
            <p:cNvPr id="25" name="Grafik 65"/>
            <p:cNvPicPr>
              <a:picLocks noChangeAspect="1"/>
            </p:cNvPicPr>
            <p:nvPr/>
          </p:nvPicPr>
          <p:blipFill rotWithShape="1">
            <a:blip r:embed="rId52"/>
            <a:srcRect l="5671" r="3247" b="3704"/>
            <a:stretch/>
          </p:blipFill>
          <p:spPr>
            <a:xfrm>
              <a:off x="10285141" y="1696616"/>
              <a:ext cx="364247" cy="338017"/>
            </a:xfrm>
            <a:prstGeom prst="rect">
              <a:avLst/>
            </a:prstGeom>
          </p:spPr>
        </p:pic>
        <p:grpSp>
          <p:nvGrpSpPr>
            <p:cNvPr id="26" name="Gruppieren 116"/>
            <p:cNvGrpSpPr/>
            <p:nvPr/>
          </p:nvGrpSpPr>
          <p:grpSpPr>
            <a:xfrm>
              <a:off x="5422329" y="4938553"/>
              <a:ext cx="5282731" cy="543600"/>
              <a:chOff x="5422329" y="4938553"/>
              <a:chExt cx="5282731" cy="543600"/>
            </a:xfrm>
          </p:grpSpPr>
          <p:sp>
            <p:nvSpPr>
              <p:cNvPr id="65" name="Rechteck 29"/>
              <p:cNvSpPr/>
              <p:nvPr/>
            </p:nvSpPr>
            <p:spPr>
              <a:xfrm>
                <a:off x="6883503" y="5100078"/>
                <a:ext cx="3642837" cy="220551"/>
              </a:xfrm>
              <a:prstGeom prst="rect">
                <a:avLst/>
              </a:prstGeom>
              <a:solidFill>
                <a:srgbClr val="D8E2F0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5400" dirty="0">
                  <a:latin typeface="Bosch Office Sans" pitchFamily="2" charset="0"/>
                </a:endParaRPr>
              </a:p>
            </p:txBody>
          </p:sp>
          <p:grpSp>
            <p:nvGrpSpPr>
              <p:cNvPr id="66" name="Gruppieren 95"/>
              <p:cNvGrpSpPr/>
              <p:nvPr/>
            </p:nvGrpSpPr>
            <p:grpSpPr>
              <a:xfrm>
                <a:off x="5422329" y="4938553"/>
                <a:ext cx="1533254" cy="543600"/>
                <a:chOff x="5428276" y="4975653"/>
                <a:chExt cx="1533254" cy="543600"/>
              </a:xfrm>
            </p:grpSpPr>
            <p:sp>
              <p:nvSpPr>
                <p:cNvPr id="74" name="Gleichschenkliges Dreieck 43"/>
                <p:cNvSpPr/>
                <p:nvPr>
                  <p:custDataLst>
                    <p:tags r:id="rId23"/>
                  </p:custDataLst>
                </p:nvPr>
              </p:nvSpPr>
              <p:spPr>
                <a:xfrm rot="5400000">
                  <a:off x="6751117" y="5193897"/>
                  <a:ext cx="313714" cy="107113"/>
                </a:xfrm>
                <a:prstGeom prst="triangle">
                  <a:avLst/>
                </a:prstGeom>
                <a:solidFill>
                  <a:srgbClr val="096DB2"/>
                </a:solidFill>
                <a:ln w="9525" cap="flat" cmpd="sng" algn="ctr">
                  <a:solidFill>
                    <a:srgbClr val="288C3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pt-B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osch Office Sans" pitchFamily="2" charset="0"/>
                  </a:endParaRPr>
                </a:p>
              </p:txBody>
            </p:sp>
            <p:grpSp>
              <p:nvGrpSpPr>
                <p:cNvPr id="75" name="Gruppieren 80"/>
                <p:cNvGrpSpPr/>
                <p:nvPr/>
              </p:nvGrpSpPr>
              <p:grpSpPr>
                <a:xfrm>
                  <a:off x="5428276" y="4975653"/>
                  <a:ext cx="1477821" cy="543600"/>
                  <a:chOff x="5428291" y="4831406"/>
                  <a:chExt cx="1486476" cy="540214"/>
                </a:xfrm>
              </p:grpSpPr>
              <p:sp>
                <p:nvSpPr>
                  <p:cNvPr id="76" name="Rechteck 44"/>
                  <p:cNvSpPr/>
                  <p:nvPr>
                    <p:custDataLst>
                      <p:tags r:id="rId24"/>
                    </p:custDataLst>
                  </p:nvPr>
                </p:nvSpPr>
                <p:spPr>
                  <a:xfrm>
                    <a:off x="5428291" y="4831406"/>
                    <a:ext cx="1486476" cy="540214"/>
                  </a:xfrm>
                  <a:prstGeom prst="rect">
                    <a:avLst/>
                  </a:prstGeom>
                  <a:solidFill>
                    <a:schemeClr val="bg1"/>
                  </a:solidFill>
                  <a:ln w="15875" cap="flat" cmpd="sng" algn="ctr">
                    <a:solidFill>
                      <a:srgbClr val="096DB2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pt-BR" sz="4800" kern="0" dirty="0">
                      <a:solidFill>
                        <a:srgbClr val="000000"/>
                      </a:solidFill>
                      <a:latin typeface="Bosch Office Sans" pitchFamily="2" charset="0"/>
                    </a:endParaRPr>
                  </a:p>
                </p:txBody>
              </p:sp>
              <p:sp>
                <p:nvSpPr>
                  <p:cNvPr id="77" name="Rechteck 45"/>
                  <p:cNvSpPr/>
                  <p:nvPr>
                    <p:custDataLst>
                      <p:tags r:id="rId25"/>
                    </p:custDataLst>
                  </p:nvPr>
                </p:nvSpPr>
                <p:spPr>
                  <a:xfrm>
                    <a:off x="5731725" y="4948734"/>
                    <a:ext cx="1094741" cy="300238"/>
                  </a:xfrm>
                  <a:prstGeom prst="rect">
                    <a:avLst/>
                  </a:prstGeom>
                  <a:no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r>
                      <a:rPr lang="pt-BR" sz="1200" b="1" kern="0" dirty="0" smtClean="0">
                        <a:latin typeface="Bosch Office Sans" pitchFamily="2" charset="0"/>
                      </a:rPr>
                      <a:t>Física</a:t>
                    </a:r>
                  </a:p>
                </p:txBody>
              </p:sp>
              <p:sp>
                <p:nvSpPr>
                  <p:cNvPr id="78" name="Rechteck 46"/>
                  <p:cNvSpPr/>
                  <p:nvPr>
                    <p:custDataLst>
                      <p:tags r:id="rId26"/>
                    </p:custDataLst>
                  </p:nvPr>
                </p:nvSpPr>
                <p:spPr>
                  <a:xfrm>
                    <a:off x="5501081" y="4998677"/>
                    <a:ext cx="159087" cy="163762"/>
                  </a:xfrm>
                  <a:prstGeom prst="rect">
                    <a:avLst/>
                  </a:prstGeom>
                  <a:solidFill>
                    <a:srgbClr val="096DB2"/>
                  </a:solidFill>
                  <a:ln w="22225" cap="flat" cmpd="sng" algn="ctr">
                    <a:solidFill>
                      <a:schemeClr val="bg1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pt-BR" sz="8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Bosch Office Sans" pitchFamily="2" charset="0"/>
                      </a:rPr>
                      <a:t>5</a:t>
                    </a:r>
                  </a:p>
                </p:txBody>
              </p:sp>
            </p:grpSp>
          </p:grpSp>
          <p:grpSp>
            <p:nvGrpSpPr>
              <p:cNvPr id="67" name="Gruppieren 90"/>
              <p:cNvGrpSpPr/>
              <p:nvPr/>
            </p:nvGrpSpPr>
            <p:grpSpPr>
              <a:xfrm>
                <a:off x="7337756" y="4938616"/>
                <a:ext cx="1479600" cy="543475"/>
                <a:chOff x="7598881" y="4835708"/>
                <a:chExt cx="1479600" cy="543475"/>
              </a:xfrm>
            </p:grpSpPr>
            <p:sp>
              <p:nvSpPr>
                <p:cNvPr id="71" name="Rechteck 58"/>
                <p:cNvSpPr/>
                <p:nvPr>
                  <p:custDataLst>
                    <p:tags r:id="rId22"/>
                  </p:custDataLst>
                </p:nvPr>
              </p:nvSpPr>
              <p:spPr>
                <a:xfrm>
                  <a:off x="7598881" y="4835708"/>
                  <a:ext cx="1479600" cy="543475"/>
                </a:xfrm>
                <a:prstGeom prst="rect">
                  <a:avLst/>
                </a:prstGeom>
                <a:solidFill>
                  <a:schemeClr val="bg1"/>
                </a:solidFill>
                <a:ln w="1587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lIns="144000" rIns="72000" rtlCol="0" anchor="ctr"/>
                <a:lstStyle/>
                <a:p>
                  <a:r>
                    <a:rPr lang="pt-BR" sz="1200" b="1" kern="0" dirty="0" err="1" smtClean="0">
                      <a:solidFill>
                        <a:srgbClr val="000000"/>
                      </a:solidFill>
                      <a:latin typeface="Bosch Office Sans"/>
                    </a:rPr>
                    <a:t>ex</a:t>
                  </a:r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/>
                    </a:rPr>
                    <a:t>: </a:t>
                  </a:r>
                  <a:r>
                    <a:rPr lang="pt-BR" sz="1200" b="1" kern="0" dirty="0" err="1" smtClean="0">
                      <a:solidFill>
                        <a:srgbClr val="000000"/>
                      </a:solidFill>
                      <a:latin typeface="Bosch Office Sans"/>
                    </a:rPr>
                    <a:t>disp</a:t>
                  </a:r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/>
                    </a:rPr>
                    <a:t>. </a:t>
                  </a:r>
                  <a:br>
                    <a:rPr lang="pt-BR" sz="1200" b="1" kern="0" dirty="0" smtClean="0">
                      <a:solidFill>
                        <a:srgbClr val="000000"/>
                      </a:solidFill>
                      <a:latin typeface="Bosch Office Sans"/>
                    </a:rPr>
                  </a:br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/>
                    </a:rPr>
                    <a:t>inteligente</a:t>
                  </a:r>
                  <a:endParaRPr lang="pt-BR" sz="1200" b="1" kern="0" dirty="0">
                    <a:solidFill>
                      <a:srgbClr val="000000"/>
                    </a:solidFill>
                    <a:latin typeface="Bosch Office Sans"/>
                  </a:endParaRPr>
                </a:p>
              </p:txBody>
            </p:sp>
            <p:pic>
              <p:nvPicPr>
                <p:cNvPr id="72" name="Grafik 68"/>
                <p:cNvPicPr>
                  <a:picLocks noChangeAspect="1"/>
                </p:cNvPicPr>
                <p:nvPr/>
              </p:nvPicPr>
              <p:blipFill rotWithShape="1">
                <a:blip r:embed="rId53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2894" t="21534" r="34397"/>
                <a:stretch/>
              </p:blipFill>
              <p:spPr>
                <a:xfrm>
                  <a:off x="8758818" y="4926956"/>
                  <a:ext cx="296558" cy="434031"/>
                </a:xfrm>
                <a:prstGeom prst="rect">
                  <a:avLst/>
                </a:prstGeom>
              </p:spPr>
            </p:pic>
            <p:pic>
              <p:nvPicPr>
                <p:cNvPr id="73" name="Grafik 69"/>
                <p:cNvPicPr>
                  <a:picLocks noChangeAspect="1"/>
                </p:cNvPicPr>
                <p:nvPr/>
              </p:nvPicPr>
              <p:blipFill rotWithShape="1">
                <a:blip r:embed="rId54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2895" t="1538" r="462" b="75880"/>
                <a:stretch/>
              </p:blipFill>
              <p:spPr>
                <a:xfrm>
                  <a:off x="8625909" y="4865525"/>
                  <a:ext cx="447444" cy="114652"/>
                </a:xfrm>
                <a:prstGeom prst="rect">
                  <a:avLst/>
                </a:prstGeom>
              </p:spPr>
            </p:pic>
          </p:grpSp>
          <p:grpSp>
            <p:nvGrpSpPr>
              <p:cNvPr id="68" name="Gruppieren 97"/>
              <p:cNvGrpSpPr/>
              <p:nvPr/>
            </p:nvGrpSpPr>
            <p:grpSpPr>
              <a:xfrm>
                <a:off x="9216156" y="4938616"/>
                <a:ext cx="1488904" cy="543475"/>
                <a:chOff x="9239504" y="4282219"/>
                <a:chExt cx="1451360" cy="543475"/>
              </a:xfrm>
            </p:grpSpPr>
            <p:sp>
              <p:nvSpPr>
                <p:cNvPr id="69" name="Rechteck 61"/>
                <p:cNvSpPr/>
                <p:nvPr>
                  <p:custDataLst>
                    <p:tags r:id="rId21"/>
                  </p:custDataLst>
                </p:nvPr>
              </p:nvSpPr>
              <p:spPr>
                <a:xfrm>
                  <a:off x="9239504" y="4282219"/>
                  <a:ext cx="1451360" cy="543475"/>
                </a:xfrm>
                <a:prstGeom prst="rect">
                  <a:avLst/>
                </a:prstGeom>
                <a:solidFill>
                  <a:schemeClr val="bg1"/>
                </a:solidFill>
                <a:ln w="1587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lIns="144000" rIns="396000" rtlCol="0" anchor="ctr"/>
                <a:lstStyle/>
                <a:p>
                  <a:r>
                    <a:rPr lang="pt-BR" sz="1200" b="1" kern="0" dirty="0" err="1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Equip</a:t>
                  </a:r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.</a:t>
                  </a:r>
                  <a:b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</a:br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agrícola</a:t>
                  </a:r>
                  <a:endParaRPr lang="pt-BR" sz="1200" b="1" kern="0" dirty="0">
                    <a:solidFill>
                      <a:srgbClr val="000000"/>
                    </a:solidFill>
                    <a:latin typeface="Bosch Office Sans" pitchFamily="2" charset="0"/>
                  </a:endParaRPr>
                </a:p>
              </p:txBody>
            </p:sp>
            <p:pic>
              <p:nvPicPr>
                <p:cNvPr id="70" name="Grafik 66"/>
                <p:cNvPicPr>
                  <a:picLocks noChangeAspect="1"/>
                </p:cNvPicPr>
                <p:nvPr/>
              </p:nvPicPr>
              <p:blipFill rotWithShape="1">
                <a:blip r:embed="rId55"/>
                <a:srcRect t="30093" r="54628"/>
                <a:stretch/>
              </p:blipFill>
              <p:spPr>
                <a:xfrm>
                  <a:off x="10231702" y="4322606"/>
                  <a:ext cx="414506" cy="253613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7" name="Gruppieren 107"/>
            <p:cNvGrpSpPr/>
            <p:nvPr/>
          </p:nvGrpSpPr>
          <p:grpSpPr>
            <a:xfrm>
              <a:off x="5428277" y="2920727"/>
              <a:ext cx="5280297" cy="543475"/>
              <a:chOff x="5428277" y="2985963"/>
              <a:chExt cx="5280297" cy="543475"/>
            </a:xfrm>
          </p:grpSpPr>
          <p:grpSp>
            <p:nvGrpSpPr>
              <p:cNvPr id="50" name="Gruppieren 106"/>
              <p:cNvGrpSpPr/>
              <p:nvPr/>
            </p:nvGrpSpPr>
            <p:grpSpPr>
              <a:xfrm>
                <a:off x="5428277" y="2985963"/>
                <a:ext cx="5280297" cy="543475"/>
                <a:chOff x="5428277" y="2980646"/>
                <a:chExt cx="5280297" cy="543475"/>
              </a:xfrm>
            </p:grpSpPr>
            <p:sp>
              <p:nvSpPr>
                <p:cNvPr id="52" name="Rechteck 28"/>
                <p:cNvSpPr/>
                <p:nvPr/>
              </p:nvSpPr>
              <p:spPr>
                <a:xfrm>
                  <a:off x="6832119" y="3142108"/>
                  <a:ext cx="3335222" cy="220551"/>
                </a:xfrm>
                <a:prstGeom prst="rect">
                  <a:avLst/>
                </a:prstGeom>
                <a:solidFill>
                  <a:srgbClr val="D8E2F0">
                    <a:alpha val="75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5400" dirty="0">
                    <a:latin typeface="Bosch Office Sans" pitchFamily="2" charset="0"/>
                  </a:endParaRPr>
                </a:p>
              </p:txBody>
            </p:sp>
            <p:grpSp>
              <p:nvGrpSpPr>
                <p:cNvPr id="54" name="Gruppieren 93"/>
                <p:cNvGrpSpPr/>
                <p:nvPr/>
              </p:nvGrpSpPr>
              <p:grpSpPr>
                <a:xfrm>
                  <a:off x="5428277" y="2980980"/>
                  <a:ext cx="1533254" cy="542807"/>
                  <a:chOff x="5428277" y="2776032"/>
                  <a:chExt cx="1533254" cy="542807"/>
                </a:xfrm>
              </p:grpSpPr>
              <p:sp>
                <p:nvSpPr>
                  <p:cNvPr id="59" name="Gleichschenkliges Dreieck 39"/>
                  <p:cNvSpPr/>
                  <p:nvPr>
                    <p:custDataLst>
                      <p:tags r:id="rId17"/>
                    </p:custDataLst>
                  </p:nvPr>
                </p:nvSpPr>
                <p:spPr>
                  <a:xfrm rot="5400000">
                    <a:off x="6751118" y="2980059"/>
                    <a:ext cx="313714" cy="107113"/>
                  </a:xfrm>
                  <a:prstGeom prst="triangle">
                    <a:avLst/>
                  </a:prstGeom>
                  <a:solidFill>
                    <a:srgbClr val="096DB2"/>
                  </a:solidFill>
                  <a:ln w="9525" cap="flat" cmpd="sng" algn="ctr">
                    <a:solidFill>
                      <a:srgbClr val="096DB2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indent="0" algn="ctr" defTabSz="914400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pt-BR" sz="1050" b="0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Bosch Office Sans" pitchFamily="2" charset="0"/>
                    </a:endParaRPr>
                  </a:p>
                </p:txBody>
              </p:sp>
              <p:grpSp>
                <p:nvGrpSpPr>
                  <p:cNvPr id="60" name="Gruppieren 82"/>
                  <p:cNvGrpSpPr/>
                  <p:nvPr/>
                </p:nvGrpSpPr>
                <p:grpSpPr>
                  <a:xfrm>
                    <a:off x="5428277" y="2776032"/>
                    <a:ext cx="1477820" cy="542807"/>
                    <a:chOff x="5428291" y="3206650"/>
                    <a:chExt cx="1486476" cy="542807"/>
                  </a:xfrm>
                </p:grpSpPr>
                <p:sp>
                  <p:nvSpPr>
                    <p:cNvPr id="61" name="Rechteck 40"/>
                    <p:cNvSpPr/>
                    <p:nvPr>
                      <p:custDataLst>
                        <p:tags r:id="rId18"/>
                      </p:custDataLst>
                    </p:nvPr>
                  </p:nvSpPr>
                  <p:spPr>
                    <a:xfrm>
                      <a:off x="5428291" y="3206650"/>
                      <a:ext cx="1486476" cy="542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5875" cap="flat" cmpd="sng" algn="ctr">
                      <a:solidFill>
                        <a:srgbClr val="096DB2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algn="ctr"/>
                      <a:endParaRPr lang="pt-BR" sz="4800" kern="0" dirty="0">
                        <a:solidFill>
                          <a:srgbClr val="000000"/>
                        </a:solidFill>
                        <a:latin typeface="Bosch Office Sans" pitchFamily="2" charset="0"/>
                      </a:endParaRPr>
                    </a:p>
                  </p:txBody>
                </p:sp>
                <p:sp>
                  <p:nvSpPr>
                    <p:cNvPr id="62" name="Rechteck 41"/>
                    <p:cNvSpPr/>
                    <p:nvPr>
                      <p:custDataLst>
                        <p:tags r:id="rId19"/>
                      </p:custDataLst>
                    </p:nvPr>
                  </p:nvSpPr>
                  <p:spPr>
                    <a:xfrm>
                      <a:off x="5734667" y="3326569"/>
                      <a:ext cx="1094742" cy="300238"/>
                    </a:xfrm>
                    <a:prstGeom prst="rect">
                      <a:avLst/>
                    </a:prstGeom>
                    <a:noFill/>
                    <a:ln w="9525" cap="flat" cmpd="sng" algn="ctr">
                      <a:noFill/>
                      <a:prstDash val="solid"/>
                    </a:ln>
                    <a:effectLst/>
                  </p:spPr>
                  <p:txBody>
                    <a:bodyPr lIns="0" rIns="0" rtlCol="0" anchor="ctr"/>
                    <a:lstStyle/>
                    <a:p>
                      <a:r>
                        <a:rPr lang="pt-BR" sz="1200" b="1" kern="0" dirty="0" smtClean="0">
                          <a:latin typeface="Bosch Office Sans" pitchFamily="2" charset="0"/>
                        </a:rPr>
                        <a:t>Transporte de Dados</a:t>
                      </a:r>
                      <a:endParaRPr lang="pt-BR" sz="1200" b="1" kern="0" dirty="0">
                        <a:latin typeface="Bosch Office Sans" pitchFamily="2" charset="0"/>
                      </a:endParaRPr>
                    </a:p>
                  </p:txBody>
                </p:sp>
                <p:sp>
                  <p:nvSpPr>
                    <p:cNvPr id="64" name="Rechteck 42"/>
                    <p:cNvSpPr/>
                    <p:nvPr>
                      <p:custDataLst>
                        <p:tags r:id="rId20"/>
                      </p:custDataLst>
                    </p:nvPr>
                  </p:nvSpPr>
                  <p:spPr>
                    <a:xfrm>
                      <a:off x="5503637" y="3376513"/>
                      <a:ext cx="159087" cy="163762"/>
                    </a:xfrm>
                    <a:prstGeom prst="rect">
                      <a:avLst/>
                    </a:prstGeom>
                    <a:solidFill>
                      <a:srgbClr val="096DB2"/>
                    </a:solidFill>
                    <a:ln w="22225" cap="flat" cmpd="sng" algn="ctr">
                      <a:solidFill>
                        <a:schemeClr val="bg1"/>
                      </a:solidFill>
                      <a:prstDash val="solid"/>
                    </a:ln>
                    <a:effectLst/>
                  </p:spPr>
                  <p:txBody>
                    <a:bodyPr rtlCol="0" anchor="ctr"/>
                    <a:lstStyle/>
                    <a:p>
                      <a:pPr marL="0" marR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pt-BR" sz="8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Bosch Office Sans" pitchFamily="2" charset="0"/>
                        </a:rPr>
                        <a:t>3</a:t>
                      </a:r>
                    </a:p>
                  </p:txBody>
                </p:sp>
              </p:grpSp>
            </p:grpSp>
            <p:sp>
              <p:nvSpPr>
                <p:cNvPr id="55" name="Rechteck 60"/>
                <p:cNvSpPr/>
                <p:nvPr>
                  <p:custDataLst>
                    <p:tags r:id="rId15"/>
                  </p:custDataLst>
                </p:nvPr>
              </p:nvSpPr>
              <p:spPr>
                <a:xfrm>
                  <a:off x="9229266" y="2980646"/>
                  <a:ext cx="1479308" cy="543475"/>
                </a:xfrm>
                <a:prstGeom prst="rect">
                  <a:avLst/>
                </a:prstGeom>
                <a:solidFill>
                  <a:schemeClr val="bg1"/>
                </a:solidFill>
                <a:ln w="1587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lIns="144000" rtlCol="0" anchor="ctr"/>
                <a:lstStyle/>
                <a:p>
                  <a:r>
                    <a:rPr lang="pt-BR" sz="1200" b="1" kern="0" dirty="0" err="1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Cloud</a:t>
                  </a:r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 </a:t>
                  </a:r>
                  <a:b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</a:br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privada</a:t>
                  </a:r>
                  <a:endParaRPr lang="pt-BR" sz="1200" b="1" kern="0" dirty="0">
                    <a:solidFill>
                      <a:srgbClr val="000000"/>
                    </a:solidFill>
                    <a:latin typeface="Bosch Office Sans" pitchFamily="2" charset="0"/>
                  </a:endParaRPr>
                </a:p>
              </p:txBody>
            </p:sp>
            <p:grpSp>
              <p:nvGrpSpPr>
                <p:cNvPr id="56" name="Gruppieren 55"/>
                <p:cNvGrpSpPr/>
                <p:nvPr/>
              </p:nvGrpSpPr>
              <p:grpSpPr>
                <a:xfrm>
                  <a:off x="7343702" y="2980646"/>
                  <a:ext cx="1479600" cy="543475"/>
                  <a:chOff x="4640754" y="3644690"/>
                  <a:chExt cx="1907645" cy="746463"/>
                </a:xfrm>
              </p:grpSpPr>
              <p:sp>
                <p:nvSpPr>
                  <p:cNvPr id="57" name="Rechteck 56"/>
                  <p:cNvSpPr/>
                  <p:nvPr>
                    <p:custDataLst>
                      <p:tags r:id="rId16"/>
                    </p:custDataLst>
                  </p:nvPr>
                </p:nvSpPr>
                <p:spPr>
                  <a:xfrm>
                    <a:off x="4640754" y="3644690"/>
                    <a:ext cx="1907645" cy="746463"/>
                  </a:xfrm>
                  <a:prstGeom prst="rect">
                    <a:avLst/>
                  </a:prstGeom>
                  <a:solidFill>
                    <a:schemeClr val="bg1"/>
                  </a:solidFill>
                  <a:ln w="15875" cap="flat" cmpd="sng" algn="ctr">
                    <a:solidFill>
                      <a:srgbClr val="096DB2"/>
                    </a:solidFill>
                    <a:prstDash val="solid"/>
                  </a:ln>
                  <a:effectLst/>
                </p:spPr>
                <p:txBody>
                  <a:bodyPr lIns="144000" rtlCol="0" anchor="ctr"/>
                  <a:lstStyle/>
                  <a:p>
                    <a:r>
                      <a:rPr lang="pt-BR" sz="1200" b="1" kern="0" dirty="0" smtClean="0">
                        <a:solidFill>
                          <a:srgbClr val="000000"/>
                        </a:solidFill>
                        <a:latin typeface="Bosch Office Sans" pitchFamily="2" charset="0"/>
                      </a:rPr>
                      <a:t>Internet</a:t>
                    </a:r>
                    <a:endParaRPr lang="pt-BR" sz="1200" b="1" kern="0" dirty="0">
                      <a:solidFill>
                        <a:srgbClr val="000000"/>
                      </a:solidFill>
                      <a:latin typeface="Bosch Office Sans" pitchFamily="2" charset="0"/>
                    </a:endParaRPr>
                  </a:p>
                </p:txBody>
              </p:sp>
              <p:pic>
                <p:nvPicPr>
                  <p:cNvPr id="58" name="Grafik 57"/>
                  <p:cNvPicPr>
                    <a:picLocks noChangeAspect="1"/>
                  </p:cNvPicPr>
                  <p:nvPr/>
                </p:nvPicPr>
                <p:blipFill>
                  <a:blip r:embed="rId56" cstate="print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5966859" y="3759940"/>
                    <a:ext cx="501454" cy="501454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51" name="Cloud 2"/>
              <p:cNvSpPr/>
              <p:nvPr/>
            </p:nvSpPr>
            <p:spPr>
              <a:xfrm>
                <a:off x="10139729" y="3107289"/>
                <a:ext cx="475795" cy="313992"/>
              </a:xfrm>
              <a:prstGeom prst="cloud">
                <a:avLst/>
              </a:prstGeom>
              <a:solidFill>
                <a:schemeClr val="bg1"/>
              </a:solidFill>
              <a:ln w="19050">
                <a:solidFill>
                  <a:srgbClr val="096D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4800" dirty="0">
                  <a:latin typeface="Bosch Office Sans" pitchFamily="2" charset="0"/>
                </a:endParaRPr>
              </a:p>
            </p:txBody>
          </p:sp>
        </p:grpSp>
        <p:grpSp>
          <p:nvGrpSpPr>
            <p:cNvPr id="29" name="Gruppieren 119"/>
            <p:cNvGrpSpPr/>
            <p:nvPr/>
          </p:nvGrpSpPr>
          <p:grpSpPr>
            <a:xfrm>
              <a:off x="5428278" y="3591238"/>
              <a:ext cx="5280296" cy="1213986"/>
              <a:chOff x="5428278" y="3591238"/>
              <a:chExt cx="5280296" cy="1213986"/>
            </a:xfrm>
          </p:grpSpPr>
          <p:sp>
            <p:nvSpPr>
              <p:cNvPr id="30" name="Rechteck 96"/>
              <p:cNvSpPr/>
              <p:nvPr/>
            </p:nvSpPr>
            <p:spPr>
              <a:xfrm>
                <a:off x="6863140" y="4095118"/>
                <a:ext cx="1931111" cy="220551"/>
              </a:xfrm>
              <a:prstGeom prst="rect">
                <a:avLst/>
              </a:prstGeom>
              <a:solidFill>
                <a:srgbClr val="D8E2F0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5400" dirty="0">
                  <a:latin typeface="Bosch Office Sans" pitchFamily="2" charset="0"/>
                </a:endParaRPr>
              </a:p>
            </p:txBody>
          </p:sp>
          <p:grpSp>
            <p:nvGrpSpPr>
              <p:cNvPr id="31" name="Gruppieren 94"/>
              <p:cNvGrpSpPr/>
              <p:nvPr/>
            </p:nvGrpSpPr>
            <p:grpSpPr>
              <a:xfrm>
                <a:off x="5428278" y="3939815"/>
                <a:ext cx="1533253" cy="543600"/>
                <a:chOff x="5428278" y="3382371"/>
                <a:chExt cx="1533253" cy="543600"/>
              </a:xfrm>
            </p:grpSpPr>
            <p:sp>
              <p:nvSpPr>
                <p:cNvPr id="45" name="Gleichschenkliges Dreieck 73"/>
                <p:cNvSpPr/>
                <p:nvPr>
                  <p:custDataLst>
                    <p:tags r:id="rId11"/>
                  </p:custDataLst>
                </p:nvPr>
              </p:nvSpPr>
              <p:spPr>
                <a:xfrm rot="5400000">
                  <a:off x="6751118" y="3600615"/>
                  <a:ext cx="313714" cy="107113"/>
                </a:xfrm>
                <a:prstGeom prst="triangle">
                  <a:avLst/>
                </a:prstGeom>
                <a:solidFill>
                  <a:srgbClr val="096DB2"/>
                </a:solidFill>
                <a:ln w="9525" cap="flat" cmpd="sng" algn="ctr">
                  <a:solidFill>
                    <a:srgbClr val="288C3F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indent="0" algn="ctr" defTabSz="914400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pt-BR" sz="105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Bosch Office Sans" pitchFamily="2" charset="0"/>
                  </a:endParaRPr>
                </a:p>
              </p:txBody>
            </p:sp>
            <p:sp>
              <p:nvSpPr>
                <p:cNvPr id="46" name="Rechteck 74"/>
                <p:cNvSpPr/>
                <p:nvPr>
                  <p:custDataLst>
                    <p:tags r:id="rId12"/>
                  </p:custDataLst>
                </p:nvPr>
              </p:nvSpPr>
              <p:spPr>
                <a:xfrm>
                  <a:off x="5428278" y="3382371"/>
                  <a:ext cx="1477819" cy="543600"/>
                </a:xfrm>
                <a:prstGeom prst="rect">
                  <a:avLst/>
                </a:prstGeom>
                <a:solidFill>
                  <a:schemeClr val="bg1"/>
                </a:solidFill>
                <a:ln w="1587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algn="ctr"/>
                  <a:endParaRPr lang="pt-BR" sz="4800" kern="0" dirty="0">
                    <a:solidFill>
                      <a:srgbClr val="000000"/>
                    </a:solidFill>
                    <a:latin typeface="Bosch Office Sans" pitchFamily="2" charset="0"/>
                  </a:endParaRPr>
                </a:p>
              </p:txBody>
            </p:sp>
            <p:sp>
              <p:nvSpPr>
                <p:cNvPr id="47" name="Rechteck 75"/>
                <p:cNvSpPr/>
                <p:nvPr>
                  <p:custDataLst>
                    <p:tags r:id="rId13"/>
                  </p:custDataLst>
                </p:nvPr>
              </p:nvSpPr>
              <p:spPr>
                <a:xfrm>
                  <a:off x="5731710" y="3500434"/>
                  <a:ext cx="1217074" cy="302120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rIns="0" rtlCol="0" anchor="ctr"/>
                <a:lstStyle/>
                <a:p>
                  <a:r>
                    <a:rPr lang="pt-BR" sz="1200" b="1" kern="0" dirty="0" smtClean="0">
                      <a:latin typeface="Bosch Office Sans" pitchFamily="2" charset="0"/>
                    </a:rPr>
                    <a:t>Interface do Usuário</a:t>
                  </a:r>
                  <a:endParaRPr lang="pt-BR" sz="1200" b="1" kern="0" dirty="0">
                    <a:latin typeface="Bosch Office Sans" pitchFamily="2" charset="0"/>
                  </a:endParaRPr>
                </a:p>
              </p:txBody>
            </p:sp>
            <p:sp>
              <p:nvSpPr>
                <p:cNvPr id="49" name="Rechteck 76"/>
                <p:cNvSpPr/>
                <p:nvPr>
                  <p:custDataLst>
                    <p:tags r:id="rId14"/>
                  </p:custDataLst>
                </p:nvPr>
              </p:nvSpPr>
              <p:spPr>
                <a:xfrm>
                  <a:off x="5501067" y="3550690"/>
                  <a:ext cx="159086" cy="164788"/>
                </a:xfrm>
                <a:prstGeom prst="rect">
                  <a:avLst/>
                </a:prstGeom>
                <a:solidFill>
                  <a:srgbClr val="096DB2"/>
                </a:solidFill>
                <a:ln w="222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lang="pt-BR" sz="800" b="1" kern="0" noProof="0" dirty="0" smtClean="0">
                      <a:solidFill>
                        <a:schemeClr val="bg1"/>
                      </a:solidFill>
                      <a:latin typeface="Bosch Office Sans" pitchFamily="2" charset="0"/>
                    </a:rPr>
                    <a:t>4</a:t>
                  </a:r>
                  <a:endParaRPr kumimoji="0" lang="pt-BR" sz="8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Bosch Office Sans" pitchFamily="2" charset="0"/>
                  </a:endParaRPr>
                </a:p>
              </p:txBody>
            </p:sp>
          </p:grpSp>
          <p:sp>
            <p:nvSpPr>
              <p:cNvPr id="32" name="Rechteck 117"/>
              <p:cNvSpPr/>
              <p:nvPr/>
            </p:nvSpPr>
            <p:spPr>
              <a:xfrm rot="19754142">
                <a:off x="8455596" y="3950187"/>
                <a:ext cx="905859" cy="220551"/>
              </a:xfrm>
              <a:prstGeom prst="rect">
                <a:avLst/>
              </a:prstGeom>
              <a:solidFill>
                <a:srgbClr val="D8E2F0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5400" dirty="0">
                  <a:latin typeface="Bosch Office Sans" pitchFamily="2" charset="0"/>
                </a:endParaRPr>
              </a:p>
            </p:txBody>
          </p:sp>
          <p:sp>
            <p:nvSpPr>
              <p:cNvPr id="33" name="Rechteck 118"/>
              <p:cNvSpPr/>
              <p:nvPr/>
            </p:nvSpPr>
            <p:spPr>
              <a:xfrm rot="1845858" flipV="1">
                <a:off x="8455596" y="4249722"/>
                <a:ext cx="905859" cy="220551"/>
              </a:xfrm>
              <a:prstGeom prst="rect">
                <a:avLst/>
              </a:prstGeom>
              <a:solidFill>
                <a:srgbClr val="D8E2F0">
                  <a:alpha val="75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sz="5400" dirty="0">
                  <a:latin typeface="Bosch Office Sans" pitchFamily="2" charset="0"/>
                </a:endParaRPr>
              </a:p>
            </p:txBody>
          </p:sp>
          <p:grpSp>
            <p:nvGrpSpPr>
              <p:cNvPr id="34" name="Gruppieren 114"/>
              <p:cNvGrpSpPr/>
              <p:nvPr/>
            </p:nvGrpSpPr>
            <p:grpSpPr>
              <a:xfrm>
                <a:off x="9228974" y="3591238"/>
                <a:ext cx="1479600" cy="543475"/>
                <a:chOff x="9228974" y="3398367"/>
                <a:chExt cx="1479600" cy="543475"/>
              </a:xfrm>
            </p:grpSpPr>
            <p:sp>
              <p:nvSpPr>
                <p:cNvPr id="42" name="Rechteck 102"/>
                <p:cNvSpPr/>
                <p:nvPr>
                  <p:custDataLst>
                    <p:tags r:id="rId10"/>
                  </p:custDataLst>
                </p:nvPr>
              </p:nvSpPr>
              <p:spPr>
                <a:xfrm>
                  <a:off x="9228974" y="3398367"/>
                  <a:ext cx="1479600" cy="543475"/>
                </a:xfrm>
                <a:prstGeom prst="rect">
                  <a:avLst/>
                </a:prstGeom>
                <a:solidFill>
                  <a:schemeClr val="bg1"/>
                </a:solidFill>
                <a:ln w="1587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lIns="144000" rtlCol="0" anchor="ctr"/>
                <a:lstStyle/>
                <a:p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FEK</a:t>
                  </a:r>
                  <a:endParaRPr lang="pt-BR" sz="1200" b="1" kern="0" dirty="0">
                    <a:solidFill>
                      <a:srgbClr val="000000"/>
                    </a:solidFill>
                    <a:latin typeface="Bosch Office Sans" pitchFamily="2" charset="0"/>
                  </a:endParaRPr>
                </a:p>
              </p:txBody>
            </p:sp>
            <p:pic>
              <p:nvPicPr>
                <p:cNvPr id="43" name="Grafik 112"/>
                <p:cNvPicPr>
                  <a:picLocks noChangeAspect="1"/>
                </p:cNvPicPr>
                <p:nvPr/>
              </p:nvPicPr>
              <p:blipFill>
                <a:blip r:embed="rId57"/>
                <a:stretch>
                  <a:fillRect/>
                </a:stretch>
              </p:blipFill>
              <p:spPr>
                <a:xfrm>
                  <a:off x="10123610" y="3440086"/>
                  <a:ext cx="488639" cy="476694"/>
                </a:xfrm>
                <a:prstGeom prst="rect">
                  <a:avLst/>
                </a:prstGeom>
              </p:spPr>
            </p:pic>
          </p:grpSp>
          <p:grpSp>
            <p:nvGrpSpPr>
              <p:cNvPr id="35" name="Gruppieren 115"/>
              <p:cNvGrpSpPr/>
              <p:nvPr/>
            </p:nvGrpSpPr>
            <p:grpSpPr>
              <a:xfrm>
                <a:off x="9228974" y="4261749"/>
                <a:ext cx="1479600" cy="543475"/>
                <a:chOff x="9228974" y="4036380"/>
                <a:chExt cx="1479600" cy="543475"/>
              </a:xfrm>
            </p:grpSpPr>
            <p:sp>
              <p:nvSpPr>
                <p:cNvPr id="39" name="Rechteck 109"/>
                <p:cNvSpPr/>
                <p:nvPr>
                  <p:custDataLst>
                    <p:tags r:id="rId9"/>
                  </p:custDataLst>
                </p:nvPr>
              </p:nvSpPr>
              <p:spPr>
                <a:xfrm>
                  <a:off x="9228974" y="4036380"/>
                  <a:ext cx="1479600" cy="543475"/>
                </a:xfrm>
                <a:prstGeom prst="rect">
                  <a:avLst/>
                </a:prstGeom>
                <a:solidFill>
                  <a:schemeClr val="bg1"/>
                </a:solidFill>
                <a:ln w="1587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lIns="144000" rtlCol="0" anchor="ctr"/>
                <a:lstStyle/>
                <a:p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Tablet</a:t>
                  </a:r>
                  <a:endParaRPr lang="pt-BR" sz="1200" b="1" kern="0" dirty="0">
                    <a:solidFill>
                      <a:srgbClr val="000000"/>
                    </a:solidFill>
                    <a:latin typeface="Bosch Office Sans" pitchFamily="2" charset="0"/>
                  </a:endParaRPr>
                </a:p>
              </p:txBody>
            </p:sp>
            <p:pic>
              <p:nvPicPr>
                <p:cNvPr id="40" name="Grafik 111"/>
                <p:cNvPicPr>
                  <a:picLocks noChangeAspect="1"/>
                </p:cNvPicPr>
                <p:nvPr/>
              </p:nvPicPr>
              <p:blipFill>
                <a:blip r:embed="rId58" cstate="screen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99584" y="4066447"/>
                  <a:ext cx="673879" cy="478606"/>
                </a:xfrm>
                <a:prstGeom prst="rect">
                  <a:avLst/>
                </a:prstGeom>
              </p:spPr>
            </p:pic>
          </p:grpSp>
          <p:grpSp>
            <p:nvGrpSpPr>
              <p:cNvPr id="36" name="Gruppieren 113"/>
              <p:cNvGrpSpPr/>
              <p:nvPr/>
            </p:nvGrpSpPr>
            <p:grpSpPr>
              <a:xfrm>
                <a:off x="7320598" y="3953498"/>
                <a:ext cx="1479600" cy="543475"/>
                <a:chOff x="7320598" y="3400943"/>
                <a:chExt cx="1479600" cy="543475"/>
              </a:xfrm>
            </p:grpSpPr>
            <p:sp>
              <p:nvSpPr>
                <p:cNvPr id="37" name="Rechteck 99"/>
                <p:cNvSpPr/>
                <p:nvPr>
                  <p:custDataLst>
                    <p:tags r:id="rId8"/>
                  </p:custDataLst>
                </p:nvPr>
              </p:nvSpPr>
              <p:spPr>
                <a:xfrm>
                  <a:off x="7320598" y="3400943"/>
                  <a:ext cx="1479600" cy="543475"/>
                </a:xfrm>
                <a:prstGeom prst="rect">
                  <a:avLst/>
                </a:prstGeom>
                <a:solidFill>
                  <a:schemeClr val="bg1"/>
                </a:solidFill>
                <a:ln w="15875" cap="flat" cmpd="sng" algn="ctr">
                  <a:solidFill>
                    <a:srgbClr val="096DB2"/>
                  </a:solidFill>
                  <a:prstDash val="solid"/>
                </a:ln>
                <a:effectLst/>
              </p:spPr>
              <p:txBody>
                <a:bodyPr lIns="144000" rtlCol="0" anchor="ctr"/>
                <a:lstStyle/>
                <a:p>
                  <a:r>
                    <a:rPr lang="pt-BR" sz="1200" b="1" kern="0" dirty="0" smtClean="0">
                      <a:solidFill>
                        <a:srgbClr val="000000"/>
                      </a:solidFill>
                      <a:latin typeface="Bosch Office Sans" pitchFamily="2" charset="0"/>
                    </a:rPr>
                    <a:t>Smartphone</a:t>
                  </a:r>
                  <a:endParaRPr lang="pt-BR" sz="1200" b="1" kern="0" dirty="0">
                    <a:solidFill>
                      <a:srgbClr val="000000"/>
                    </a:solidFill>
                    <a:latin typeface="Bosch Office Sans" pitchFamily="2" charset="0"/>
                  </a:endParaRPr>
                </a:p>
              </p:txBody>
            </p:sp>
            <p:pic>
              <p:nvPicPr>
                <p:cNvPr id="38" name="Picture 106"/>
                <p:cNvPicPr>
                  <a:picLocks noChangeAspect="1"/>
                </p:cNvPicPr>
                <p:nvPr/>
              </p:nvPicPr>
              <p:blipFill rotWithShape="1">
                <a:blip r:embed="rId59" cstate="hq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3052" r="20771"/>
                <a:stretch/>
              </p:blipFill>
              <p:spPr>
                <a:xfrm rot="10800000" flipH="1" flipV="1">
                  <a:off x="8434531" y="3444320"/>
                  <a:ext cx="262497" cy="464209"/>
                </a:xfrm>
                <a:prstGeom prst="rect">
                  <a:avLst/>
                </a:prstGeom>
              </p:spPr>
            </p:pic>
          </p:grpSp>
        </p:grpSp>
      </p:grpSp>
      <p:sp>
        <p:nvSpPr>
          <p:cNvPr id="107" name="CaixaDeTexto 106"/>
          <p:cNvSpPr txBox="1"/>
          <p:nvPr/>
        </p:nvSpPr>
        <p:spPr>
          <a:xfrm>
            <a:off x="10038489" y="5410061"/>
            <a:ext cx="770005" cy="2778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ct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90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wered</a:t>
            </a:r>
            <a:r>
              <a:rPr kumimoji="0" lang="pt-BR" sz="9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pt-BR" sz="90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y</a:t>
            </a:r>
            <a:endParaRPr kumimoji="0" lang="pt-BR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0" name="Título 1"/>
          <p:cNvSpPr txBox="1">
            <a:spLocks/>
          </p:cNvSpPr>
          <p:nvPr/>
        </p:nvSpPr>
        <p:spPr>
          <a:xfrm>
            <a:off x="236915" y="258523"/>
            <a:ext cx="8741682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sz="3600" cap="small" dirty="0">
                <a:solidFill>
                  <a:schemeClr val="accent4"/>
                </a:solidFill>
              </a:rPr>
              <a:t>BOSCH Agro 4.0 | NEVONEX</a:t>
            </a:r>
          </a:p>
        </p:txBody>
      </p:sp>
      <p:sp>
        <p:nvSpPr>
          <p:cNvPr id="111" name="Título 1"/>
          <p:cNvSpPr txBox="1">
            <a:spLocks/>
          </p:cNvSpPr>
          <p:nvPr/>
        </p:nvSpPr>
        <p:spPr>
          <a:xfrm>
            <a:off x="258255" y="782823"/>
            <a:ext cx="4064465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A ideia</a:t>
            </a:r>
            <a:endParaRPr kumimoji="0" lang="pt-BR" sz="2800" b="0" i="0" u="none" strike="noStrike" kern="1200" cap="small" spc="0" normalizeH="0" baseline="0" noProof="0" dirty="0">
              <a:ln>
                <a:noFill/>
              </a:ln>
              <a:solidFill>
                <a:srgbClr val="1399A0"/>
              </a:solidFill>
              <a:effectLst/>
              <a:uLnTx/>
              <a:uFillTx/>
              <a:latin typeface="Bosch Office Sans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030000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26904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4" name="Slide do think-cell" r:id="rId20" imgW="351" imgH="351" progId="TCLayout.ActiveDocument.1">
                  <p:embed/>
                </p:oleObj>
              </mc:Choice>
              <mc:Fallback>
                <p:oleObj name="Slide do think-cell" r:id="rId20" imgW="351" imgH="351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pt-BR" sz="360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grpSp>
        <p:nvGrpSpPr>
          <p:cNvPr id="30" name="Agrupar 29"/>
          <p:cNvGrpSpPr/>
          <p:nvPr/>
        </p:nvGrpSpPr>
        <p:grpSpPr>
          <a:xfrm>
            <a:off x="-1" y="0"/>
            <a:ext cx="10840721" cy="6170613"/>
            <a:chOff x="-1" y="0"/>
            <a:chExt cx="10840721" cy="6170613"/>
          </a:xfrm>
        </p:grpSpPr>
        <p:pic>
          <p:nvPicPr>
            <p:cNvPr id="31" name="Imagem 30"/>
            <p:cNvPicPr>
              <a:picLocks noChangeAspect="1"/>
            </p:cNvPicPr>
            <p:nvPr/>
          </p:nvPicPr>
          <p:blipFill rotWithShape="1">
            <a:blip r:embed="rId2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250"/>
            <a:stretch/>
          </p:blipFill>
          <p:spPr>
            <a:xfrm>
              <a:off x="0" y="99"/>
              <a:ext cx="10832555" cy="6170414"/>
            </a:xfrm>
            <a:prstGeom prst="rect">
              <a:avLst/>
            </a:prstGeom>
          </p:spPr>
        </p:pic>
        <p:sp>
          <p:nvSpPr>
            <p:cNvPr id="32" name="Retângulo 31"/>
            <p:cNvSpPr/>
            <p:nvPr/>
          </p:nvSpPr>
          <p:spPr>
            <a:xfrm>
              <a:off x="-1" y="0"/>
              <a:ext cx="10840721" cy="6170613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pic>
        <p:nvPicPr>
          <p:cNvPr id="5" name="Grafik 4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9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11" name="Table 19"/>
          <p:cNvGraphicFramePr>
            <a:graphicFrameLocks noGrp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43399412"/>
              </p:ext>
            </p:extLst>
          </p:nvPr>
        </p:nvGraphicFramePr>
        <p:xfrm>
          <a:off x="6973555" y="2040201"/>
          <a:ext cx="2066536" cy="35435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03848">
                  <a:extLst>
                    <a:ext uri="{9D8B030D-6E8A-4147-A177-3AD203B41FA5}">
                      <a16:colId xmlns:a16="http://schemas.microsoft.com/office/drawing/2014/main" val="209455638"/>
                    </a:ext>
                  </a:extLst>
                </a:gridCol>
                <a:gridCol w="1262688">
                  <a:extLst>
                    <a:ext uri="{9D8B030D-6E8A-4147-A177-3AD203B41FA5}">
                      <a16:colId xmlns:a16="http://schemas.microsoft.com/office/drawing/2014/main" val="2824521967"/>
                    </a:ext>
                  </a:extLst>
                </a:gridCol>
              </a:tblGrid>
              <a:tr h="885897">
                <a:tc>
                  <a:txBody>
                    <a:bodyPr/>
                    <a:lstStyle/>
                    <a:p>
                      <a:pPr eaLnBrk="1"/>
                      <a:endParaRPr lang="pt-BR" noProof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b="1" noProof="0" dirty="0" smtClean="0">
                          <a:solidFill>
                            <a:srgbClr val="288C3F"/>
                          </a:solidFill>
                        </a:rPr>
                        <a:t>FIL</a:t>
                      </a:r>
                    </a:p>
                    <a:p>
                      <a:pPr>
                        <a:lnSpc>
                          <a:spcPts val="800"/>
                        </a:lnSpc>
                      </a:pPr>
                      <a:r>
                        <a:rPr lang="pt-BR" sz="900" b="0" noProof="0" dirty="0" smtClean="0"/>
                        <a:t>FEATURE </a:t>
                      </a:r>
                      <a:br>
                        <a:rPr lang="pt-BR" sz="900" b="0" noProof="0" dirty="0" smtClean="0"/>
                      </a:br>
                      <a:r>
                        <a:rPr lang="pt-BR" sz="900" b="0" noProof="0" dirty="0" smtClean="0"/>
                        <a:t>Interface</a:t>
                      </a:r>
                      <a:r>
                        <a:rPr lang="pt-BR" sz="900" b="0" baseline="0" noProof="0" dirty="0" smtClean="0"/>
                        <a:t> Library</a:t>
                      </a:r>
                    </a:p>
                  </a:txBody>
                  <a:tcPr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09998459"/>
                  </a:ext>
                </a:extLst>
              </a:tr>
              <a:tr h="885897">
                <a:tc>
                  <a:txBody>
                    <a:bodyPr/>
                    <a:lstStyle/>
                    <a:p>
                      <a:pPr eaLnBrk="1"/>
                      <a:endParaRPr lang="pt-BR" noProof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b="1" noProof="0" dirty="0" smtClean="0">
                          <a:solidFill>
                            <a:srgbClr val="288C3F"/>
                          </a:solidFill>
                        </a:rPr>
                        <a:t>FDK</a:t>
                      </a:r>
                    </a:p>
                    <a:p>
                      <a:pPr>
                        <a:lnSpc>
                          <a:spcPts val="800"/>
                        </a:lnSpc>
                      </a:pPr>
                      <a:r>
                        <a:rPr lang="pt-BR" sz="900" b="0" noProof="0" dirty="0" smtClean="0"/>
                        <a:t>FEATURE</a:t>
                      </a:r>
                      <a:r>
                        <a:rPr lang="pt-BR" sz="900" b="0" baseline="0" noProof="0" dirty="0" smtClean="0"/>
                        <a:t> </a:t>
                      </a:r>
                      <a:r>
                        <a:rPr lang="pt-BR" sz="900" b="0" baseline="0" noProof="0" dirty="0" err="1" smtClean="0"/>
                        <a:t>Development</a:t>
                      </a:r>
                      <a:r>
                        <a:rPr lang="pt-BR" sz="900" b="0" baseline="0" noProof="0" dirty="0" smtClean="0"/>
                        <a:t> Kit</a:t>
                      </a:r>
                      <a:endParaRPr lang="pt-BR" sz="900" b="0" noProof="0" dirty="0"/>
                    </a:p>
                  </a:txBody>
                  <a:tcPr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54082923"/>
                  </a:ext>
                </a:extLst>
              </a:tr>
              <a:tr h="885897">
                <a:tc>
                  <a:txBody>
                    <a:bodyPr/>
                    <a:lstStyle/>
                    <a:p>
                      <a:pPr eaLnBrk="1"/>
                      <a:endParaRPr lang="pt-BR" noProof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b="1" noProof="0" dirty="0" smtClean="0">
                          <a:solidFill>
                            <a:srgbClr val="288C3F"/>
                          </a:solidFill>
                        </a:rPr>
                        <a:t>FDS</a:t>
                      </a:r>
                    </a:p>
                    <a:p>
                      <a:pPr>
                        <a:lnSpc>
                          <a:spcPts val="800"/>
                        </a:lnSpc>
                      </a:pPr>
                      <a:r>
                        <a:rPr lang="pt-BR" sz="900" b="0" noProof="0" dirty="0" smtClean="0"/>
                        <a:t>FEATURE Deployment</a:t>
                      </a:r>
                      <a:r>
                        <a:rPr lang="pt-BR" sz="900" b="0" baseline="0" noProof="0" dirty="0" smtClean="0"/>
                        <a:t> Service</a:t>
                      </a:r>
                      <a:endParaRPr lang="pt-BR" sz="900" b="0" noProof="0" dirty="0"/>
                    </a:p>
                  </a:txBody>
                  <a:tcPr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47797829"/>
                  </a:ext>
                </a:extLst>
              </a:tr>
              <a:tr h="885897">
                <a:tc>
                  <a:txBody>
                    <a:bodyPr/>
                    <a:lstStyle/>
                    <a:p>
                      <a:pPr eaLnBrk="1"/>
                      <a:endParaRPr lang="pt-BR" noProof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pt-BR" sz="1600" b="1" noProof="0" dirty="0" smtClean="0">
                          <a:solidFill>
                            <a:srgbClr val="288C3F"/>
                          </a:solidFill>
                        </a:rPr>
                        <a:t>FEK*</a:t>
                      </a:r>
                    </a:p>
                    <a:p>
                      <a:pPr>
                        <a:lnSpc>
                          <a:spcPts val="800"/>
                        </a:lnSpc>
                      </a:pPr>
                      <a:r>
                        <a:rPr lang="pt-BR" sz="900" b="0" noProof="0" dirty="0" smtClean="0"/>
                        <a:t>FEATURE </a:t>
                      </a:r>
                    </a:p>
                    <a:p>
                      <a:pPr>
                        <a:lnSpc>
                          <a:spcPts val="800"/>
                        </a:lnSpc>
                      </a:pPr>
                      <a:r>
                        <a:rPr lang="pt-BR" sz="900" b="0" noProof="0" dirty="0" err="1" smtClean="0"/>
                        <a:t>Enabling</a:t>
                      </a:r>
                      <a:r>
                        <a:rPr lang="pt-BR" sz="900" b="0" noProof="0" dirty="0" smtClean="0"/>
                        <a:t> Kit</a:t>
                      </a:r>
                      <a:endParaRPr lang="pt-BR" sz="900" b="0" noProof="0" dirty="0"/>
                    </a:p>
                  </a:txBody>
                  <a:tcPr anchor="ctr">
                    <a:lnL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3074537"/>
                  </a:ext>
                </a:extLst>
              </a:tr>
            </a:tbl>
          </a:graphicData>
        </a:graphic>
      </p:graphicFrame>
      <p:sp>
        <p:nvSpPr>
          <p:cNvPr id="12" name="Rectangle 9"/>
          <p:cNvSpPr/>
          <p:nvPr>
            <p:custDataLst>
              <p:tags r:id="rId7"/>
            </p:custDataLst>
          </p:nvPr>
        </p:nvSpPr>
        <p:spPr>
          <a:xfrm>
            <a:off x="236915" y="1533295"/>
            <a:ext cx="6339147" cy="367768"/>
          </a:xfrm>
          <a:prstGeom prst="rect">
            <a:avLst/>
          </a:prstGeom>
          <a:solidFill>
            <a:srgbClr val="288C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kern="0" dirty="0" smtClean="0">
                <a:solidFill>
                  <a:schemeClr val="bg1"/>
                </a:solidFill>
                <a:latin typeface="Bosch Office Sans"/>
              </a:rPr>
              <a:t>Ecossistema</a:t>
            </a:r>
            <a:endParaRPr kumimoji="0" lang="pt-BR" b="1" i="0" u="none" strike="noStrike" kern="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sch Office Sans"/>
            </a:endParaRPr>
          </a:p>
        </p:txBody>
      </p:sp>
      <p:sp>
        <p:nvSpPr>
          <p:cNvPr id="13" name="Rectangle 10"/>
          <p:cNvSpPr/>
          <p:nvPr>
            <p:custDataLst>
              <p:tags r:id="rId8"/>
            </p:custDataLst>
          </p:nvPr>
        </p:nvSpPr>
        <p:spPr>
          <a:xfrm>
            <a:off x="6980483" y="1531099"/>
            <a:ext cx="3732544" cy="367768"/>
          </a:xfrm>
          <a:prstGeom prst="rect">
            <a:avLst/>
          </a:prstGeom>
          <a:solidFill>
            <a:srgbClr val="288C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kern="0" dirty="0" smtClean="0">
                <a:solidFill>
                  <a:schemeClr val="bg1"/>
                </a:solidFill>
                <a:latin typeface="Bosch Office Sans"/>
              </a:rPr>
              <a:t>Contribuição NEVONEX</a:t>
            </a:r>
            <a:endParaRPr kumimoji="0" lang="pt-BR" b="1" i="0" u="none" strike="noStrike" kern="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sch Office Sans"/>
            </a:endParaRPr>
          </a:p>
        </p:txBody>
      </p:sp>
      <p:cxnSp>
        <p:nvCxnSpPr>
          <p:cNvPr id="14" name="Straight Connector 14"/>
          <p:cNvCxnSpPr/>
          <p:nvPr>
            <p:custDataLst>
              <p:tags r:id="rId9"/>
            </p:custDataLst>
          </p:nvPr>
        </p:nvCxnSpPr>
        <p:spPr>
          <a:xfrm flipH="1">
            <a:off x="6786000" y="1531099"/>
            <a:ext cx="8205" cy="4083128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5"/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24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rcRect l="15532" t="6257" r="9123" b="9744"/>
          <a:stretch/>
        </p:blipFill>
        <p:spPr>
          <a:xfrm>
            <a:off x="6987046" y="4021711"/>
            <a:ext cx="684545" cy="513409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>
            <p:custDataLst>
              <p:tags r:id="rId11"/>
            </p:custDataLst>
          </p:nvPr>
        </p:nvPicPr>
        <p:blipFill rotWithShape="1"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3916"/>
          <a:stretch/>
        </p:blipFill>
        <p:spPr>
          <a:xfrm>
            <a:off x="7038970" y="3262442"/>
            <a:ext cx="721044" cy="467775"/>
          </a:xfrm>
          <a:prstGeom prst="rect">
            <a:avLst/>
          </a:prstGeom>
        </p:spPr>
      </p:pic>
      <p:pic>
        <p:nvPicPr>
          <p:cNvPr id="17" name="Picture 17"/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7"/>
          <a:stretch>
            <a:fillRect/>
          </a:stretch>
        </p:blipFill>
        <p:spPr>
          <a:xfrm rot="16200000">
            <a:off x="7140255" y="4963241"/>
            <a:ext cx="398140" cy="638284"/>
          </a:xfrm>
          <a:prstGeom prst="rect">
            <a:avLst/>
          </a:prstGeom>
        </p:spPr>
      </p:pic>
      <p:sp>
        <p:nvSpPr>
          <p:cNvPr id="18" name="Rectangle 22"/>
          <p:cNvSpPr/>
          <p:nvPr>
            <p:custDataLst>
              <p:tags r:id="rId13"/>
            </p:custDataLst>
          </p:nvPr>
        </p:nvSpPr>
        <p:spPr>
          <a:xfrm>
            <a:off x="8947091" y="2106768"/>
            <a:ext cx="1765936" cy="3357943"/>
          </a:xfrm>
          <a:prstGeom prst="rect">
            <a:avLst/>
          </a:prstGeom>
          <a:solidFill>
            <a:srgbClr val="288C3F"/>
          </a:solidFill>
          <a:ln w="9525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b="1" i="0" u="none" strike="noStrike" kern="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sch Office Sans"/>
            </a:endParaRPr>
          </a:p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b="1" kern="0" dirty="0" smtClean="0">
              <a:solidFill>
                <a:schemeClr val="bg1"/>
              </a:solidFill>
              <a:latin typeface="Bosch Office Sans"/>
            </a:endParaRPr>
          </a:p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b="1" i="0" u="none" strike="noStrike" kern="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sch Office Sans"/>
            </a:endParaRPr>
          </a:p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b="1" kern="0" dirty="0" smtClean="0">
              <a:solidFill>
                <a:schemeClr val="bg1"/>
              </a:solidFill>
              <a:latin typeface="Bosch Office Sans"/>
            </a:endParaRPr>
          </a:p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b="1" i="0" u="none" strike="noStrike" kern="0" cap="none" spc="0" normalizeH="0" baseline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osch Office Sans"/>
            </a:endParaRPr>
          </a:p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pt-BR" sz="1400" b="1" kern="0" dirty="0">
              <a:solidFill>
                <a:schemeClr val="bg1"/>
              </a:solidFill>
              <a:latin typeface="Bosch Office Sans"/>
            </a:endParaRPr>
          </a:p>
        </p:txBody>
      </p:sp>
      <p:pic>
        <p:nvPicPr>
          <p:cNvPr id="21" name="Picture 28"/>
          <p:cNvPicPr>
            <a:picLocks noChangeAspect="1"/>
          </p:cNvPicPr>
          <p:nvPr>
            <p:custDataLst>
              <p:tags r:id="rId14"/>
            </p:custDataLst>
          </p:nvPr>
        </p:nvPicPr>
        <p:blipFill>
          <a:blip r:embed="rId28">
            <a:extLst>
              <a:ext uri="{BEBA8EAE-BF5A-486C-A8C5-ECC9F3942E4B}">
                <a14:imgProps xmlns:a14="http://schemas.microsoft.com/office/drawing/2010/main">
                  <a14:imgLayer r:embed="rId29">
                    <a14:imgEffect>
                      <a14:backgroundRemoval t="10000" b="100000" l="9639" r="8975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40998" y="2210522"/>
            <a:ext cx="479412" cy="548725"/>
          </a:xfrm>
          <a:prstGeom prst="rect">
            <a:avLst/>
          </a:prstGeom>
        </p:spPr>
      </p:pic>
      <p:sp>
        <p:nvSpPr>
          <p:cNvPr id="40" name="Textfeld 13"/>
          <p:cNvSpPr txBox="1"/>
          <p:nvPr>
            <p:custDataLst>
              <p:tags r:id="rId15"/>
            </p:custDataLst>
          </p:nvPr>
        </p:nvSpPr>
        <p:spPr>
          <a:xfrm>
            <a:off x="7914507" y="5606144"/>
            <a:ext cx="1831473" cy="2470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R="0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* 3</a:t>
            </a:r>
            <a:r>
              <a:rPr kumimoji="0" lang="pt-BR" sz="900" b="0" i="0" u="none" strike="noStrike" kern="0" cap="none" spc="0" normalizeH="0" baseline="30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rd</a:t>
            </a: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pt-BR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arty</a:t>
            </a: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HW  </a:t>
            </a:r>
            <a:r>
              <a:rPr kumimoji="0" lang="pt-BR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ssible</a:t>
            </a:r>
            <a:r>
              <a:rPr kumimoji="0" lang="pt-B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/ </a:t>
            </a:r>
            <a:r>
              <a:rPr kumimoji="0" lang="pt-BR" sz="9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upported</a:t>
            </a:r>
            <a:endParaRPr kumimoji="0" lang="pt-BR" sz="9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42" name="Gruppieren 18"/>
          <p:cNvGrpSpPr/>
          <p:nvPr/>
        </p:nvGrpSpPr>
        <p:grpSpPr>
          <a:xfrm>
            <a:off x="9178668" y="3152284"/>
            <a:ext cx="1302781" cy="1260000"/>
            <a:chOff x="9191945" y="2856768"/>
            <a:chExt cx="1302781" cy="1260000"/>
          </a:xfrm>
        </p:grpSpPr>
        <p:sp>
          <p:nvSpPr>
            <p:cNvPr id="43" name="Ellipse 44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9209415" y="2856768"/>
              <a:ext cx="1250237" cy="1260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pic>
          <p:nvPicPr>
            <p:cNvPr id="44" name="Grafik 55"/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91945" y="3265886"/>
              <a:ext cx="1302781" cy="521642"/>
            </a:xfrm>
            <a:prstGeom prst="rect">
              <a:avLst/>
            </a:prstGeom>
          </p:spPr>
        </p:pic>
      </p:grpSp>
      <p:sp>
        <p:nvSpPr>
          <p:cNvPr id="36" name="CaixaDeTexto 35"/>
          <p:cNvSpPr txBox="1"/>
          <p:nvPr/>
        </p:nvSpPr>
        <p:spPr>
          <a:xfrm>
            <a:off x="10038489" y="5410061"/>
            <a:ext cx="770005" cy="2778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ct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90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wered</a:t>
            </a:r>
            <a:r>
              <a:rPr kumimoji="0" lang="pt-BR" sz="9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pt-BR" sz="90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y</a:t>
            </a:r>
            <a:endParaRPr kumimoji="0" lang="pt-BR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5" name="Título 1"/>
          <p:cNvSpPr txBox="1">
            <a:spLocks/>
          </p:cNvSpPr>
          <p:nvPr/>
        </p:nvSpPr>
        <p:spPr>
          <a:xfrm>
            <a:off x="236915" y="258523"/>
            <a:ext cx="8741682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sz="3600" cap="small" dirty="0">
                <a:solidFill>
                  <a:schemeClr val="accent4"/>
                </a:solidFill>
              </a:rPr>
              <a:t>BOSCH Agro 4.0 | NEVONEX</a:t>
            </a:r>
          </a:p>
        </p:txBody>
      </p:sp>
      <p:sp>
        <p:nvSpPr>
          <p:cNvPr id="46" name="Título 1"/>
          <p:cNvSpPr txBox="1">
            <a:spLocks/>
          </p:cNvSpPr>
          <p:nvPr/>
        </p:nvSpPr>
        <p:spPr>
          <a:xfrm>
            <a:off x="258255" y="782823"/>
            <a:ext cx="4749174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2800" b="1" cap="small" noProof="0" dirty="0" smtClean="0">
                <a:solidFill>
                  <a:srgbClr val="1399A0"/>
                </a:solidFill>
                <a:latin typeface="Bosch Office Sans"/>
              </a:rPr>
              <a:t>Ecossistema</a:t>
            </a:r>
            <a:endParaRPr kumimoji="0" lang="pt-BR" sz="2800" b="0" i="0" u="none" strike="noStrike" kern="1200" cap="small" spc="0" normalizeH="0" baseline="0" noProof="0" dirty="0">
              <a:ln>
                <a:noFill/>
              </a:ln>
              <a:solidFill>
                <a:srgbClr val="1399A0"/>
              </a:solidFill>
              <a:effectLst/>
              <a:uLnTx/>
              <a:uFillTx/>
              <a:latin typeface="Bosch Office Sans"/>
            </a:endParaRPr>
          </a:p>
        </p:txBody>
      </p:sp>
      <p:sp>
        <p:nvSpPr>
          <p:cNvPr id="105" name="Elipse 104"/>
          <p:cNvSpPr/>
          <p:nvPr/>
        </p:nvSpPr>
        <p:spPr>
          <a:xfrm>
            <a:off x="1389156" y="4591170"/>
            <a:ext cx="658800" cy="6588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215002" y="2250429"/>
            <a:ext cx="6332457" cy="3159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59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50185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5" name="Slide do think-cell" r:id="rId10" imgW="351" imgH="351" progId="TCLayout.ActiveDocument.1">
                  <p:embed/>
                </p:oleObj>
              </mc:Choice>
              <mc:Fallback>
                <p:oleObj name="Slide do think-cell" r:id="rId10" imgW="351" imgH="351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pt-BR" sz="360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grpSp>
        <p:nvGrpSpPr>
          <p:cNvPr id="30" name="Agrupar 29"/>
          <p:cNvGrpSpPr/>
          <p:nvPr/>
        </p:nvGrpSpPr>
        <p:grpSpPr>
          <a:xfrm>
            <a:off x="-1213" y="482"/>
            <a:ext cx="10840721" cy="6170613"/>
            <a:chOff x="-1" y="0"/>
            <a:chExt cx="10840721" cy="6170613"/>
          </a:xfrm>
        </p:grpSpPr>
        <p:pic>
          <p:nvPicPr>
            <p:cNvPr id="31" name="Imagem 30"/>
            <p:cNvPicPr>
              <a:picLocks noChangeAspect="1"/>
            </p:cNvPicPr>
            <p:nvPr/>
          </p:nvPicPr>
          <p:blipFill rotWithShape="1"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301"/>
            <a:stretch/>
          </p:blipFill>
          <p:spPr>
            <a:xfrm>
              <a:off x="0" y="99"/>
              <a:ext cx="10826945" cy="6170414"/>
            </a:xfrm>
            <a:prstGeom prst="rect">
              <a:avLst/>
            </a:prstGeom>
          </p:spPr>
        </p:pic>
        <p:sp>
          <p:nvSpPr>
            <p:cNvPr id="32" name="Retângulo 31"/>
            <p:cNvSpPr/>
            <p:nvPr/>
          </p:nvSpPr>
          <p:spPr>
            <a:xfrm>
              <a:off x="-1" y="0"/>
              <a:ext cx="10840721" cy="6170613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pic>
        <p:nvPicPr>
          <p:cNvPr id="5" name="Grafik 4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9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6" name="Rechteck 17"/>
          <p:cNvSpPr/>
          <p:nvPr/>
        </p:nvSpPr>
        <p:spPr>
          <a:xfrm>
            <a:off x="275858" y="2064408"/>
            <a:ext cx="324000" cy="324000"/>
          </a:xfrm>
          <a:prstGeom prst="rect">
            <a:avLst/>
          </a:prstGeom>
          <a:solidFill>
            <a:srgbClr val="288C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1</a:t>
            </a:r>
          </a:p>
        </p:txBody>
      </p:sp>
      <p:sp>
        <p:nvSpPr>
          <p:cNvPr id="97" name="Rechteck 22"/>
          <p:cNvSpPr/>
          <p:nvPr/>
        </p:nvSpPr>
        <p:spPr>
          <a:xfrm>
            <a:off x="682686" y="2064408"/>
            <a:ext cx="2986613" cy="324000"/>
          </a:xfrm>
          <a:prstGeom prst="rect">
            <a:avLst/>
          </a:prstGeom>
          <a:solidFill>
            <a:srgbClr val="288C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kern="0" dirty="0" err="1" smtClean="0">
                <a:solidFill>
                  <a:srgbClr val="FFFFFF"/>
                </a:solidFill>
                <a:latin typeface="Bosch Office Sans"/>
              </a:rPr>
              <a:t>Escanear</a:t>
            </a:r>
            <a:endParaRPr kumimoji="0" lang="pt-BR" sz="1800" b="1" i="0" u="none" strike="noStrike" kern="0" cap="none" spc="0" normalizeH="0" baseline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sch Office Sans"/>
            </a:endParaRPr>
          </a:p>
        </p:txBody>
      </p:sp>
      <p:sp>
        <p:nvSpPr>
          <p:cNvPr id="98" name="Rechteck 23"/>
          <p:cNvSpPr/>
          <p:nvPr/>
        </p:nvSpPr>
        <p:spPr>
          <a:xfrm>
            <a:off x="3901975" y="2050027"/>
            <a:ext cx="324000" cy="324000"/>
          </a:xfrm>
          <a:prstGeom prst="rect">
            <a:avLst/>
          </a:prstGeom>
          <a:solidFill>
            <a:srgbClr val="288C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2</a:t>
            </a:r>
          </a:p>
        </p:txBody>
      </p:sp>
      <p:sp>
        <p:nvSpPr>
          <p:cNvPr id="99" name="Rechteck 24"/>
          <p:cNvSpPr/>
          <p:nvPr/>
        </p:nvSpPr>
        <p:spPr>
          <a:xfrm>
            <a:off x="4303554" y="2050027"/>
            <a:ext cx="3063258" cy="324000"/>
          </a:xfrm>
          <a:prstGeom prst="rect">
            <a:avLst/>
          </a:prstGeom>
          <a:solidFill>
            <a:srgbClr val="288C3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b="1" kern="0" dirty="0" smtClean="0">
                <a:solidFill>
                  <a:srgbClr val="FFFFFF"/>
                </a:solidFill>
                <a:latin typeface="Bosch Office Sans"/>
              </a:rPr>
              <a:t>Usar</a:t>
            </a:r>
            <a:endParaRPr kumimoji="0" lang="pt-BR" sz="18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sch Office Sans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4068941" y="2920626"/>
            <a:ext cx="3195014" cy="2437706"/>
            <a:chOff x="4157681" y="3238938"/>
            <a:chExt cx="3030546" cy="2270504"/>
          </a:xfrm>
        </p:grpSpPr>
        <p:pic>
          <p:nvPicPr>
            <p:cNvPr id="94" name="Grafik 137"/>
            <p:cNvPicPr>
              <a:picLocks noChangeAspect="1"/>
            </p:cNvPicPr>
            <p:nvPr/>
          </p:nvPicPr>
          <p:blipFill>
            <a:blip r:embed="rId14" cstate="screen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57681" y="3238938"/>
              <a:ext cx="3030546" cy="2270504"/>
            </a:xfrm>
            <a:prstGeom prst="rect">
              <a:avLst/>
            </a:prstGeom>
          </p:spPr>
        </p:pic>
        <p:sp>
          <p:nvSpPr>
            <p:cNvPr id="95" name="Rechteck 143"/>
            <p:cNvSpPr/>
            <p:nvPr/>
          </p:nvSpPr>
          <p:spPr>
            <a:xfrm rot="20877003">
              <a:off x="4295197" y="3818907"/>
              <a:ext cx="779029" cy="54326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pic>
          <p:nvPicPr>
            <p:cNvPr id="101" name="Grafik 138"/>
            <p:cNvPicPr>
              <a:picLocks noChangeAspect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20865664">
              <a:off x="4334426" y="3955141"/>
              <a:ext cx="737005" cy="370272"/>
            </a:xfrm>
            <a:prstGeom prst="rect">
              <a:avLst/>
            </a:prstGeom>
          </p:spPr>
        </p:pic>
        <p:sp>
          <p:nvSpPr>
            <p:cNvPr id="102" name="Gleichschenkliges Dreieck 144"/>
            <p:cNvSpPr/>
            <p:nvPr/>
          </p:nvSpPr>
          <p:spPr>
            <a:xfrm rot="4634709">
              <a:off x="4550372" y="3441811"/>
              <a:ext cx="147180" cy="773325"/>
            </a:xfrm>
            <a:prstGeom prst="triangl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pic>
          <p:nvPicPr>
            <p:cNvPr id="103" name="Grafik 145"/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859690">
              <a:off x="4289220" y="3856948"/>
              <a:ext cx="160144" cy="157188"/>
            </a:xfrm>
            <a:prstGeom prst="rect">
              <a:avLst/>
            </a:prstGeom>
          </p:spPr>
        </p:pic>
        <p:sp>
          <p:nvSpPr>
            <p:cNvPr id="104" name="Trapezoid 103"/>
            <p:cNvSpPr/>
            <p:nvPr/>
          </p:nvSpPr>
          <p:spPr>
            <a:xfrm rot="16709630">
              <a:off x="6550943" y="3135329"/>
              <a:ext cx="195458" cy="662659"/>
            </a:xfrm>
            <a:prstGeom prst="trapezoid">
              <a:avLst/>
            </a:prstGeom>
            <a:solidFill>
              <a:schemeClr val="bg1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  <p:pic>
          <p:nvPicPr>
            <p:cNvPr id="105" name="Grafik 139"/>
            <p:cNvPicPr>
              <a:picLocks noChangeAspect="1"/>
            </p:cNvPicPr>
            <p:nvPr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479295">
              <a:off x="6283274" y="3471966"/>
              <a:ext cx="673536" cy="391649"/>
            </a:xfrm>
            <a:prstGeom prst="rect">
              <a:avLst/>
            </a:prstGeom>
          </p:spPr>
        </p:pic>
        <p:pic>
          <p:nvPicPr>
            <p:cNvPr id="106" name="Grafik 147"/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352324">
              <a:off x="6812963" y="3418628"/>
              <a:ext cx="120319" cy="118098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230108" y="3589921"/>
            <a:ext cx="2194336" cy="2200566"/>
            <a:chOff x="230108" y="3913651"/>
            <a:chExt cx="1945885" cy="1876835"/>
          </a:xfrm>
        </p:grpSpPr>
        <p:grpSp>
          <p:nvGrpSpPr>
            <p:cNvPr id="107" name="Gruppieren 151"/>
            <p:cNvGrpSpPr/>
            <p:nvPr/>
          </p:nvGrpSpPr>
          <p:grpSpPr>
            <a:xfrm>
              <a:off x="230108" y="4304919"/>
              <a:ext cx="1945885" cy="1485567"/>
              <a:chOff x="259080" y="3502025"/>
              <a:chExt cx="2543175" cy="1895475"/>
            </a:xfrm>
          </p:grpSpPr>
          <p:pic>
            <p:nvPicPr>
              <p:cNvPr id="108" name="Grafik 27"/>
              <p:cNvPicPr>
                <a:picLocks noChangeAspect="1"/>
              </p:cNvPicPr>
              <p:nvPr/>
            </p:nvPicPr>
            <p:blipFill>
              <a:blip r:embed="rId20">
                <a:extLst>
                  <a:ext uri="{BEBA8EAE-BF5A-486C-A8C5-ECC9F3942E4B}">
                    <a14:imgProps xmlns:a14="http://schemas.microsoft.com/office/drawing/2010/main">
                      <a14:imgLayer r:embed="rId21">
                        <a14:imgEffect>
                          <a14:backgroundRemoval t="3518" b="89950" l="1124" r="96629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259080" y="3502025"/>
                <a:ext cx="2543175" cy="1895475"/>
              </a:xfrm>
              <a:prstGeom prst="rect">
                <a:avLst/>
              </a:prstGeom>
            </p:spPr>
          </p:pic>
          <p:sp>
            <p:nvSpPr>
              <p:cNvPr id="110" name="Rechteck 149"/>
              <p:cNvSpPr/>
              <p:nvPr/>
            </p:nvSpPr>
            <p:spPr>
              <a:xfrm>
                <a:off x="537047" y="5106987"/>
                <a:ext cx="2126809" cy="136985"/>
              </a:xfrm>
              <a:prstGeom prst="rect">
                <a:avLst/>
              </a:prstGeom>
              <a:solidFill>
                <a:srgbClr val="D68127"/>
              </a:solidFill>
              <a:ln w="9525" cap="flat" cmpd="sng" algn="ctr">
                <a:solidFill>
                  <a:srgbClr val="D68127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indent="0" algn="ctr" defTabSz="914400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pt-BR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osch Office Sans"/>
                  <a:ea typeface="+mn-ea"/>
                  <a:cs typeface="+mn-cs"/>
                </a:endParaRPr>
              </a:p>
            </p:txBody>
          </p:sp>
        </p:grpSp>
        <p:pic>
          <p:nvPicPr>
            <p:cNvPr id="112" name="Grafik 28"/>
            <p:cNvPicPr>
              <a:picLocks noChangeAspect="1"/>
            </p:cNvPicPr>
            <p:nvPr/>
          </p:nvPicPr>
          <p:blipFill>
            <a:blip r:embed="rId22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backgroundRemoval t="0" b="100000" l="0" r="100000">
                          <a14:foregroundMark x1="56805" y1="62712" x2="80473" y2="15254"/>
                          <a14:foregroundMark x1="81657" y1="53390" x2="63905" y2="14407"/>
                          <a14:foregroundMark x1="88166" y1="28814" x2="59763" y2="36441"/>
                          <a14:foregroundMark x1="34320" y1="48305" x2="34320" y2="48305"/>
                          <a14:foregroundMark x1="31361" y1="66102" x2="31361" y2="66102"/>
                          <a14:foregroundMark x1="22485" y1="55932" x2="22485" y2="55932"/>
                          <a14:foregroundMark x1="20710" y1="72034" x2="20710" y2="72034"/>
                          <a14:foregroundMark x1="14201" y1="94915" x2="14201" y2="94915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flipH="1">
              <a:off x="442793" y="3913651"/>
              <a:ext cx="1041046" cy="726884"/>
            </a:xfrm>
            <a:prstGeom prst="rect">
              <a:avLst/>
            </a:prstGeom>
          </p:spPr>
        </p:pic>
      </p:grpSp>
      <p:grpSp>
        <p:nvGrpSpPr>
          <p:cNvPr id="7" name="Group 6"/>
          <p:cNvGrpSpPr/>
          <p:nvPr/>
        </p:nvGrpSpPr>
        <p:grpSpPr>
          <a:xfrm>
            <a:off x="2092682" y="2595945"/>
            <a:ext cx="1390878" cy="2498384"/>
            <a:chOff x="2122186" y="3178260"/>
            <a:chExt cx="1390878" cy="2498384"/>
          </a:xfrm>
        </p:grpSpPr>
        <p:pic>
          <p:nvPicPr>
            <p:cNvPr id="100" name="Grafik 30"/>
            <p:cNvPicPr>
              <a:picLocks noChangeAspect="1"/>
            </p:cNvPicPr>
            <p:nvPr/>
          </p:nvPicPr>
          <p:blipFill>
            <a:blip r:embed="rId24" cstate="screen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ackgroundRemoval t="3125" b="95536" l="9596" r="97980">
                          <a14:foregroundMark x1="40404" y1="29911" x2="59596" y2="74554"/>
                          <a14:foregroundMark x1="33838" y1="70089" x2="78788" y2="30804"/>
                          <a14:foregroundMark x1="53535" y1="35268" x2="70202" y2="65625"/>
                          <a14:foregroundMark x1="52020" y1="27679" x2="25253" y2="63393"/>
                          <a14:foregroundMark x1="25758" y1="37946" x2="85354" y2="45536"/>
                          <a14:foregroundMark x1="80303" y1="43750" x2="62626" y2="67857"/>
                          <a14:foregroundMark x1="67172" y1="50000" x2="67172" y2="50000"/>
                          <a14:foregroundMark x1="66162" y1="41964" x2="66162" y2="41964"/>
                          <a14:foregroundMark x1="60606" y1="30357" x2="60606" y2="30357"/>
                          <a14:foregroundMark x1="69192" y1="27232" x2="35354" y2="64732"/>
                          <a14:foregroundMark x1="25758" y1="50000" x2="76263" y2="55357"/>
                          <a14:foregroundMark x1="67172" y1="33482" x2="23737" y2="48661"/>
                          <a14:foregroundMark x1="28788" y1="58482" x2="70202" y2="62946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22186" y="3178260"/>
              <a:ext cx="878603" cy="993975"/>
            </a:xfrm>
            <a:prstGeom prst="rect">
              <a:avLst/>
            </a:prstGeom>
          </p:spPr>
        </p:pic>
        <p:pic>
          <p:nvPicPr>
            <p:cNvPr id="113" name="Grafik 31"/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23753" y="3863498"/>
              <a:ext cx="268979" cy="223243"/>
            </a:xfrm>
            <a:prstGeom prst="rect">
              <a:avLst/>
            </a:prstGeom>
          </p:spPr>
        </p:pic>
        <p:cxnSp>
          <p:nvCxnSpPr>
            <p:cNvPr id="114" name="Gerader Verbinder 123"/>
            <p:cNvCxnSpPr/>
            <p:nvPr/>
          </p:nvCxnSpPr>
          <p:spPr>
            <a:xfrm>
              <a:off x="2492732" y="3890755"/>
              <a:ext cx="275888" cy="428631"/>
            </a:xfrm>
            <a:prstGeom prst="line">
              <a:avLst/>
            </a:prstGeom>
            <a:ln>
              <a:solidFill>
                <a:srgbClr val="BFBFBF"/>
              </a:solidFill>
            </a:ln>
          </p:spPr>
          <p:style>
            <a:lnRef idx="1">
              <a:srgbClr val="A80163"/>
            </a:lnRef>
            <a:fillRef idx="0">
              <a:srgbClr val="A80163"/>
            </a:fillRef>
            <a:effectRef idx="0">
              <a:srgbClr val="A80163"/>
            </a:effectRef>
            <a:fontRef idx="minor">
              <a:schemeClr val="tx1"/>
            </a:fontRef>
          </p:style>
        </p:cxnSp>
        <p:cxnSp>
          <p:nvCxnSpPr>
            <p:cNvPr id="115" name="Gerader Verbinder 125"/>
            <p:cNvCxnSpPr/>
            <p:nvPr/>
          </p:nvCxnSpPr>
          <p:spPr>
            <a:xfrm>
              <a:off x="2223753" y="4086741"/>
              <a:ext cx="583651" cy="306985"/>
            </a:xfrm>
            <a:prstGeom prst="line">
              <a:avLst/>
            </a:prstGeom>
            <a:ln>
              <a:solidFill>
                <a:srgbClr val="BFBFBF"/>
              </a:solidFill>
            </a:ln>
          </p:spPr>
          <p:style>
            <a:lnRef idx="1">
              <a:srgbClr val="A80163"/>
            </a:lnRef>
            <a:fillRef idx="0">
              <a:srgbClr val="A80163"/>
            </a:fillRef>
            <a:effectRef idx="0">
              <a:srgbClr val="A80163"/>
            </a:effectRef>
            <a:fontRef idx="minor">
              <a:schemeClr val="tx1"/>
            </a:fontRef>
          </p:style>
        </p:cxnSp>
        <p:grpSp>
          <p:nvGrpSpPr>
            <p:cNvPr id="116" name="Group 125"/>
            <p:cNvGrpSpPr/>
            <p:nvPr/>
          </p:nvGrpSpPr>
          <p:grpSpPr>
            <a:xfrm>
              <a:off x="3253569" y="4278147"/>
              <a:ext cx="130027" cy="8800"/>
              <a:chOff x="3605213" y="133352"/>
              <a:chExt cx="369888" cy="30161"/>
            </a:xfrm>
          </p:grpSpPr>
          <p:sp>
            <p:nvSpPr>
              <p:cNvPr id="117" name="Freeform 12"/>
              <p:cNvSpPr>
                <a:spLocks/>
              </p:cNvSpPr>
              <p:nvPr/>
            </p:nvSpPr>
            <p:spPr bwMode="auto">
              <a:xfrm>
                <a:off x="3617912" y="133352"/>
                <a:ext cx="346075" cy="19050"/>
              </a:xfrm>
              <a:custGeom>
                <a:avLst/>
                <a:gdLst>
                  <a:gd name="T0" fmla="*/ 36 w 1309"/>
                  <a:gd name="T1" fmla="*/ 0 h 74"/>
                  <a:gd name="T2" fmla="*/ 1272 w 1309"/>
                  <a:gd name="T3" fmla="*/ 0 h 74"/>
                  <a:gd name="T4" fmla="*/ 1280 w 1309"/>
                  <a:gd name="T5" fmla="*/ 1 h 74"/>
                  <a:gd name="T6" fmla="*/ 1286 w 1309"/>
                  <a:gd name="T7" fmla="*/ 3 h 74"/>
                  <a:gd name="T8" fmla="*/ 1292 w 1309"/>
                  <a:gd name="T9" fmla="*/ 7 h 74"/>
                  <a:gd name="T10" fmla="*/ 1298 w 1309"/>
                  <a:gd name="T11" fmla="*/ 11 h 74"/>
                  <a:gd name="T12" fmla="*/ 1302 w 1309"/>
                  <a:gd name="T13" fmla="*/ 16 h 74"/>
                  <a:gd name="T14" fmla="*/ 1306 w 1309"/>
                  <a:gd name="T15" fmla="*/ 23 h 74"/>
                  <a:gd name="T16" fmla="*/ 1308 w 1309"/>
                  <a:gd name="T17" fmla="*/ 30 h 74"/>
                  <a:gd name="T18" fmla="*/ 1309 w 1309"/>
                  <a:gd name="T19" fmla="*/ 38 h 74"/>
                  <a:gd name="T20" fmla="*/ 1309 w 1309"/>
                  <a:gd name="T21" fmla="*/ 38 h 74"/>
                  <a:gd name="T22" fmla="*/ 1308 w 1309"/>
                  <a:gd name="T23" fmla="*/ 44 h 74"/>
                  <a:gd name="T24" fmla="*/ 1306 w 1309"/>
                  <a:gd name="T25" fmla="*/ 51 h 74"/>
                  <a:gd name="T26" fmla="*/ 1302 w 1309"/>
                  <a:gd name="T27" fmla="*/ 58 h 74"/>
                  <a:gd name="T28" fmla="*/ 1298 w 1309"/>
                  <a:gd name="T29" fmla="*/ 64 h 74"/>
                  <a:gd name="T30" fmla="*/ 1292 w 1309"/>
                  <a:gd name="T31" fmla="*/ 67 h 74"/>
                  <a:gd name="T32" fmla="*/ 1286 w 1309"/>
                  <a:gd name="T33" fmla="*/ 71 h 74"/>
                  <a:gd name="T34" fmla="*/ 1280 w 1309"/>
                  <a:gd name="T35" fmla="*/ 73 h 74"/>
                  <a:gd name="T36" fmla="*/ 1272 w 1309"/>
                  <a:gd name="T37" fmla="*/ 74 h 74"/>
                  <a:gd name="T38" fmla="*/ 36 w 1309"/>
                  <a:gd name="T39" fmla="*/ 74 h 74"/>
                  <a:gd name="T40" fmla="*/ 30 w 1309"/>
                  <a:gd name="T41" fmla="*/ 73 h 74"/>
                  <a:gd name="T42" fmla="*/ 23 w 1309"/>
                  <a:gd name="T43" fmla="*/ 71 h 74"/>
                  <a:gd name="T44" fmla="*/ 16 w 1309"/>
                  <a:gd name="T45" fmla="*/ 67 h 74"/>
                  <a:gd name="T46" fmla="*/ 10 w 1309"/>
                  <a:gd name="T47" fmla="*/ 64 h 74"/>
                  <a:gd name="T48" fmla="*/ 6 w 1309"/>
                  <a:gd name="T49" fmla="*/ 58 h 74"/>
                  <a:gd name="T50" fmla="*/ 2 w 1309"/>
                  <a:gd name="T51" fmla="*/ 51 h 74"/>
                  <a:gd name="T52" fmla="*/ 1 w 1309"/>
                  <a:gd name="T53" fmla="*/ 44 h 74"/>
                  <a:gd name="T54" fmla="*/ 0 w 1309"/>
                  <a:gd name="T55" fmla="*/ 38 h 74"/>
                  <a:gd name="T56" fmla="*/ 0 w 1309"/>
                  <a:gd name="T57" fmla="*/ 38 h 74"/>
                  <a:gd name="T58" fmla="*/ 1 w 1309"/>
                  <a:gd name="T59" fmla="*/ 30 h 74"/>
                  <a:gd name="T60" fmla="*/ 2 w 1309"/>
                  <a:gd name="T61" fmla="*/ 23 h 74"/>
                  <a:gd name="T62" fmla="*/ 6 w 1309"/>
                  <a:gd name="T63" fmla="*/ 16 h 74"/>
                  <a:gd name="T64" fmla="*/ 10 w 1309"/>
                  <a:gd name="T65" fmla="*/ 11 h 74"/>
                  <a:gd name="T66" fmla="*/ 16 w 1309"/>
                  <a:gd name="T67" fmla="*/ 7 h 74"/>
                  <a:gd name="T68" fmla="*/ 23 w 1309"/>
                  <a:gd name="T69" fmla="*/ 3 h 74"/>
                  <a:gd name="T70" fmla="*/ 30 w 1309"/>
                  <a:gd name="T71" fmla="*/ 1 h 74"/>
                  <a:gd name="T72" fmla="*/ 36 w 1309"/>
                  <a:gd name="T73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09" h="74">
                    <a:moveTo>
                      <a:pt x="36" y="0"/>
                    </a:moveTo>
                    <a:lnTo>
                      <a:pt x="1272" y="0"/>
                    </a:lnTo>
                    <a:lnTo>
                      <a:pt x="1280" y="1"/>
                    </a:lnTo>
                    <a:lnTo>
                      <a:pt x="1286" y="3"/>
                    </a:lnTo>
                    <a:lnTo>
                      <a:pt x="1292" y="7"/>
                    </a:lnTo>
                    <a:lnTo>
                      <a:pt x="1298" y="11"/>
                    </a:lnTo>
                    <a:lnTo>
                      <a:pt x="1302" y="16"/>
                    </a:lnTo>
                    <a:lnTo>
                      <a:pt x="1306" y="23"/>
                    </a:lnTo>
                    <a:lnTo>
                      <a:pt x="1308" y="30"/>
                    </a:lnTo>
                    <a:lnTo>
                      <a:pt x="1309" y="38"/>
                    </a:lnTo>
                    <a:lnTo>
                      <a:pt x="1309" y="38"/>
                    </a:lnTo>
                    <a:lnTo>
                      <a:pt x="1308" y="44"/>
                    </a:lnTo>
                    <a:lnTo>
                      <a:pt x="1306" y="51"/>
                    </a:lnTo>
                    <a:lnTo>
                      <a:pt x="1302" y="58"/>
                    </a:lnTo>
                    <a:lnTo>
                      <a:pt x="1298" y="64"/>
                    </a:lnTo>
                    <a:lnTo>
                      <a:pt x="1292" y="67"/>
                    </a:lnTo>
                    <a:lnTo>
                      <a:pt x="1286" y="71"/>
                    </a:lnTo>
                    <a:lnTo>
                      <a:pt x="1280" y="73"/>
                    </a:lnTo>
                    <a:lnTo>
                      <a:pt x="1272" y="74"/>
                    </a:lnTo>
                    <a:lnTo>
                      <a:pt x="36" y="74"/>
                    </a:lnTo>
                    <a:lnTo>
                      <a:pt x="30" y="73"/>
                    </a:lnTo>
                    <a:lnTo>
                      <a:pt x="23" y="71"/>
                    </a:lnTo>
                    <a:lnTo>
                      <a:pt x="16" y="67"/>
                    </a:lnTo>
                    <a:lnTo>
                      <a:pt x="10" y="64"/>
                    </a:lnTo>
                    <a:lnTo>
                      <a:pt x="6" y="58"/>
                    </a:lnTo>
                    <a:lnTo>
                      <a:pt x="2" y="51"/>
                    </a:lnTo>
                    <a:lnTo>
                      <a:pt x="1" y="44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1" y="30"/>
                    </a:lnTo>
                    <a:lnTo>
                      <a:pt x="2" y="23"/>
                    </a:lnTo>
                    <a:lnTo>
                      <a:pt x="6" y="16"/>
                    </a:lnTo>
                    <a:lnTo>
                      <a:pt x="10" y="11"/>
                    </a:lnTo>
                    <a:lnTo>
                      <a:pt x="16" y="7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6" y="0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rgbClr val="BFBFBF"/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rgbClr val="7F7F7F"/>
                  </a:gs>
                  <a:gs pos="54000">
                    <a:srgbClr val="000000"/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18" name="Rectangle 130"/>
              <p:cNvSpPr>
                <a:spLocks noChangeArrowheads="1"/>
              </p:cNvSpPr>
              <p:nvPr/>
            </p:nvSpPr>
            <p:spPr bwMode="auto">
              <a:xfrm>
                <a:off x="3605213" y="142875"/>
                <a:ext cx="369888" cy="20638"/>
              </a:xfrm>
              <a:prstGeom prst="rect">
                <a:avLst/>
              </a:prstGeom>
              <a:gradFill flip="none" rotWithShape="1">
                <a:gsLst>
                  <a:gs pos="78000">
                    <a:srgbClr val="404040"/>
                  </a:gs>
                  <a:gs pos="100000">
                    <a:srgbClr val="3C3C3C"/>
                  </a:gs>
                  <a:gs pos="0">
                    <a:srgbClr val="404040"/>
                  </a:gs>
                  <a:gs pos="13000">
                    <a:srgbClr val="262626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  <p:grpSp>
          <p:nvGrpSpPr>
            <p:cNvPr id="119" name="Group 126"/>
            <p:cNvGrpSpPr/>
            <p:nvPr/>
          </p:nvGrpSpPr>
          <p:grpSpPr>
            <a:xfrm>
              <a:off x="2709457" y="4479161"/>
              <a:ext cx="10598" cy="295961"/>
              <a:chOff x="2057454" y="822328"/>
              <a:chExt cx="30149" cy="1014410"/>
            </a:xfrm>
          </p:grpSpPr>
          <p:sp>
            <p:nvSpPr>
              <p:cNvPr id="120" name="Freeform 6"/>
              <p:cNvSpPr>
                <a:spLocks/>
              </p:cNvSpPr>
              <p:nvPr/>
            </p:nvSpPr>
            <p:spPr bwMode="auto">
              <a:xfrm>
                <a:off x="2057478" y="828677"/>
                <a:ext cx="19050" cy="200025"/>
              </a:xfrm>
              <a:custGeom>
                <a:avLst/>
                <a:gdLst>
                  <a:gd name="T0" fmla="*/ 0 w 74"/>
                  <a:gd name="T1" fmla="*/ 723 h 760"/>
                  <a:gd name="T2" fmla="*/ 0 w 74"/>
                  <a:gd name="T3" fmla="*/ 37 h 760"/>
                  <a:gd name="T4" fmla="*/ 1 w 74"/>
                  <a:gd name="T5" fmla="*/ 29 h 760"/>
                  <a:gd name="T6" fmla="*/ 3 w 74"/>
                  <a:gd name="T7" fmla="*/ 22 h 760"/>
                  <a:gd name="T8" fmla="*/ 7 w 74"/>
                  <a:gd name="T9" fmla="*/ 16 h 760"/>
                  <a:gd name="T10" fmla="*/ 11 w 74"/>
                  <a:gd name="T11" fmla="*/ 11 h 760"/>
                  <a:gd name="T12" fmla="*/ 16 w 74"/>
                  <a:gd name="T13" fmla="*/ 6 h 760"/>
                  <a:gd name="T14" fmla="*/ 23 w 74"/>
                  <a:gd name="T15" fmla="*/ 3 h 760"/>
                  <a:gd name="T16" fmla="*/ 30 w 74"/>
                  <a:gd name="T17" fmla="*/ 1 h 760"/>
                  <a:gd name="T18" fmla="*/ 38 w 74"/>
                  <a:gd name="T19" fmla="*/ 0 h 760"/>
                  <a:gd name="T20" fmla="*/ 38 w 74"/>
                  <a:gd name="T21" fmla="*/ 0 h 760"/>
                  <a:gd name="T22" fmla="*/ 44 w 74"/>
                  <a:gd name="T23" fmla="*/ 1 h 760"/>
                  <a:gd name="T24" fmla="*/ 51 w 74"/>
                  <a:gd name="T25" fmla="*/ 3 h 760"/>
                  <a:gd name="T26" fmla="*/ 58 w 74"/>
                  <a:gd name="T27" fmla="*/ 6 h 760"/>
                  <a:gd name="T28" fmla="*/ 63 w 74"/>
                  <a:gd name="T29" fmla="*/ 11 h 760"/>
                  <a:gd name="T30" fmla="*/ 67 w 74"/>
                  <a:gd name="T31" fmla="*/ 16 h 760"/>
                  <a:gd name="T32" fmla="*/ 71 w 74"/>
                  <a:gd name="T33" fmla="*/ 22 h 760"/>
                  <a:gd name="T34" fmla="*/ 73 w 74"/>
                  <a:gd name="T35" fmla="*/ 29 h 760"/>
                  <a:gd name="T36" fmla="*/ 74 w 74"/>
                  <a:gd name="T37" fmla="*/ 37 h 760"/>
                  <a:gd name="T38" fmla="*/ 74 w 74"/>
                  <a:gd name="T39" fmla="*/ 723 h 760"/>
                  <a:gd name="T40" fmla="*/ 73 w 74"/>
                  <a:gd name="T41" fmla="*/ 730 h 760"/>
                  <a:gd name="T42" fmla="*/ 71 w 74"/>
                  <a:gd name="T43" fmla="*/ 738 h 760"/>
                  <a:gd name="T44" fmla="*/ 67 w 74"/>
                  <a:gd name="T45" fmla="*/ 744 h 760"/>
                  <a:gd name="T46" fmla="*/ 63 w 74"/>
                  <a:gd name="T47" fmla="*/ 750 h 760"/>
                  <a:gd name="T48" fmla="*/ 58 w 74"/>
                  <a:gd name="T49" fmla="*/ 754 h 760"/>
                  <a:gd name="T50" fmla="*/ 51 w 74"/>
                  <a:gd name="T51" fmla="*/ 758 h 760"/>
                  <a:gd name="T52" fmla="*/ 44 w 74"/>
                  <a:gd name="T53" fmla="*/ 760 h 760"/>
                  <a:gd name="T54" fmla="*/ 38 w 74"/>
                  <a:gd name="T55" fmla="*/ 760 h 760"/>
                  <a:gd name="T56" fmla="*/ 38 w 74"/>
                  <a:gd name="T57" fmla="*/ 760 h 760"/>
                  <a:gd name="T58" fmla="*/ 30 w 74"/>
                  <a:gd name="T59" fmla="*/ 760 h 760"/>
                  <a:gd name="T60" fmla="*/ 23 w 74"/>
                  <a:gd name="T61" fmla="*/ 758 h 760"/>
                  <a:gd name="T62" fmla="*/ 16 w 74"/>
                  <a:gd name="T63" fmla="*/ 754 h 760"/>
                  <a:gd name="T64" fmla="*/ 11 w 74"/>
                  <a:gd name="T65" fmla="*/ 750 h 760"/>
                  <a:gd name="T66" fmla="*/ 7 w 74"/>
                  <a:gd name="T67" fmla="*/ 744 h 760"/>
                  <a:gd name="T68" fmla="*/ 3 w 74"/>
                  <a:gd name="T69" fmla="*/ 738 h 760"/>
                  <a:gd name="T70" fmla="*/ 1 w 74"/>
                  <a:gd name="T71" fmla="*/ 730 h 760"/>
                  <a:gd name="T72" fmla="*/ 0 w 74"/>
                  <a:gd name="T73" fmla="*/ 723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760">
                    <a:moveTo>
                      <a:pt x="0" y="723"/>
                    </a:moveTo>
                    <a:lnTo>
                      <a:pt x="0" y="37"/>
                    </a:lnTo>
                    <a:lnTo>
                      <a:pt x="1" y="29"/>
                    </a:lnTo>
                    <a:lnTo>
                      <a:pt x="3" y="22"/>
                    </a:lnTo>
                    <a:lnTo>
                      <a:pt x="7" y="16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6"/>
                    </a:lnTo>
                    <a:lnTo>
                      <a:pt x="63" y="11"/>
                    </a:lnTo>
                    <a:lnTo>
                      <a:pt x="67" y="16"/>
                    </a:lnTo>
                    <a:lnTo>
                      <a:pt x="71" y="22"/>
                    </a:lnTo>
                    <a:lnTo>
                      <a:pt x="73" y="29"/>
                    </a:lnTo>
                    <a:lnTo>
                      <a:pt x="74" y="37"/>
                    </a:lnTo>
                    <a:lnTo>
                      <a:pt x="74" y="723"/>
                    </a:lnTo>
                    <a:lnTo>
                      <a:pt x="73" y="730"/>
                    </a:lnTo>
                    <a:lnTo>
                      <a:pt x="71" y="738"/>
                    </a:lnTo>
                    <a:lnTo>
                      <a:pt x="67" y="744"/>
                    </a:lnTo>
                    <a:lnTo>
                      <a:pt x="63" y="750"/>
                    </a:lnTo>
                    <a:lnTo>
                      <a:pt x="58" y="754"/>
                    </a:lnTo>
                    <a:lnTo>
                      <a:pt x="51" y="758"/>
                    </a:lnTo>
                    <a:lnTo>
                      <a:pt x="44" y="760"/>
                    </a:lnTo>
                    <a:lnTo>
                      <a:pt x="38" y="760"/>
                    </a:lnTo>
                    <a:lnTo>
                      <a:pt x="38" y="760"/>
                    </a:lnTo>
                    <a:lnTo>
                      <a:pt x="30" y="760"/>
                    </a:lnTo>
                    <a:lnTo>
                      <a:pt x="23" y="758"/>
                    </a:lnTo>
                    <a:lnTo>
                      <a:pt x="16" y="754"/>
                    </a:lnTo>
                    <a:lnTo>
                      <a:pt x="11" y="750"/>
                    </a:lnTo>
                    <a:lnTo>
                      <a:pt x="7" y="744"/>
                    </a:lnTo>
                    <a:lnTo>
                      <a:pt x="3" y="738"/>
                    </a:lnTo>
                    <a:lnTo>
                      <a:pt x="1" y="730"/>
                    </a:lnTo>
                    <a:lnTo>
                      <a:pt x="0" y="723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rgbClr val="BFBFBF"/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rgbClr val="7F7F7F"/>
                  </a:gs>
                  <a:gs pos="54000">
                    <a:srgbClr val="000000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21" name="Freeform 7"/>
              <p:cNvSpPr>
                <a:spLocks/>
              </p:cNvSpPr>
              <p:nvPr/>
            </p:nvSpPr>
            <p:spPr bwMode="auto">
              <a:xfrm>
                <a:off x="2057454" y="1281117"/>
                <a:ext cx="19050" cy="155575"/>
              </a:xfrm>
              <a:custGeom>
                <a:avLst/>
                <a:gdLst>
                  <a:gd name="T0" fmla="*/ 0 w 74"/>
                  <a:gd name="T1" fmla="*/ 550 h 588"/>
                  <a:gd name="T2" fmla="*/ 0 w 74"/>
                  <a:gd name="T3" fmla="*/ 37 h 588"/>
                  <a:gd name="T4" fmla="*/ 1 w 74"/>
                  <a:gd name="T5" fmla="*/ 29 h 588"/>
                  <a:gd name="T6" fmla="*/ 3 w 74"/>
                  <a:gd name="T7" fmla="*/ 22 h 588"/>
                  <a:gd name="T8" fmla="*/ 7 w 74"/>
                  <a:gd name="T9" fmla="*/ 17 h 588"/>
                  <a:gd name="T10" fmla="*/ 11 w 74"/>
                  <a:gd name="T11" fmla="*/ 11 h 588"/>
                  <a:gd name="T12" fmla="*/ 16 w 74"/>
                  <a:gd name="T13" fmla="*/ 6 h 588"/>
                  <a:gd name="T14" fmla="*/ 23 w 74"/>
                  <a:gd name="T15" fmla="*/ 3 h 588"/>
                  <a:gd name="T16" fmla="*/ 30 w 74"/>
                  <a:gd name="T17" fmla="*/ 1 h 588"/>
                  <a:gd name="T18" fmla="*/ 38 w 74"/>
                  <a:gd name="T19" fmla="*/ 0 h 588"/>
                  <a:gd name="T20" fmla="*/ 38 w 74"/>
                  <a:gd name="T21" fmla="*/ 0 h 588"/>
                  <a:gd name="T22" fmla="*/ 44 w 74"/>
                  <a:gd name="T23" fmla="*/ 1 h 588"/>
                  <a:gd name="T24" fmla="*/ 51 w 74"/>
                  <a:gd name="T25" fmla="*/ 3 h 588"/>
                  <a:gd name="T26" fmla="*/ 58 w 74"/>
                  <a:gd name="T27" fmla="*/ 6 h 588"/>
                  <a:gd name="T28" fmla="*/ 63 w 74"/>
                  <a:gd name="T29" fmla="*/ 11 h 588"/>
                  <a:gd name="T30" fmla="*/ 67 w 74"/>
                  <a:gd name="T31" fmla="*/ 17 h 588"/>
                  <a:gd name="T32" fmla="*/ 71 w 74"/>
                  <a:gd name="T33" fmla="*/ 22 h 588"/>
                  <a:gd name="T34" fmla="*/ 73 w 74"/>
                  <a:gd name="T35" fmla="*/ 29 h 588"/>
                  <a:gd name="T36" fmla="*/ 74 w 74"/>
                  <a:gd name="T37" fmla="*/ 37 h 588"/>
                  <a:gd name="T38" fmla="*/ 74 w 74"/>
                  <a:gd name="T39" fmla="*/ 550 h 588"/>
                  <a:gd name="T40" fmla="*/ 73 w 74"/>
                  <a:gd name="T41" fmla="*/ 558 h 588"/>
                  <a:gd name="T42" fmla="*/ 71 w 74"/>
                  <a:gd name="T43" fmla="*/ 565 h 588"/>
                  <a:gd name="T44" fmla="*/ 67 w 74"/>
                  <a:gd name="T45" fmla="*/ 571 h 588"/>
                  <a:gd name="T46" fmla="*/ 63 w 74"/>
                  <a:gd name="T47" fmla="*/ 576 h 588"/>
                  <a:gd name="T48" fmla="*/ 58 w 74"/>
                  <a:gd name="T49" fmla="*/ 581 h 588"/>
                  <a:gd name="T50" fmla="*/ 51 w 74"/>
                  <a:gd name="T51" fmla="*/ 584 h 588"/>
                  <a:gd name="T52" fmla="*/ 44 w 74"/>
                  <a:gd name="T53" fmla="*/ 587 h 588"/>
                  <a:gd name="T54" fmla="*/ 38 w 74"/>
                  <a:gd name="T55" fmla="*/ 588 h 588"/>
                  <a:gd name="T56" fmla="*/ 38 w 74"/>
                  <a:gd name="T57" fmla="*/ 588 h 588"/>
                  <a:gd name="T58" fmla="*/ 30 w 74"/>
                  <a:gd name="T59" fmla="*/ 587 h 588"/>
                  <a:gd name="T60" fmla="*/ 23 w 74"/>
                  <a:gd name="T61" fmla="*/ 584 h 588"/>
                  <a:gd name="T62" fmla="*/ 16 w 74"/>
                  <a:gd name="T63" fmla="*/ 581 h 588"/>
                  <a:gd name="T64" fmla="*/ 11 w 74"/>
                  <a:gd name="T65" fmla="*/ 576 h 588"/>
                  <a:gd name="T66" fmla="*/ 7 w 74"/>
                  <a:gd name="T67" fmla="*/ 571 h 588"/>
                  <a:gd name="T68" fmla="*/ 3 w 74"/>
                  <a:gd name="T69" fmla="*/ 565 h 588"/>
                  <a:gd name="T70" fmla="*/ 1 w 74"/>
                  <a:gd name="T71" fmla="*/ 558 h 588"/>
                  <a:gd name="T72" fmla="*/ 0 w 74"/>
                  <a:gd name="T73" fmla="*/ 550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588">
                    <a:moveTo>
                      <a:pt x="0" y="550"/>
                    </a:moveTo>
                    <a:lnTo>
                      <a:pt x="0" y="37"/>
                    </a:lnTo>
                    <a:lnTo>
                      <a:pt x="1" y="29"/>
                    </a:lnTo>
                    <a:lnTo>
                      <a:pt x="3" y="22"/>
                    </a:lnTo>
                    <a:lnTo>
                      <a:pt x="7" y="17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6"/>
                    </a:lnTo>
                    <a:lnTo>
                      <a:pt x="63" y="11"/>
                    </a:lnTo>
                    <a:lnTo>
                      <a:pt x="67" y="17"/>
                    </a:lnTo>
                    <a:lnTo>
                      <a:pt x="71" y="22"/>
                    </a:lnTo>
                    <a:lnTo>
                      <a:pt x="73" y="29"/>
                    </a:lnTo>
                    <a:lnTo>
                      <a:pt x="74" y="37"/>
                    </a:lnTo>
                    <a:lnTo>
                      <a:pt x="74" y="550"/>
                    </a:lnTo>
                    <a:lnTo>
                      <a:pt x="73" y="558"/>
                    </a:lnTo>
                    <a:lnTo>
                      <a:pt x="71" y="565"/>
                    </a:lnTo>
                    <a:lnTo>
                      <a:pt x="67" y="571"/>
                    </a:lnTo>
                    <a:lnTo>
                      <a:pt x="63" y="576"/>
                    </a:lnTo>
                    <a:lnTo>
                      <a:pt x="58" y="581"/>
                    </a:lnTo>
                    <a:lnTo>
                      <a:pt x="51" y="584"/>
                    </a:lnTo>
                    <a:lnTo>
                      <a:pt x="44" y="587"/>
                    </a:lnTo>
                    <a:lnTo>
                      <a:pt x="38" y="588"/>
                    </a:lnTo>
                    <a:lnTo>
                      <a:pt x="38" y="588"/>
                    </a:lnTo>
                    <a:lnTo>
                      <a:pt x="30" y="587"/>
                    </a:lnTo>
                    <a:lnTo>
                      <a:pt x="23" y="584"/>
                    </a:lnTo>
                    <a:lnTo>
                      <a:pt x="16" y="581"/>
                    </a:lnTo>
                    <a:lnTo>
                      <a:pt x="11" y="576"/>
                    </a:lnTo>
                    <a:lnTo>
                      <a:pt x="7" y="571"/>
                    </a:lnTo>
                    <a:lnTo>
                      <a:pt x="3" y="565"/>
                    </a:lnTo>
                    <a:lnTo>
                      <a:pt x="1" y="558"/>
                    </a:lnTo>
                    <a:lnTo>
                      <a:pt x="0" y="550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rgbClr val="BFBFBF"/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rgbClr val="7F7F7F"/>
                  </a:gs>
                  <a:gs pos="54000">
                    <a:srgbClr val="000000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22" name="Freeform 8"/>
              <p:cNvSpPr>
                <a:spLocks/>
              </p:cNvSpPr>
              <p:nvPr/>
            </p:nvSpPr>
            <p:spPr bwMode="auto">
              <a:xfrm>
                <a:off x="2057473" y="1676404"/>
                <a:ext cx="19050" cy="155575"/>
              </a:xfrm>
              <a:custGeom>
                <a:avLst/>
                <a:gdLst>
                  <a:gd name="T0" fmla="*/ 0 w 74"/>
                  <a:gd name="T1" fmla="*/ 551 h 587"/>
                  <a:gd name="T2" fmla="*/ 0 w 74"/>
                  <a:gd name="T3" fmla="*/ 38 h 587"/>
                  <a:gd name="T4" fmla="*/ 1 w 74"/>
                  <a:gd name="T5" fmla="*/ 30 h 587"/>
                  <a:gd name="T6" fmla="*/ 3 w 74"/>
                  <a:gd name="T7" fmla="*/ 23 h 587"/>
                  <a:gd name="T8" fmla="*/ 7 w 74"/>
                  <a:gd name="T9" fmla="*/ 16 h 587"/>
                  <a:gd name="T10" fmla="*/ 11 w 74"/>
                  <a:gd name="T11" fmla="*/ 11 h 587"/>
                  <a:gd name="T12" fmla="*/ 16 w 74"/>
                  <a:gd name="T13" fmla="*/ 7 h 587"/>
                  <a:gd name="T14" fmla="*/ 23 w 74"/>
                  <a:gd name="T15" fmla="*/ 3 h 587"/>
                  <a:gd name="T16" fmla="*/ 30 w 74"/>
                  <a:gd name="T17" fmla="*/ 1 h 587"/>
                  <a:gd name="T18" fmla="*/ 38 w 74"/>
                  <a:gd name="T19" fmla="*/ 0 h 587"/>
                  <a:gd name="T20" fmla="*/ 38 w 74"/>
                  <a:gd name="T21" fmla="*/ 0 h 587"/>
                  <a:gd name="T22" fmla="*/ 44 w 74"/>
                  <a:gd name="T23" fmla="*/ 1 h 587"/>
                  <a:gd name="T24" fmla="*/ 51 w 74"/>
                  <a:gd name="T25" fmla="*/ 3 h 587"/>
                  <a:gd name="T26" fmla="*/ 58 w 74"/>
                  <a:gd name="T27" fmla="*/ 7 h 587"/>
                  <a:gd name="T28" fmla="*/ 63 w 74"/>
                  <a:gd name="T29" fmla="*/ 11 h 587"/>
                  <a:gd name="T30" fmla="*/ 67 w 74"/>
                  <a:gd name="T31" fmla="*/ 16 h 587"/>
                  <a:gd name="T32" fmla="*/ 71 w 74"/>
                  <a:gd name="T33" fmla="*/ 23 h 587"/>
                  <a:gd name="T34" fmla="*/ 73 w 74"/>
                  <a:gd name="T35" fmla="*/ 30 h 587"/>
                  <a:gd name="T36" fmla="*/ 74 w 74"/>
                  <a:gd name="T37" fmla="*/ 38 h 587"/>
                  <a:gd name="T38" fmla="*/ 74 w 74"/>
                  <a:gd name="T39" fmla="*/ 551 h 587"/>
                  <a:gd name="T40" fmla="*/ 73 w 74"/>
                  <a:gd name="T41" fmla="*/ 557 h 587"/>
                  <a:gd name="T42" fmla="*/ 71 w 74"/>
                  <a:gd name="T43" fmla="*/ 564 h 587"/>
                  <a:gd name="T44" fmla="*/ 67 w 74"/>
                  <a:gd name="T45" fmla="*/ 571 h 587"/>
                  <a:gd name="T46" fmla="*/ 63 w 74"/>
                  <a:gd name="T47" fmla="*/ 577 h 587"/>
                  <a:gd name="T48" fmla="*/ 58 w 74"/>
                  <a:gd name="T49" fmla="*/ 581 h 587"/>
                  <a:gd name="T50" fmla="*/ 51 w 74"/>
                  <a:gd name="T51" fmla="*/ 585 h 587"/>
                  <a:gd name="T52" fmla="*/ 44 w 74"/>
                  <a:gd name="T53" fmla="*/ 586 h 587"/>
                  <a:gd name="T54" fmla="*/ 38 w 74"/>
                  <a:gd name="T55" fmla="*/ 587 h 587"/>
                  <a:gd name="T56" fmla="*/ 38 w 74"/>
                  <a:gd name="T57" fmla="*/ 587 h 587"/>
                  <a:gd name="T58" fmla="*/ 30 w 74"/>
                  <a:gd name="T59" fmla="*/ 586 h 587"/>
                  <a:gd name="T60" fmla="*/ 23 w 74"/>
                  <a:gd name="T61" fmla="*/ 585 h 587"/>
                  <a:gd name="T62" fmla="*/ 16 w 74"/>
                  <a:gd name="T63" fmla="*/ 581 h 587"/>
                  <a:gd name="T64" fmla="*/ 11 w 74"/>
                  <a:gd name="T65" fmla="*/ 577 h 587"/>
                  <a:gd name="T66" fmla="*/ 7 w 74"/>
                  <a:gd name="T67" fmla="*/ 571 h 587"/>
                  <a:gd name="T68" fmla="*/ 3 w 74"/>
                  <a:gd name="T69" fmla="*/ 564 h 587"/>
                  <a:gd name="T70" fmla="*/ 1 w 74"/>
                  <a:gd name="T71" fmla="*/ 557 h 587"/>
                  <a:gd name="T72" fmla="*/ 0 w 74"/>
                  <a:gd name="T73" fmla="*/ 551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587">
                    <a:moveTo>
                      <a:pt x="0" y="551"/>
                    </a:moveTo>
                    <a:lnTo>
                      <a:pt x="0" y="38"/>
                    </a:lnTo>
                    <a:lnTo>
                      <a:pt x="1" y="30"/>
                    </a:lnTo>
                    <a:lnTo>
                      <a:pt x="3" y="23"/>
                    </a:lnTo>
                    <a:lnTo>
                      <a:pt x="7" y="16"/>
                    </a:lnTo>
                    <a:lnTo>
                      <a:pt x="11" y="11"/>
                    </a:lnTo>
                    <a:lnTo>
                      <a:pt x="16" y="7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7"/>
                    </a:lnTo>
                    <a:lnTo>
                      <a:pt x="63" y="11"/>
                    </a:lnTo>
                    <a:lnTo>
                      <a:pt x="67" y="16"/>
                    </a:lnTo>
                    <a:lnTo>
                      <a:pt x="71" y="23"/>
                    </a:lnTo>
                    <a:lnTo>
                      <a:pt x="73" y="30"/>
                    </a:lnTo>
                    <a:lnTo>
                      <a:pt x="74" y="38"/>
                    </a:lnTo>
                    <a:lnTo>
                      <a:pt x="74" y="551"/>
                    </a:lnTo>
                    <a:lnTo>
                      <a:pt x="73" y="557"/>
                    </a:lnTo>
                    <a:lnTo>
                      <a:pt x="71" y="564"/>
                    </a:lnTo>
                    <a:lnTo>
                      <a:pt x="67" y="571"/>
                    </a:lnTo>
                    <a:lnTo>
                      <a:pt x="63" y="577"/>
                    </a:lnTo>
                    <a:lnTo>
                      <a:pt x="58" y="581"/>
                    </a:lnTo>
                    <a:lnTo>
                      <a:pt x="51" y="585"/>
                    </a:lnTo>
                    <a:lnTo>
                      <a:pt x="44" y="586"/>
                    </a:lnTo>
                    <a:lnTo>
                      <a:pt x="38" y="587"/>
                    </a:lnTo>
                    <a:lnTo>
                      <a:pt x="38" y="587"/>
                    </a:lnTo>
                    <a:lnTo>
                      <a:pt x="30" y="586"/>
                    </a:lnTo>
                    <a:lnTo>
                      <a:pt x="23" y="585"/>
                    </a:lnTo>
                    <a:lnTo>
                      <a:pt x="16" y="581"/>
                    </a:lnTo>
                    <a:lnTo>
                      <a:pt x="11" y="577"/>
                    </a:lnTo>
                    <a:lnTo>
                      <a:pt x="7" y="571"/>
                    </a:lnTo>
                    <a:lnTo>
                      <a:pt x="3" y="564"/>
                    </a:lnTo>
                    <a:lnTo>
                      <a:pt x="1" y="557"/>
                    </a:lnTo>
                    <a:lnTo>
                      <a:pt x="0" y="551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rgbClr val="BFBFBF"/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rgbClr val="7F7F7F"/>
                  </a:gs>
                  <a:gs pos="54000">
                    <a:srgbClr val="000000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23" name="Rectangle 9"/>
              <p:cNvSpPr>
                <a:spLocks noChangeArrowheads="1"/>
              </p:cNvSpPr>
              <p:nvPr/>
            </p:nvSpPr>
            <p:spPr bwMode="auto">
              <a:xfrm>
                <a:off x="2066965" y="822328"/>
                <a:ext cx="20638" cy="214313"/>
              </a:xfrm>
              <a:prstGeom prst="rect">
                <a:avLst/>
              </a:prstGeom>
              <a:gradFill flip="none" rotWithShape="1">
                <a:gsLst>
                  <a:gs pos="78000">
                    <a:srgbClr val="404040"/>
                  </a:gs>
                  <a:gs pos="100000">
                    <a:srgbClr val="3C3C3C"/>
                  </a:gs>
                  <a:gs pos="0">
                    <a:srgbClr val="404040"/>
                  </a:gs>
                  <a:gs pos="13000">
                    <a:srgbClr val="262626"/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24" name="Rectangle 10"/>
              <p:cNvSpPr>
                <a:spLocks noChangeArrowheads="1"/>
              </p:cNvSpPr>
              <p:nvPr/>
            </p:nvSpPr>
            <p:spPr bwMode="auto">
              <a:xfrm>
                <a:off x="2066960" y="1276353"/>
                <a:ext cx="20638" cy="165101"/>
              </a:xfrm>
              <a:prstGeom prst="rect">
                <a:avLst/>
              </a:prstGeom>
              <a:gradFill flip="none" rotWithShape="1">
                <a:gsLst>
                  <a:gs pos="78000">
                    <a:srgbClr val="404040"/>
                  </a:gs>
                  <a:gs pos="100000">
                    <a:srgbClr val="3C3C3C"/>
                  </a:gs>
                  <a:gs pos="0">
                    <a:srgbClr val="404040"/>
                  </a:gs>
                  <a:gs pos="13000">
                    <a:srgbClr val="262626"/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25" name="Rectangle 11"/>
              <p:cNvSpPr>
                <a:spLocks noChangeArrowheads="1"/>
              </p:cNvSpPr>
              <p:nvPr/>
            </p:nvSpPr>
            <p:spPr bwMode="auto">
              <a:xfrm>
                <a:off x="2066925" y="1670049"/>
                <a:ext cx="20638" cy="166689"/>
              </a:xfrm>
              <a:prstGeom prst="rect">
                <a:avLst/>
              </a:prstGeom>
              <a:gradFill flip="none" rotWithShape="1">
                <a:gsLst>
                  <a:gs pos="78000">
                    <a:srgbClr val="404040"/>
                  </a:gs>
                  <a:gs pos="100000">
                    <a:srgbClr val="3C3C3C"/>
                  </a:gs>
                  <a:gs pos="0">
                    <a:srgbClr val="404040"/>
                  </a:gs>
                  <a:gs pos="13000">
                    <a:srgbClr val="262626"/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  <p:sp>
          <p:nvSpPr>
            <p:cNvPr id="126" name="Freeform 14"/>
            <p:cNvSpPr>
              <a:spLocks/>
            </p:cNvSpPr>
            <p:nvPr/>
          </p:nvSpPr>
          <p:spPr bwMode="auto">
            <a:xfrm>
              <a:off x="2718953" y="4276033"/>
              <a:ext cx="794111" cy="1400611"/>
            </a:xfrm>
            <a:custGeom>
              <a:avLst/>
              <a:gdLst>
                <a:gd name="T0" fmla="*/ 7316 w 8536"/>
                <a:gd name="T1" fmla="*/ 1 h 18144"/>
                <a:gd name="T2" fmla="*/ 7508 w 8536"/>
                <a:gd name="T3" fmla="*/ 26 h 18144"/>
                <a:gd name="T4" fmla="*/ 7691 w 8536"/>
                <a:gd name="T5" fmla="*/ 77 h 18144"/>
                <a:gd name="T6" fmla="*/ 7862 w 8536"/>
                <a:gd name="T7" fmla="*/ 155 h 18144"/>
                <a:gd name="T8" fmla="*/ 8018 w 8536"/>
                <a:gd name="T9" fmla="*/ 255 h 18144"/>
                <a:gd name="T10" fmla="*/ 8158 w 8536"/>
                <a:gd name="T11" fmla="*/ 377 h 18144"/>
                <a:gd name="T12" fmla="*/ 8279 w 8536"/>
                <a:gd name="T13" fmla="*/ 517 h 18144"/>
                <a:gd name="T14" fmla="*/ 8380 w 8536"/>
                <a:gd name="T15" fmla="*/ 674 h 18144"/>
                <a:gd name="T16" fmla="*/ 8457 w 8536"/>
                <a:gd name="T17" fmla="*/ 845 h 18144"/>
                <a:gd name="T18" fmla="*/ 8510 w 8536"/>
                <a:gd name="T19" fmla="*/ 1027 h 18144"/>
                <a:gd name="T20" fmla="*/ 8535 w 8536"/>
                <a:gd name="T21" fmla="*/ 1218 h 18144"/>
                <a:gd name="T22" fmla="*/ 8535 w 8536"/>
                <a:gd name="T23" fmla="*/ 16924 h 18144"/>
                <a:gd name="T24" fmla="*/ 8510 w 8536"/>
                <a:gd name="T25" fmla="*/ 17117 h 18144"/>
                <a:gd name="T26" fmla="*/ 8457 w 8536"/>
                <a:gd name="T27" fmla="*/ 17299 h 18144"/>
                <a:gd name="T28" fmla="*/ 8380 w 8536"/>
                <a:gd name="T29" fmla="*/ 17470 h 18144"/>
                <a:gd name="T30" fmla="*/ 8279 w 8536"/>
                <a:gd name="T31" fmla="*/ 17626 h 18144"/>
                <a:gd name="T32" fmla="*/ 8158 w 8536"/>
                <a:gd name="T33" fmla="*/ 17767 h 18144"/>
                <a:gd name="T34" fmla="*/ 8018 w 8536"/>
                <a:gd name="T35" fmla="*/ 17888 h 18144"/>
                <a:gd name="T36" fmla="*/ 7862 w 8536"/>
                <a:gd name="T37" fmla="*/ 17988 h 18144"/>
                <a:gd name="T38" fmla="*/ 7691 w 8536"/>
                <a:gd name="T39" fmla="*/ 18065 h 18144"/>
                <a:gd name="T40" fmla="*/ 7508 w 8536"/>
                <a:gd name="T41" fmla="*/ 18118 h 18144"/>
                <a:gd name="T42" fmla="*/ 7316 w 8536"/>
                <a:gd name="T43" fmla="*/ 18143 h 18144"/>
                <a:gd name="T44" fmla="*/ 1220 w 8536"/>
                <a:gd name="T45" fmla="*/ 18143 h 18144"/>
                <a:gd name="T46" fmla="*/ 1027 w 8536"/>
                <a:gd name="T47" fmla="*/ 18118 h 18144"/>
                <a:gd name="T48" fmla="*/ 845 w 8536"/>
                <a:gd name="T49" fmla="*/ 18065 h 18144"/>
                <a:gd name="T50" fmla="*/ 674 w 8536"/>
                <a:gd name="T51" fmla="*/ 17988 h 18144"/>
                <a:gd name="T52" fmla="*/ 518 w 8536"/>
                <a:gd name="T53" fmla="*/ 17888 h 18144"/>
                <a:gd name="T54" fmla="*/ 377 w 8536"/>
                <a:gd name="T55" fmla="*/ 17767 h 18144"/>
                <a:gd name="T56" fmla="*/ 256 w 8536"/>
                <a:gd name="T57" fmla="*/ 17626 h 18144"/>
                <a:gd name="T58" fmla="*/ 156 w 8536"/>
                <a:gd name="T59" fmla="*/ 17470 h 18144"/>
                <a:gd name="T60" fmla="*/ 78 w 8536"/>
                <a:gd name="T61" fmla="*/ 17299 h 18144"/>
                <a:gd name="T62" fmla="*/ 26 w 8536"/>
                <a:gd name="T63" fmla="*/ 17117 h 18144"/>
                <a:gd name="T64" fmla="*/ 2 w 8536"/>
                <a:gd name="T65" fmla="*/ 16924 h 18144"/>
                <a:gd name="T66" fmla="*/ 2 w 8536"/>
                <a:gd name="T67" fmla="*/ 1218 h 18144"/>
                <a:gd name="T68" fmla="*/ 26 w 8536"/>
                <a:gd name="T69" fmla="*/ 1027 h 18144"/>
                <a:gd name="T70" fmla="*/ 78 w 8536"/>
                <a:gd name="T71" fmla="*/ 845 h 18144"/>
                <a:gd name="T72" fmla="*/ 156 w 8536"/>
                <a:gd name="T73" fmla="*/ 674 h 18144"/>
                <a:gd name="T74" fmla="*/ 256 w 8536"/>
                <a:gd name="T75" fmla="*/ 517 h 18144"/>
                <a:gd name="T76" fmla="*/ 377 w 8536"/>
                <a:gd name="T77" fmla="*/ 377 h 18144"/>
                <a:gd name="T78" fmla="*/ 518 w 8536"/>
                <a:gd name="T79" fmla="*/ 255 h 18144"/>
                <a:gd name="T80" fmla="*/ 674 w 8536"/>
                <a:gd name="T81" fmla="*/ 155 h 18144"/>
                <a:gd name="T82" fmla="*/ 845 w 8536"/>
                <a:gd name="T83" fmla="*/ 77 h 18144"/>
                <a:gd name="T84" fmla="*/ 1027 w 8536"/>
                <a:gd name="T85" fmla="*/ 26 h 18144"/>
                <a:gd name="T86" fmla="*/ 1220 w 8536"/>
                <a:gd name="T87" fmla="*/ 1 h 18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536" h="18144">
                  <a:moveTo>
                    <a:pt x="1286" y="0"/>
                  </a:moveTo>
                  <a:lnTo>
                    <a:pt x="7249" y="0"/>
                  </a:lnTo>
                  <a:lnTo>
                    <a:pt x="7316" y="1"/>
                  </a:lnTo>
                  <a:lnTo>
                    <a:pt x="7381" y="5"/>
                  </a:lnTo>
                  <a:lnTo>
                    <a:pt x="7446" y="15"/>
                  </a:lnTo>
                  <a:lnTo>
                    <a:pt x="7508" y="26"/>
                  </a:lnTo>
                  <a:lnTo>
                    <a:pt x="7570" y="40"/>
                  </a:lnTo>
                  <a:lnTo>
                    <a:pt x="7632" y="58"/>
                  </a:lnTo>
                  <a:lnTo>
                    <a:pt x="7691" y="77"/>
                  </a:lnTo>
                  <a:lnTo>
                    <a:pt x="7749" y="101"/>
                  </a:lnTo>
                  <a:lnTo>
                    <a:pt x="7806" y="126"/>
                  </a:lnTo>
                  <a:lnTo>
                    <a:pt x="7862" y="155"/>
                  </a:lnTo>
                  <a:lnTo>
                    <a:pt x="7916" y="186"/>
                  </a:lnTo>
                  <a:lnTo>
                    <a:pt x="7968" y="220"/>
                  </a:lnTo>
                  <a:lnTo>
                    <a:pt x="8018" y="255"/>
                  </a:lnTo>
                  <a:lnTo>
                    <a:pt x="8067" y="294"/>
                  </a:lnTo>
                  <a:lnTo>
                    <a:pt x="8114" y="334"/>
                  </a:lnTo>
                  <a:lnTo>
                    <a:pt x="8158" y="377"/>
                  </a:lnTo>
                  <a:lnTo>
                    <a:pt x="8201" y="422"/>
                  </a:lnTo>
                  <a:lnTo>
                    <a:pt x="8242" y="468"/>
                  </a:lnTo>
                  <a:lnTo>
                    <a:pt x="8279" y="517"/>
                  </a:lnTo>
                  <a:lnTo>
                    <a:pt x="8316" y="567"/>
                  </a:lnTo>
                  <a:lnTo>
                    <a:pt x="8349" y="620"/>
                  </a:lnTo>
                  <a:lnTo>
                    <a:pt x="8380" y="674"/>
                  </a:lnTo>
                  <a:lnTo>
                    <a:pt x="8408" y="728"/>
                  </a:lnTo>
                  <a:lnTo>
                    <a:pt x="8434" y="785"/>
                  </a:lnTo>
                  <a:lnTo>
                    <a:pt x="8457" y="845"/>
                  </a:lnTo>
                  <a:lnTo>
                    <a:pt x="8478" y="904"/>
                  </a:lnTo>
                  <a:lnTo>
                    <a:pt x="8495" y="964"/>
                  </a:lnTo>
                  <a:lnTo>
                    <a:pt x="8510" y="1027"/>
                  </a:lnTo>
                  <a:lnTo>
                    <a:pt x="8521" y="1090"/>
                  </a:lnTo>
                  <a:lnTo>
                    <a:pt x="8529" y="1153"/>
                  </a:lnTo>
                  <a:lnTo>
                    <a:pt x="8535" y="1218"/>
                  </a:lnTo>
                  <a:lnTo>
                    <a:pt x="8536" y="1285"/>
                  </a:lnTo>
                  <a:lnTo>
                    <a:pt x="8536" y="16858"/>
                  </a:lnTo>
                  <a:lnTo>
                    <a:pt x="8535" y="16924"/>
                  </a:lnTo>
                  <a:lnTo>
                    <a:pt x="8529" y="16989"/>
                  </a:lnTo>
                  <a:lnTo>
                    <a:pt x="8521" y="17054"/>
                  </a:lnTo>
                  <a:lnTo>
                    <a:pt x="8510" y="17117"/>
                  </a:lnTo>
                  <a:lnTo>
                    <a:pt x="8495" y="17178"/>
                  </a:lnTo>
                  <a:lnTo>
                    <a:pt x="8478" y="17240"/>
                  </a:lnTo>
                  <a:lnTo>
                    <a:pt x="8457" y="17299"/>
                  </a:lnTo>
                  <a:lnTo>
                    <a:pt x="8434" y="17357"/>
                  </a:lnTo>
                  <a:lnTo>
                    <a:pt x="8408" y="17414"/>
                  </a:lnTo>
                  <a:lnTo>
                    <a:pt x="8380" y="17470"/>
                  </a:lnTo>
                  <a:lnTo>
                    <a:pt x="8349" y="17524"/>
                  </a:lnTo>
                  <a:lnTo>
                    <a:pt x="8316" y="17576"/>
                  </a:lnTo>
                  <a:lnTo>
                    <a:pt x="8279" y="17626"/>
                  </a:lnTo>
                  <a:lnTo>
                    <a:pt x="8242" y="17675"/>
                  </a:lnTo>
                  <a:lnTo>
                    <a:pt x="8201" y="17722"/>
                  </a:lnTo>
                  <a:lnTo>
                    <a:pt x="8158" y="17767"/>
                  </a:lnTo>
                  <a:lnTo>
                    <a:pt x="8114" y="17809"/>
                  </a:lnTo>
                  <a:lnTo>
                    <a:pt x="8067" y="17850"/>
                  </a:lnTo>
                  <a:lnTo>
                    <a:pt x="8018" y="17888"/>
                  </a:lnTo>
                  <a:lnTo>
                    <a:pt x="7968" y="17924"/>
                  </a:lnTo>
                  <a:lnTo>
                    <a:pt x="7916" y="17957"/>
                  </a:lnTo>
                  <a:lnTo>
                    <a:pt x="7862" y="17988"/>
                  </a:lnTo>
                  <a:lnTo>
                    <a:pt x="7806" y="18016"/>
                  </a:lnTo>
                  <a:lnTo>
                    <a:pt x="7749" y="18043"/>
                  </a:lnTo>
                  <a:lnTo>
                    <a:pt x="7691" y="18065"/>
                  </a:lnTo>
                  <a:lnTo>
                    <a:pt x="7632" y="18086"/>
                  </a:lnTo>
                  <a:lnTo>
                    <a:pt x="7570" y="18103"/>
                  </a:lnTo>
                  <a:lnTo>
                    <a:pt x="7508" y="18118"/>
                  </a:lnTo>
                  <a:lnTo>
                    <a:pt x="7446" y="18129"/>
                  </a:lnTo>
                  <a:lnTo>
                    <a:pt x="7381" y="18137"/>
                  </a:lnTo>
                  <a:lnTo>
                    <a:pt x="7316" y="18143"/>
                  </a:lnTo>
                  <a:lnTo>
                    <a:pt x="7249" y="18144"/>
                  </a:lnTo>
                  <a:lnTo>
                    <a:pt x="1286" y="18144"/>
                  </a:lnTo>
                  <a:lnTo>
                    <a:pt x="1220" y="18143"/>
                  </a:lnTo>
                  <a:lnTo>
                    <a:pt x="1155" y="18137"/>
                  </a:lnTo>
                  <a:lnTo>
                    <a:pt x="1091" y="18129"/>
                  </a:lnTo>
                  <a:lnTo>
                    <a:pt x="1027" y="18118"/>
                  </a:lnTo>
                  <a:lnTo>
                    <a:pt x="966" y="18103"/>
                  </a:lnTo>
                  <a:lnTo>
                    <a:pt x="904" y="18086"/>
                  </a:lnTo>
                  <a:lnTo>
                    <a:pt x="845" y="18065"/>
                  </a:lnTo>
                  <a:lnTo>
                    <a:pt x="787" y="18043"/>
                  </a:lnTo>
                  <a:lnTo>
                    <a:pt x="730" y="18016"/>
                  </a:lnTo>
                  <a:lnTo>
                    <a:pt x="674" y="17988"/>
                  </a:lnTo>
                  <a:lnTo>
                    <a:pt x="620" y="17957"/>
                  </a:lnTo>
                  <a:lnTo>
                    <a:pt x="569" y="17924"/>
                  </a:lnTo>
                  <a:lnTo>
                    <a:pt x="518" y="17888"/>
                  </a:lnTo>
                  <a:lnTo>
                    <a:pt x="470" y="17850"/>
                  </a:lnTo>
                  <a:lnTo>
                    <a:pt x="423" y="17809"/>
                  </a:lnTo>
                  <a:lnTo>
                    <a:pt x="377" y="17767"/>
                  </a:lnTo>
                  <a:lnTo>
                    <a:pt x="335" y="17722"/>
                  </a:lnTo>
                  <a:lnTo>
                    <a:pt x="295" y="17675"/>
                  </a:lnTo>
                  <a:lnTo>
                    <a:pt x="256" y="17626"/>
                  </a:lnTo>
                  <a:lnTo>
                    <a:pt x="221" y="17576"/>
                  </a:lnTo>
                  <a:lnTo>
                    <a:pt x="187" y="17524"/>
                  </a:lnTo>
                  <a:lnTo>
                    <a:pt x="156" y="17470"/>
                  </a:lnTo>
                  <a:lnTo>
                    <a:pt x="128" y="17414"/>
                  </a:lnTo>
                  <a:lnTo>
                    <a:pt x="101" y="17357"/>
                  </a:lnTo>
                  <a:lnTo>
                    <a:pt x="78" y="17299"/>
                  </a:lnTo>
                  <a:lnTo>
                    <a:pt x="58" y="17240"/>
                  </a:lnTo>
                  <a:lnTo>
                    <a:pt x="41" y="17178"/>
                  </a:lnTo>
                  <a:lnTo>
                    <a:pt x="26" y="17117"/>
                  </a:lnTo>
                  <a:lnTo>
                    <a:pt x="15" y="17054"/>
                  </a:lnTo>
                  <a:lnTo>
                    <a:pt x="7" y="16989"/>
                  </a:lnTo>
                  <a:lnTo>
                    <a:pt x="2" y="16924"/>
                  </a:lnTo>
                  <a:lnTo>
                    <a:pt x="0" y="16858"/>
                  </a:lnTo>
                  <a:lnTo>
                    <a:pt x="0" y="1285"/>
                  </a:lnTo>
                  <a:lnTo>
                    <a:pt x="2" y="1218"/>
                  </a:lnTo>
                  <a:lnTo>
                    <a:pt x="7" y="1153"/>
                  </a:lnTo>
                  <a:lnTo>
                    <a:pt x="15" y="1090"/>
                  </a:lnTo>
                  <a:lnTo>
                    <a:pt x="26" y="1027"/>
                  </a:lnTo>
                  <a:lnTo>
                    <a:pt x="41" y="964"/>
                  </a:lnTo>
                  <a:lnTo>
                    <a:pt x="58" y="904"/>
                  </a:lnTo>
                  <a:lnTo>
                    <a:pt x="78" y="845"/>
                  </a:lnTo>
                  <a:lnTo>
                    <a:pt x="101" y="785"/>
                  </a:lnTo>
                  <a:lnTo>
                    <a:pt x="128" y="728"/>
                  </a:lnTo>
                  <a:lnTo>
                    <a:pt x="156" y="674"/>
                  </a:lnTo>
                  <a:lnTo>
                    <a:pt x="187" y="620"/>
                  </a:lnTo>
                  <a:lnTo>
                    <a:pt x="221" y="567"/>
                  </a:lnTo>
                  <a:lnTo>
                    <a:pt x="256" y="517"/>
                  </a:lnTo>
                  <a:lnTo>
                    <a:pt x="295" y="468"/>
                  </a:lnTo>
                  <a:lnTo>
                    <a:pt x="335" y="422"/>
                  </a:lnTo>
                  <a:lnTo>
                    <a:pt x="377" y="377"/>
                  </a:lnTo>
                  <a:lnTo>
                    <a:pt x="423" y="334"/>
                  </a:lnTo>
                  <a:lnTo>
                    <a:pt x="470" y="294"/>
                  </a:lnTo>
                  <a:lnTo>
                    <a:pt x="518" y="255"/>
                  </a:lnTo>
                  <a:lnTo>
                    <a:pt x="569" y="220"/>
                  </a:lnTo>
                  <a:lnTo>
                    <a:pt x="620" y="186"/>
                  </a:lnTo>
                  <a:lnTo>
                    <a:pt x="674" y="155"/>
                  </a:lnTo>
                  <a:lnTo>
                    <a:pt x="730" y="126"/>
                  </a:lnTo>
                  <a:lnTo>
                    <a:pt x="787" y="101"/>
                  </a:lnTo>
                  <a:lnTo>
                    <a:pt x="845" y="77"/>
                  </a:lnTo>
                  <a:lnTo>
                    <a:pt x="904" y="58"/>
                  </a:lnTo>
                  <a:lnTo>
                    <a:pt x="966" y="40"/>
                  </a:lnTo>
                  <a:lnTo>
                    <a:pt x="1027" y="26"/>
                  </a:lnTo>
                  <a:lnTo>
                    <a:pt x="1091" y="15"/>
                  </a:lnTo>
                  <a:lnTo>
                    <a:pt x="1155" y="5"/>
                  </a:lnTo>
                  <a:lnTo>
                    <a:pt x="1220" y="1"/>
                  </a:lnTo>
                  <a:lnTo>
                    <a:pt x="1286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7" name="Freeform 15"/>
            <p:cNvSpPr>
              <a:spLocks/>
            </p:cNvSpPr>
            <p:nvPr/>
          </p:nvSpPr>
          <p:spPr bwMode="auto">
            <a:xfrm>
              <a:off x="2726766" y="4282517"/>
              <a:ext cx="778485" cy="1387643"/>
            </a:xfrm>
            <a:custGeom>
              <a:avLst/>
              <a:gdLst>
                <a:gd name="T0" fmla="*/ 7245 w 8370"/>
                <a:gd name="T1" fmla="*/ 2 h 17971"/>
                <a:gd name="T2" fmla="*/ 7422 w 8370"/>
                <a:gd name="T3" fmla="*/ 24 h 17971"/>
                <a:gd name="T4" fmla="*/ 7591 w 8370"/>
                <a:gd name="T5" fmla="*/ 72 h 17971"/>
                <a:gd name="T6" fmla="*/ 7748 w 8370"/>
                <a:gd name="T7" fmla="*/ 143 h 17971"/>
                <a:gd name="T8" fmla="*/ 7892 w 8370"/>
                <a:gd name="T9" fmla="*/ 236 h 17971"/>
                <a:gd name="T10" fmla="*/ 8022 w 8370"/>
                <a:gd name="T11" fmla="*/ 348 h 17971"/>
                <a:gd name="T12" fmla="*/ 8134 w 8370"/>
                <a:gd name="T13" fmla="*/ 477 h 17971"/>
                <a:gd name="T14" fmla="*/ 8226 w 8370"/>
                <a:gd name="T15" fmla="*/ 622 h 17971"/>
                <a:gd name="T16" fmla="*/ 8298 w 8370"/>
                <a:gd name="T17" fmla="*/ 779 h 17971"/>
                <a:gd name="T18" fmla="*/ 8346 w 8370"/>
                <a:gd name="T19" fmla="*/ 947 h 17971"/>
                <a:gd name="T20" fmla="*/ 8369 w 8370"/>
                <a:gd name="T21" fmla="*/ 1124 h 17971"/>
                <a:gd name="T22" fmla="*/ 8369 w 8370"/>
                <a:gd name="T23" fmla="*/ 16847 h 17971"/>
                <a:gd name="T24" fmla="*/ 8346 w 8370"/>
                <a:gd name="T25" fmla="*/ 17024 h 17971"/>
                <a:gd name="T26" fmla="*/ 8298 w 8370"/>
                <a:gd name="T27" fmla="*/ 17193 h 17971"/>
                <a:gd name="T28" fmla="*/ 8226 w 8370"/>
                <a:gd name="T29" fmla="*/ 17350 h 17971"/>
                <a:gd name="T30" fmla="*/ 8134 w 8370"/>
                <a:gd name="T31" fmla="*/ 17494 h 17971"/>
                <a:gd name="T32" fmla="*/ 8022 w 8370"/>
                <a:gd name="T33" fmla="*/ 17624 h 17971"/>
                <a:gd name="T34" fmla="*/ 7892 w 8370"/>
                <a:gd name="T35" fmla="*/ 17735 h 17971"/>
                <a:gd name="T36" fmla="*/ 7748 w 8370"/>
                <a:gd name="T37" fmla="*/ 17828 h 17971"/>
                <a:gd name="T38" fmla="*/ 7591 w 8370"/>
                <a:gd name="T39" fmla="*/ 17900 h 17971"/>
                <a:gd name="T40" fmla="*/ 7422 w 8370"/>
                <a:gd name="T41" fmla="*/ 17947 h 17971"/>
                <a:gd name="T42" fmla="*/ 7245 w 8370"/>
                <a:gd name="T43" fmla="*/ 17970 h 17971"/>
                <a:gd name="T44" fmla="*/ 1125 w 8370"/>
                <a:gd name="T45" fmla="*/ 17970 h 17971"/>
                <a:gd name="T46" fmla="*/ 948 w 8370"/>
                <a:gd name="T47" fmla="*/ 17947 h 17971"/>
                <a:gd name="T48" fmla="*/ 779 w 8370"/>
                <a:gd name="T49" fmla="*/ 17900 h 17971"/>
                <a:gd name="T50" fmla="*/ 622 w 8370"/>
                <a:gd name="T51" fmla="*/ 17828 h 17971"/>
                <a:gd name="T52" fmla="*/ 478 w 8370"/>
                <a:gd name="T53" fmla="*/ 17735 h 17971"/>
                <a:gd name="T54" fmla="*/ 349 w 8370"/>
                <a:gd name="T55" fmla="*/ 17624 h 17971"/>
                <a:gd name="T56" fmla="*/ 236 w 8370"/>
                <a:gd name="T57" fmla="*/ 17494 h 17971"/>
                <a:gd name="T58" fmla="*/ 144 w 8370"/>
                <a:gd name="T59" fmla="*/ 17350 h 17971"/>
                <a:gd name="T60" fmla="*/ 73 w 8370"/>
                <a:gd name="T61" fmla="*/ 17193 h 17971"/>
                <a:gd name="T62" fmla="*/ 24 w 8370"/>
                <a:gd name="T63" fmla="*/ 17024 h 17971"/>
                <a:gd name="T64" fmla="*/ 2 w 8370"/>
                <a:gd name="T65" fmla="*/ 16847 h 17971"/>
                <a:gd name="T66" fmla="*/ 2 w 8370"/>
                <a:gd name="T67" fmla="*/ 1124 h 17971"/>
                <a:gd name="T68" fmla="*/ 24 w 8370"/>
                <a:gd name="T69" fmla="*/ 947 h 17971"/>
                <a:gd name="T70" fmla="*/ 73 w 8370"/>
                <a:gd name="T71" fmla="*/ 779 h 17971"/>
                <a:gd name="T72" fmla="*/ 144 w 8370"/>
                <a:gd name="T73" fmla="*/ 622 h 17971"/>
                <a:gd name="T74" fmla="*/ 236 w 8370"/>
                <a:gd name="T75" fmla="*/ 477 h 17971"/>
                <a:gd name="T76" fmla="*/ 349 w 8370"/>
                <a:gd name="T77" fmla="*/ 348 h 17971"/>
                <a:gd name="T78" fmla="*/ 478 w 8370"/>
                <a:gd name="T79" fmla="*/ 236 h 17971"/>
                <a:gd name="T80" fmla="*/ 622 w 8370"/>
                <a:gd name="T81" fmla="*/ 143 h 17971"/>
                <a:gd name="T82" fmla="*/ 779 w 8370"/>
                <a:gd name="T83" fmla="*/ 72 h 17971"/>
                <a:gd name="T84" fmla="*/ 948 w 8370"/>
                <a:gd name="T85" fmla="*/ 24 h 17971"/>
                <a:gd name="T86" fmla="*/ 1125 w 8370"/>
                <a:gd name="T87" fmla="*/ 2 h 17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70" h="17971">
                  <a:moveTo>
                    <a:pt x="1186" y="0"/>
                  </a:moveTo>
                  <a:lnTo>
                    <a:pt x="7184" y="0"/>
                  </a:lnTo>
                  <a:lnTo>
                    <a:pt x="7245" y="2"/>
                  </a:lnTo>
                  <a:lnTo>
                    <a:pt x="7304" y="6"/>
                  </a:lnTo>
                  <a:lnTo>
                    <a:pt x="7364" y="14"/>
                  </a:lnTo>
                  <a:lnTo>
                    <a:pt x="7422" y="24"/>
                  </a:lnTo>
                  <a:lnTo>
                    <a:pt x="7480" y="37"/>
                  </a:lnTo>
                  <a:lnTo>
                    <a:pt x="7536" y="53"/>
                  </a:lnTo>
                  <a:lnTo>
                    <a:pt x="7591" y="72"/>
                  </a:lnTo>
                  <a:lnTo>
                    <a:pt x="7644" y="94"/>
                  </a:lnTo>
                  <a:lnTo>
                    <a:pt x="7697" y="117"/>
                  </a:lnTo>
                  <a:lnTo>
                    <a:pt x="7748" y="143"/>
                  </a:lnTo>
                  <a:lnTo>
                    <a:pt x="7798" y="173"/>
                  </a:lnTo>
                  <a:lnTo>
                    <a:pt x="7846" y="203"/>
                  </a:lnTo>
                  <a:lnTo>
                    <a:pt x="7892" y="236"/>
                  </a:lnTo>
                  <a:lnTo>
                    <a:pt x="7937" y="272"/>
                  </a:lnTo>
                  <a:lnTo>
                    <a:pt x="7981" y="308"/>
                  </a:lnTo>
                  <a:lnTo>
                    <a:pt x="8022" y="348"/>
                  </a:lnTo>
                  <a:lnTo>
                    <a:pt x="8061" y="389"/>
                  </a:lnTo>
                  <a:lnTo>
                    <a:pt x="8098" y="432"/>
                  </a:lnTo>
                  <a:lnTo>
                    <a:pt x="8134" y="477"/>
                  </a:lnTo>
                  <a:lnTo>
                    <a:pt x="8167" y="524"/>
                  </a:lnTo>
                  <a:lnTo>
                    <a:pt x="8198" y="572"/>
                  </a:lnTo>
                  <a:lnTo>
                    <a:pt x="8226" y="622"/>
                  </a:lnTo>
                  <a:lnTo>
                    <a:pt x="8252" y="673"/>
                  </a:lnTo>
                  <a:lnTo>
                    <a:pt x="8276" y="725"/>
                  </a:lnTo>
                  <a:lnTo>
                    <a:pt x="8298" y="779"/>
                  </a:lnTo>
                  <a:lnTo>
                    <a:pt x="8316" y="834"/>
                  </a:lnTo>
                  <a:lnTo>
                    <a:pt x="8332" y="890"/>
                  </a:lnTo>
                  <a:lnTo>
                    <a:pt x="8346" y="947"/>
                  </a:lnTo>
                  <a:lnTo>
                    <a:pt x="8356" y="1005"/>
                  </a:lnTo>
                  <a:lnTo>
                    <a:pt x="8364" y="1064"/>
                  </a:lnTo>
                  <a:lnTo>
                    <a:pt x="8369" y="1124"/>
                  </a:lnTo>
                  <a:lnTo>
                    <a:pt x="8370" y="1185"/>
                  </a:lnTo>
                  <a:lnTo>
                    <a:pt x="8370" y="16786"/>
                  </a:lnTo>
                  <a:lnTo>
                    <a:pt x="8369" y="16847"/>
                  </a:lnTo>
                  <a:lnTo>
                    <a:pt x="8364" y="16907"/>
                  </a:lnTo>
                  <a:lnTo>
                    <a:pt x="8356" y="16966"/>
                  </a:lnTo>
                  <a:lnTo>
                    <a:pt x="8346" y="17024"/>
                  </a:lnTo>
                  <a:lnTo>
                    <a:pt x="8332" y="17081"/>
                  </a:lnTo>
                  <a:lnTo>
                    <a:pt x="8316" y="17138"/>
                  </a:lnTo>
                  <a:lnTo>
                    <a:pt x="8298" y="17193"/>
                  </a:lnTo>
                  <a:lnTo>
                    <a:pt x="8276" y="17246"/>
                  </a:lnTo>
                  <a:lnTo>
                    <a:pt x="8252" y="17299"/>
                  </a:lnTo>
                  <a:lnTo>
                    <a:pt x="8226" y="17350"/>
                  </a:lnTo>
                  <a:lnTo>
                    <a:pt x="8198" y="17399"/>
                  </a:lnTo>
                  <a:lnTo>
                    <a:pt x="8167" y="17448"/>
                  </a:lnTo>
                  <a:lnTo>
                    <a:pt x="8134" y="17494"/>
                  </a:lnTo>
                  <a:lnTo>
                    <a:pt x="8098" y="17539"/>
                  </a:lnTo>
                  <a:lnTo>
                    <a:pt x="8061" y="17583"/>
                  </a:lnTo>
                  <a:lnTo>
                    <a:pt x="8022" y="17624"/>
                  </a:lnTo>
                  <a:lnTo>
                    <a:pt x="7981" y="17662"/>
                  </a:lnTo>
                  <a:lnTo>
                    <a:pt x="7937" y="17700"/>
                  </a:lnTo>
                  <a:lnTo>
                    <a:pt x="7892" y="17735"/>
                  </a:lnTo>
                  <a:lnTo>
                    <a:pt x="7846" y="17768"/>
                  </a:lnTo>
                  <a:lnTo>
                    <a:pt x="7798" y="17799"/>
                  </a:lnTo>
                  <a:lnTo>
                    <a:pt x="7748" y="17828"/>
                  </a:lnTo>
                  <a:lnTo>
                    <a:pt x="7697" y="17854"/>
                  </a:lnTo>
                  <a:lnTo>
                    <a:pt x="7644" y="17878"/>
                  </a:lnTo>
                  <a:lnTo>
                    <a:pt x="7591" y="17900"/>
                  </a:lnTo>
                  <a:lnTo>
                    <a:pt x="7536" y="17918"/>
                  </a:lnTo>
                  <a:lnTo>
                    <a:pt x="7480" y="17934"/>
                  </a:lnTo>
                  <a:lnTo>
                    <a:pt x="7422" y="17947"/>
                  </a:lnTo>
                  <a:lnTo>
                    <a:pt x="7364" y="17958"/>
                  </a:lnTo>
                  <a:lnTo>
                    <a:pt x="7304" y="17966"/>
                  </a:lnTo>
                  <a:lnTo>
                    <a:pt x="7245" y="17970"/>
                  </a:lnTo>
                  <a:lnTo>
                    <a:pt x="7184" y="17971"/>
                  </a:lnTo>
                  <a:lnTo>
                    <a:pt x="1186" y="17971"/>
                  </a:lnTo>
                  <a:lnTo>
                    <a:pt x="1125" y="17970"/>
                  </a:lnTo>
                  <a:lnTo>
                    <a:pt x="1065" y="17966"/>
                  </a:lnTo>
                  <a:lnTo>
                    <a:pt x="1006" y="17958"/>
                  </a:lnTo>
                  <a:lnTo>
                    <a:pt x="948" y="17947"/>
                  </a:lnTo>
                  <a:lnTo>
                    <a:pt x="891" y="17934"/>
                  </a:lnTo>
                  <a:lnTo>
                    <a:pt x="835" y="17918"/>
                  </a:lnTo>
                  <a:lnTo>
                    <a:pt x="779" y="17900"/>
                  </a:lnTo>
                  <a:lnTo>
                    <a:pt x="725" y="17878"/>
                  </a:lnTo>
                  <a:lnTo>
                    <a:pt x="673" y="17854"/>
                  </a:lnTo>
                  <a:lnTo>
                    <a:pt x="622" y="17828"/>
                  </a:lnTo>
                  <a:lnTo>
                    <a:pt x="573" y="17799"/>
                  </a:lnTo>
                  <a:lnTo>
                    <a:pt x="525" y="17768"/>
                  </a:lnTo>
                  <a:lnTo>
                    <a:pt x="478" y="17735"/>
                  </a:lnTo>
                  <a:lnTo>
                    <a:pt x="432" y="17700"/>
                  </a:lnTo>
                  <a:lnTo>
                    <a:pt x="390" y="17662"/>
                  </a:lnTo>
                  <a:lnTo>
                    <a:pt x="349" y="17624"/>
                  </a:lnTo>
                  <a:lnTo>
                    <a:pt x="309" y="17583"/>
                  </a:lnTo>
                  <a:lnTo>
                    <a:pt x="272" y="17539"/>
                  </a:lnTo>
                  <a:lnTo>
                    <a:pt x="236" y="17494"/>
                  </a:lnTo>
                  <a:lnTo>
                    <a:pt x="203" y="17448"/>
                  </a:lnTo>
                  <a:lnTo>
                    <a:pt x="172" y="17399"/>
                  </a:lnTo>
                  <a:lnTo>
                    <a:pt x="144" y="17350"/>
                  </a:lnTo>
                  <a:lnTo>
                    <a:pt x="118" y="17299"/>
                  </a:lnTo>
                  <a:lnTo>
                    <a:pt x="94" y="17246"/>
                  </a:lnTo>
                  <a:lnTo>
                    <a:pt x="73" y="17193"/>
                  </a:lnTo>
                  <a:lnTo>
                    <a:pt x="54" y="17138"/>
                  </a:lnTo>
                  <a:lnTo>
                    <a:pt x="38" y="17081"/>
                  </a:lnTo>
                  <a:lnTo>
                    <a:pt x="24" y="17024"/>
                  </a:lnTo>
                  <a:lnTo>
                    <a:pt x="14" y="16966"/>
                  </a:lnTo>
                  <a:lnTo>
                    <a:pt x="7" y="16907"/>
                  </a:lnTo>
                  <a:lnTo>
                    <a:pt x="2" y="16847"/>
                  </a:lnTo>
                  <a:lnTo>
                    <a:pt x="0" y="16786"/>
                  </a:lnTo>
                  <a:lnTo>
                    <a:pt x="0" y="1185"/>
                  </a:lnTo>
                  <a:lnTo>
                    <a:pt x="2" y="1124"/>
                  </a:lnTo>
                  <a:lnTo>
                    <a:pt x="7" y="1064"/>
                  </a:lnTo>
                  <a:lnTo>
                    <a:pt x="14" y="1005"/>
                  </a:lnTo>
                  <a:lnTo>
                    <a:pt x="24" y="947"/>
                  </a:lnTo>
                  <a:lnTo>
                    <a:pt x="38" y="890"/>
                  </a:lnTo>
                  <a:lnTo>
                    <a:pt x="54" y="834"/>
                  </a:lnTo>
                  <a:lnTo>
                    <a:pt x="73" y="779"/>
                  </a:lnTo>
                  <a:lnTo>
                    <a:pt x="94" y="725"/>
                  </a:lnTo>
                  <a:lnTo>
                    <a:pt x="118" y="673"/>
                  </a:lnTo>
                  <a:lnTo>
                    <a:pt x="144" y="622"/>
                  </a:lnTo>
                  <a:lnTo>
                    <a:pt x="172" y="572"/>
                  </a:lnTo>
                  <a:lnTo>
                    <a:pt x="203" y="524"/>
                  </a:lnTo>
                  <a:lnTo>
                    <a:pt x="236" y="477"/>
                  </a:lnTo>
                  <a:lnTo>
                    <a:pt x="272" y="432"/>
                  </a:lnTo>
                  <a:lnTo>
                    <a:pt x="309" y="389"/>
                  </a:lnTo>
                  <a:lnTo>
                    <a:pt x="349" y="348"/>
                  </a:lnTo>
                  <a:lnTo>
                    <a:pt x="390" y="308"/>
                  </a:lnTo>
                  <a:lnTo>
                    <a:pt x="432" y="272"/>
                  </a:lnTo>
                  <a:lnTo>
                    <a:pt x="478" y="236"/>
                  </a:lnTo>
                  <a:lnTo>
                    <a:pt x="525" y="203"/>
                  </a:lnTo>
                  <a:lnTo>
                    <a:pt x="573" y="173"/>
                  </a:lnTo>
                  <a:lnTo>
                    <a:pt x="622" y="143"/>
                  </a:lnTo>
                  <a:lnTo>
                    <a:pt x="673" y="117"/>
                  </a:lnTo>
                  <a:lnTo>
                    <a:pt x="725" y="94"/>
                  </a:lnTo>
                  <a:lnTo>
                    <a:pt x="779" y="72"/>
                  </a:lnTo>
                  <a:lnTo>
                    <a:pt x="835" y="53"/>
                  </a:lnTo>
                  <a:lnTo>
                    <a:pt x="891" y="37"/>
                  </a:lnTo>
                  <a:lnTo>
                    <a:pt x="948" y="24"/>
                  </a:lnTo>
                  <a:lnTo>
                    <a:pt x="1006" y="14"/>
                  </a:lnTo>
                  <a:lnTo>
                    <a:pt x="1065" y="6"/>
                  </a:lnTo>
                  <a:lnTo>
                    <a:pt x="1125" y="2"/>
                  </a:lnTo>
                  <a:lnTo>
                    <a:pt x="1186" y="0"/>
                  </a:lnTo>
                  <a:close/>
                </a:path>
              </a:pathLst>
            </a:custGeom>
            <a:solidFill>
              <a:srgbClr val="686A7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8" name="Freeform 16"/>
            <p:cNvSpPr>
              <a:spLocks/>
            </p:cNvSpPr>
            <p:nvPr/>
          </p:nvSpPr>
          <p:spPr bwMode="auto">
            <a:xfrm>
              <a:off x="2731230" y="4286685"/>
              <a:ext cx="770114" cy="1379306"/>
            </a:xfrm>
            <a:custGeom>
              <a:avLst/>
              <a:gdLst>
                <a:gd name="T0" fmla="*/ 7193 w 8280"/>
                <a:gd name="T1" fmla="*/ 2 h 17873"/>
                <a:gd name="T2" fmla="*/ 7364 w 8280"/>
                <a:gd name="T3" fmla="*/ 23 h 17873"/>
                <a:gd name="T4" fmla="*/ 7527 w 8280"/>
                <a:gd name="T5" fmla="*/ 70 h 17873"/>
                <a:gd name="T6" fmla="*/ 7679 w 8280"/>
                <a:gd name="T7" fmla="*/ 140 h 17873"/>
                <a:gd name="T8" fmla="*/ 7819 w 8280"/>
                <a:gd name="T9" fmla="*/ 228 h 17873"/>
                <a:gd name="T10" fmla="*/ 7944 w 8280"/>
                <a:gd name="T11" fmla="*/ 337 h 17873"/>
                <a:gd name="T12" fmla="*/ 8052 w 8280"/>
                <a:gd name="T13" fmla="*/ 462 h 17873"/>
                <a:gd name="T14" fmla="*/ 8142 w 8280"/>
                <a:gd name="T15" fmla="*/ 601 h 17873"/>
                <a:gd name="T16" fmla="*/ 8211 w 8280"/>
                <a:gd name="T17" fmla="*/ 754 h 17873"/>
                <a:gd name="T18" fmla="*/ 8257 w 8280"/>
                <a:gd name="T19" fmla="*/ 916 h 17873"/>
                <a:gd name="T20" fmla="*/ 8279 w 8280"/>
                <a:gd name="T21" fmla="*/ 1088 h 17873"/>
                <a:gd name="T22" fmla="*/ 8279 w 8280"/>
                <a:gd name="T23" fmla="*/ 16786 h 17873"/>
                <a:gd name="T24" fmla="*/ 8257 w 8280"/>
                <a:gd name="T25" fmla="*/ 16957 h 17873"/>
                <a:gd name="T26" fmla="*/ 8211 w 8280"/>
                <a:gd name="T27" fmla="*/ 17120 h 17873"/>
                <a:gd name="T28" fmla="*/ 8142 w 8280"/>
                <a:gd name="T29" fmla="*/ 17273 h 17873"/>
                <a:gd name="T30" fmla="*/ 8052 w 8280"/>
                <a:gd name="T31" fmla="*/ 17412 h 17873"/>
                <a:gd name="T32" fmla="*/ 7944 w 8280"/>
                <a:gd name="T33" fmla="*/ 17536 h 17873"/>
                <a:gd name="T34" fmla="*/ 7819 w 8280"/>
                <a:gd name="T35" fmla="*/ 17644 h 17873"/>
                <a:gd name="T36" fmla="*/ 7679 w 8280"/>
                <a:gd name="T37" fmla="*/ 17734 h 17873"/>
                <a:gd name="T38" fmla="*/ 7527 w 8280"/>
                <a:gd name="T39" fmla="*/ 17803 h 17873"/>
                <a:gd name="T40" fmla="*/ 7364 w 8280"/>
                <a:gd name="T41" fmla="*/ 17849 h 17873"/>
                <a:gd name="T42" fmla="*/ 7193 w 8280"/>
                <a:gd name="T43" fmla="*/ 17871 h 17873"/>
                <a:gd name="T44" fmla="*/ 1088 w 8280"/>
                <a:gd name="T45" fmla="*/ 17871 h 17873"/>
                <a:gd name="T46" fmla="*/ 915 w 8280"/>
                <a:gd name="T47" fmla="*/ 17849 h 17873"/>
                <a:gd name="T48" fmla="*/ 752 w 8280"/>
                <a:gd name="T49" fmla="*/ 17803 h 17873"/>
                <a:gd name="T50" fmla="*/ 601 w 8280"/>
                <a:gd name="T51" fmla="*/ 17734 h 17873"/>
                <a:gd name="T52" fmla="*/ 461 w 8280"/>
                <a:gd name="T53" fmla="*/ 17644 h 17873"/>
                <a:gd name="T54" fmla="*/ 336 w 8280"/>
                <a:gd name="T55" fmla="*/ 17536 h 17873"/>
                <a:gd name="T56" fmla="*/ 228 w 8280"/>
                <a:gd name="T57" fmla="*/ 17412 h 17873"/>
                <a:gd name="T58" fmla="*/ 139 w 8280"/>
                <a:gd name="T59" fmla="*/ 17273 h 17873"/>
                <a:gd name="T60" fmla="*/ 69 w 8280"/>
                <a:gd name="T61" fmla="*/ 17120 h 17873"/>
                <a:gd name="T62" fmla="*/ 22 w 8280"/>
                <a:gd name="T63" fmla="*/ 16957 h 17873"/>
                <a:gd name="T64" fmla="*/ 1 w 8280"/>
                <a:gd name="T65" fmla="*/ 16786 h 17873"/>
                <a:gd name="T66" fmla="*/ 1 w 8280"/>
                <a:gd name="T67" fmla="*/ 1088 h 17873"/>
                <a:gd name="T68" fmla="*/ 22 w 8280"/>
                <a:gd name="T69" fmla="*/ 916 h 17873"/>
                <a:gd name="T70" fmla="*/ 69 w 8280"/>
                <a:gd name="T71" fmla="*/ 754 h 17873"/>
                <a:gd name="T72" fmla="*/ 139 w 8280"/>
                <a:gd name="T73" fmla="*/ 601 h 17873"/>
                <a:gd name="T74" fmla="*/ 228 w 8280"/>
                <a:gd name="T75" fmla="*/ 462 h 17873"/>
                <a:gd name="T76" fmla="*/ 336 w 8280"/>
                <a:gd name="T77" fmla="*/ 337 h 17873"/>
                <a:gd name="T78" fmla="*/ 461 w 8280"/>
                <a:gd name="T79" fmla="*/ 228 h 17873"/>
                <a:gd name="T80" fmla="*/ 601 w 8280"/>
                <a:gd name="T81" fmla="*/ 140 h 17873"/>
                <a:gd name="T82" fmla="*/ 752 w 8280"/>
                <a:gd name="T83" fmla="*/ 70 h 17873"/>
                <a:gd name="T84" fmla="*/ 915 w 8280"/>
                <a:gd name="T85" fmla="*/ 23 h 17873"/>
                <a:gd name="T86" fmla="*/ 1088 w 8280"/>
                <a:gd name="T87" fmla="*/ 2 h 17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280" h="17873">
                  <a:moveTo>
                    <a:pt x="1146" y="0"/>
                  </a:moveTo>
                  <a:lnTo>
                    <a:pt x="7134" y="0"/>
                  </a:lnTo>
                  <a:lnTo>
                    <a:pt x="7193" y="2"/>
                  </a:lnTo>
                  <a:lnTo>
                    <a:pt x="7250" y="6"/>
                  </a:lnTo>
                  <a:lnTo>
                    <a:pt x="7308" y="14"/>
                  </a:lnTo>
                  <a:lnTo>
                    <a:pt x="7364" y="23"/>
                  </a:lnTo>
                  <a:lnTo>
                    <a:pt x="7420" y="37"/>
                  </a:lnTo>
                  <a:lnTo>
                    <a:pt x="7474" y="52"/>
                  </a:lnTo>
                  <a:lnTo>
                    <a:pt x="7527" y="70"/>
                  </a:lnTo>
                  <a:lnTo>
                    <a:pt x="7579" y="90"/>
                  </a:lnTo>
                  <a:lnTo>
                    <a:pt x="7630" y="113"/>
                  </a:lnTo>
                  <a:lnTo>
                    <a:pt x="7679" y="140"/>
                  </a:lnTo>
                  <a:lnTo>
                    <a:pt x="7727" y="167"/>
                  </a:lnTo>
                  <a:lnTo>
                    <a:pt x="7774" y="197"/>
                  </a:lnTo>
                  <a:lnTo>
                    <a:pt x="7819" y="228"/>
                  </a:lnTo>
                  <a:lnTo>
                    <a:pt x="7863" y="263"/>
                  </a:lnTo>
                  <a:lnTo>
                    <a:pt x="7904" y="299"/>
                  </a:lnTo>
                  <a:lnTo>
                    <a:pt x="7944" y="337"/>
                  </a:lnTo>
                  <a:lnTo>
                    <a:pt x="7981" y="377"/>
                  </a:lnTo>
                  <a:lnTo>
                    <a:pt x="8018" y="419"/>
                  </a:lnTo>
                  <a:lnTo>
                    <a:pt x="8052" y="462"/>
                  </a:lnTo>
                  <a:lnTo>
                    <a:pt x="8084" y="507"/>
                  </a:lnTo>
                  <a:lnTo>
                    <a:pt x="8114" y="553"/>
                  </a:lnTo>
                  <a:lnTo>
                    <a:pt x="8142" y="601"/>
                  </a:lnTo>
                  <a:lnTo>
                    <a:pt x="8167" y="650"/>
                  </a:lnTo>
                  <a:lnTo>
                    <a:pt x="8190" y="702"/>
                  </a:lnTo>
                  <a:lnTo>
                    <a:pt x="8211" y="754"/>
                  </a:lnTo>
                  <a:lnTo>
                    <a:pt x="8229" y="806"/>
                  </a:lnTo>
                  <a:lnTo>
                    <a:pt x="8245" y="861"/>
                  </a:lnTo>
                  <a:lnTo>
                    <a:pt x="8257" y="916"/>
                  </a:lnTo>
                  <a:lnTo>
                    <a:pt x="8268" y="973"/>
                  </a:lnTo>
                  <a:lnTo>
                    <a:pt x="8275" y="1030"/>
                  </a:lnTo>
                  <a:lnTo>
                    <a:pt x="8279" y="1088"/>
                  </a:lnTo>
                  <a:lnTo>
                    <a:pt x="8280" y="1146"/>
                  </a:lnTo>
                  <a:lnTo>
                    <a:pt x="8280" y="16727"/>
                  </a:lnTo>
                  <a:lnTo>
                    <a:pt x="8279" y="16786"/>
                  </a:lnTo>
                  <a:lnTo>
                    <a:pt x="8275" y="16844"/>
                  </a:lnTo>
                  <a:lnTo>
                    <a:pt x="8268" y="16901"/>
                  </a:lnTo>
                  <a:lnTo>
                    <a:pt x="8257" y="16957"/>
                  </a:lnTo>
                  <a:lnTo>
                    <a:pt x="8245" y="17013"/>
                  </a:lnTo>
                  <a:lnTo>
                    <a:pt x="8229" y="17066"/>
                  </a:lnTo>
                  <a:lnTo>
                    <a:pt x="8211" y="17120"/>
                  </a:lnTo>
                  <a:lnTo>
                    <a:pt x="8190" y="17172"/>
                  </a:lnTo>
                  <a:lnTo>
                    <a:pt x="8167" y="17222"/>
                  </a:lnTo>
                  <a:lnTo>
                    <a:pt x="8142" y="17273"/>
                  </a:lnTo>
                  <a:lnTo>
                    <a:pt x="8114" y="17320"/>
                  </a:lnTo>
                  <a:lnTo>
                    <a:pt x="8084" y="17366"/>
                  </a:lnTo>
                  <a:lnTo>
                    <a:pt x="8052" y="17412"/>
                  </a:lnTo>
                  <a:lnTo>
                    <a:pt x="8018" y="17455"/>
                  </a:lnTo>
                  <a:lnTo>
                    <a:pt x="7981" y="17496"/>
                  </a:lnTo>
                  <a:lnTo>
                    <a:pt x="7944" y="17536"/>
                  </a:lnTo>
                  <a:lnTo>
                    <a:pt x="7904" y="17575"/>
                  </a:lnTo>
                  <a:lnTo>
                    <a:pt x="7863" y="17610"/>
                  </a:lnTo>
                  <a:lnTo>
                    <a:pt x="7819" y="17644"/>
                  </a:lnTo>
                  <a:lnTo>
                    <a:pt x="7774" y="17676"/>
                  </a:lnTo>
                  <a:lnTo>
                    <a:pt x="7727" y="17707"/>
                  </a:lnTo>
                  <a:lnTo>
                    <a:pt x="7679" y="17734"/>
                  </a:lnTo>
                  <a:lnTo>
                    <a:pt x="7630" y="17759"/>
                  </a:lnTo>
                  <a:lnTo>
                    <a:pt x="7579" y="17782"/>
                  </a:lnTo>
                  <a:lnTo>
                    <a:pt x="7527" y="17803"/>
                  </a:lnTo>
                  <a:lnTo>
                    <a:pt x="7474" y="17821"/>
                  </a:lnTo>
                  <a:lnTo>
                    <a:pt x="7420" y="17837"/>
                  </a:lnTo>
                  <a:lnTo>
                    <a:pt x="7364" y="17849"/>
                  </a:lnTo>
                  <a:lnTo>
                    <a:pt x="7308" y="17860"/>
                  </a:lnTo>
                  <a:lnTo>
                    <a:pt x="7250" y="17868"/>
                  </a:lnTo>
                  <a:lnTo>
                    <a:pt x="7193" y="17871"/>
                  </a:lnTo>
                  <a:lnTo>
                    <a:pt x="7134" y="17873"/>
                  </a:lnTo>
                  <a:lnTo>
                    <a:pt x="1146" y="17873"/>
                  </a:lnTo>
                  <a:lnTo>
                    <a:pt x="1088" y="17871"/>
                  </a:lnTo>
                  <a:lnTo>
                    <a:pt x="1029" y="17868"/>
                  </a:lnTo>
                  <a:lnTo>
                    <a:pt x="972" y="17860"/>
                  </a:lnTo>
                  <a:lnTo>
                    <a:pt x="915" y="17849"/>
                  </a:lnTo>
                  <a:lnTo>
                    <a:pt x="861" y="17837"/>
                  </a:lnTo>
                  <a:lnTo>
                    <a:pt x="806" y="17821"/>
                  </a:lnTo>
                  <a:lnTo>
                    <a:pt x="752" y="17803"/>
                  </a:lnTo>
                  <a:lnTo>
                    <a:pt x="701" y="17782"/>
                  </a:lnTo>
                  <a:lnTo>
                    <a:pt x="650" y="17759"/>
                  </a:lnTo>
                  <a:lnTo>
                    <a:pt x="601" y="17734"/>
                  </a:lnTo>
                  <a:lnTo>
                    <a:pt x="553" y="17707"/>
                  </a:lnTo>
                  <a:lnTo>
                    <a:pt x="506" y="17676"/>
                  </a:lnTo>
                  <a:lnTo>
                    <a:pt x="461" y="17644"/>
                  </a:lnTo>
                  <a:lnTo>
                    <a:pt x="418" y="17610"/>
                  </a:lnTo>
                  <a:lnTo>
                    <a:pt x="376" y="17575"/>
                  </a:lnTo>
                  <a:lnTo>
                    <a:pt x="336" y="17536"/>
                  </a:lnTo>
                  <a:lnTo>
                    <a:pt x="298" y="17496"/>
                  </a:lnTo>
                  <a:lnTo>
                    <a:pt x="262" y="17455"/>
                  </a:lnTo>
                  <a:lnTo>
                    <a:pt x="228" y="17412"/>
                  </a:lnTo>
                  <a:lnTo>
                    <a:pt x="196" y="17366"/>
                  </a:lnTo>
                  <a:lnTo>
                    <a:pt x="166" y="17320"/>
                  </a:lnTo>
                  <a:lnTo>
                    <a:pt x="139" y="17273"/>
                  </a:lnTo>
                  <a:lnTo>
                    <a:pt x="112" y="17222"/>
                  </a:lnTo>
                  <a:lnTo>
                    <a:pt x="90" y="17172"/>
                  </a:lnTo>
                  <a:lnTo>
                    <a:pt x="69" y="17120"/>
                  </a:lnTo>
                  <a:lnTo>
                    <a:pt x="51" y="17066"/>
                  </a:lnTo>
                  <a:lnTo>
                    <a:pt x="36" y="17013"/>
                  </a:lnTo>
                  <a:lnTo>
                    <a:pt x="22" y="16957"/>
                  </a:lnTo>
                  <a:lnTo>
                    <a:pt x="13" y="16901"/>
                  </a:lnTo>
                  <a:lnTo>
                    <a:pt x="5" y="16844"/>
                  </a:lnTo>
                  <a:lnTo>
                    <a:pt x="1" y="16786"/>
                  </a:lnTo>
                  <a:lnTo>
                    <a:pt x="0" y="16727"/>
                  </a:lnTo>
                  <a:lnTo>
                    <a:pt x="0" y="1146"/>
                  </a:lnTo>
                  <a:lnTo>
                    <a:pt x="1" y="1088"/>
                  </a:lnTo>
                  <a:lnTo>
                    <a:pt x="5" y="1030"/>
                  </a:lnTo>
                  <a:lnTo>
                    <a:pt x="13" y="973"/>
                  </a:lnTo>
                  <a:lnTo>
                    <a:pt x="22" y="916"/>
                  </a:lnTo>
                  <a:lnTo>
                    <a:pt x="36" y="861"/>
                  </a:lnTo>
                  <a:lnTo>
                    <a:pt x="51" y="806"/>
                  </a:lnTo>
                  <a:lnTo>
                    <a:pt x="69" y="754"/>
                  </a:lnTo>
                  <a:lnTo>
                    <a:pt x="90" y="702"/>
                  </a:lnTo>
                  <a:lnTo>
                    <a:pt x="112" y="650"/>
                  </a:lnTo>
                  <a:lnTo>
                    <a:pt x="139" y="601"/>
                  </a:lnTo>
                  <a:lnTo>
                    <a:pt x="166" y="553"/>
                  </a:lnTo>
                  <a:lnTo>
                    <a:pt x="196" y="507"/>
                  </a:lnTo>
                  <a:lnTo>
                    <a:pt x="228" y="462"/>
                  </a:lnTo>
                  <a:lnTo>
                    <a:pt x="262" y="419"/>
                  </a:lnTo>
                  <a:lnTo>
                    <a:pt x="298" y="377"/>
                  </a:lnTo>
                  <a:lnTo>
                    <a:pt x="336" y="337"/>
                  </a:lnTo>
                  <a:lnTo>
                    <a:pt x="376" y="299"/>
                  </a:lnTo>
                  <a:lnTo>
                    <a:pt x="418" y="263"/>
                  </a:lnTo>
                  <a:lnTo>
                    <a:pt x="461" y="228"/>
                  </a:lnTo>
                  <a:lnTo>
                    <a:pt x="506" y="197"/>
                  </a:lnTo>
                  <a:lnTo>
                    <a:pt x="553" y="167"/>
                  </a:lnTo>
                  <a:lnTo>
                    <a:pt x="601" y="140"/>
                  </a:lnTo>
                  <a:lnTo>
                    <a:pt x="650" y="113"/>
                  </a:lnTo>
                  <a:lnTo>
                    <a:pt x="701" y="90"/>
                  </a:lnTo>
                  <a:lnTo>
                    <a:pt x="752" y="70"/>
                  </a:lnTo>
                  <a:lnTo>
                    <a:pt x="806" y="52"/>
                  </a:lnTo>
                  <a:lnTo>
                    <a:pt x="861" y="37"/>
                  </a:lnTo>
                  <a:lnTo>
                    <a:pt x="915" y="23"/>
                  </a:lnTo>
                  <a:lnTo>
                    <a:pt x="972" y="14"/>
                  </a:lnTo>
                  <a:lnTo>
                    <a:pt x="1029" y="6"/>
                  </a:lnTo>
                  <a:lnTo>
                    <a:pt x="1088" y="2"/>
                  </a:lnTo>
                  <a:lnTo>
                    <a:pt x="1146" y="0"/>
                  </a:lnTo>
                  <a:close/>
                </a:path>
              </a:pathLst>
            </a:custGeom>
            <a:solidFill>
              <a:srgbClr val="999B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29" name="Freeform 17"/>
            <p:cNvSpPr>
              <a:spLocks/>
            </p:cNvSpPr>
            <p:nvPr/>
          </p:nvSpPr>
          <p:spPr bwMode="auto">
            <a:xfrm>
              <a:off x="2736811" y="4291316"/>
              <a:ext cx="758395" cy="1370043"/>
            </a:xfrm>
            <a:custGeom>
              <a:avLst/>
              <a:gdLst>
                <a:gd name="T0" fmla="*/ 7129 w 8158"/>
                <a:gd name="T1" fmla="*/ 1 h 17752"/>
                <a:gd name="T2" fmla="*/ 7291 w 8158"/>
                <a:gd name="T3" fmla="*/ 22 h 17752"/>
                <a:gd name="T4" fmla="*/ 7445 w 8158"/>
                <a:gd name="T5" fmla="*/ 66 h 17752"/>
                <a:gd name="T6" fmla="*/ 7589 w 8158"/>
                <a:gd name="T7" fmla="*/ 131 h 17752"/>
                <a:gd name="T8" fmla="*/ 7721 w 8158"/>
                <a:gd name="T9" fmla="*/ 215 h 17752"/>
                <a:gd name="T10" fmla="*/ 7839 w 8158"/>
                <a:gd name="T11" fmla="*/ 318 h 17752"/>
                <a:gd name="T12" fmla="*/ 7942 w 8158"/>
                <a:gd name="T13" fmla="*/ 436 h 17752"/>
                <a:gd name="T14" fmla="*/ 8026 w 8158"/>
                <a:gd name="T15" fmla="*/ 568 h 17752"/>
                <a:gd name="T16" fmla="*/ 8092 w 8158"/>
                <a:gd name="T17" fmla="*/ 712 h 17752"/>
                <a:gd name="T18" fmla="*/ 8136 w 8158"/>
                <a:gd name="T19" fmla="*/ 866 h 17752"/>
                <a:gd name="T20" fmla="*/ 8157 w 8158"/>
                <a:gd name="T21" fmla="*/ 1028 h 17752"/>
                <a:gd name="T22" fmla="*/ 8157 w 8158"/>
                <a:gd name="T23" fmla="*/ 16724 h 17752"/>
                <a:gd name="T24" fmla="*/ 8136 w 8158"/>
                <a:gd name="T25" fmla="*/ 16886 h 17752"/>
                <a:gd name="T26" fmla="*/ 8092 w 8158"/>
                <a:gd name="T27" fmla="*/ 17039 h 17752"/>
                <a:gd name="T28" fmla="*/ 8026 w 8158"/>
                <a:gd name="T29" fmla="*/ 17183 h 17752"/>
                <a:gd name="T30" fmla="*/ 7942 w 8158"/>
                <a:gd name="T31" fmla="*/ 17315 h 17752"/>
                <a:gd name="T32" fmla="*/ 7839 w 8158"/>
                <a:gd name="T33" fmla="*/ 17434 h 17752"/>
                <a:gd name="T34" fmla="*/ 7721 w 8158"/>
                <a:gd name="T35" fmla="*/ 17535 h 17752"/>
                <a:gd name="T36" fmla="*/ 7589 w 8158"/>
                <a:gd name="T37" fmla="*/ 17621 h 17752"/>
                <a:gd name="T38" fmla="*/ 7445 w 8158"/>
                <a:gd name="T39" fmla="*/ 17686 h 17752"/>
                <a:gd name="T40" fmla="*/ 7291 w 8158"/>
                <a:gd name="T41" fmla="*/ 17730 h 17752"/>
                <a:gd name="T42" fmla="*/ 7129 w 8158"/>
                <a:gd name="T43" fmla="*/ 17751 h 17752"/>
                <a:gd name="T44" fmla="*/ 1030 w 8158"/>
                <a:gd name="T45" fmla="*/ 17751 h 17752"/>
                <a:gd name="T46" fmla="*/ 867 w 8158"/>
                <a:gd name="T47" fmla="*/ 17730 h 17752"/>
                <a:gd name="T48" fmla="*/ 713 w 8158"/>
                <a:gd name="T49" fmla="*/ 17686 h 17752"/>
                <a:gd name="T50" fmla="*/ 569 w 8158"/>
                <a:gd name="T51" fmla="*/ 17621 h 17752"/>
                <a:gd name="T52" fmla="*/ 437 w 8158"/>
                <a:gd name="T53" fmla="*/ 17535 h 17752"/>
                <a:gd name="T54" fmla="*/ 319 w 8158"/>
                <a:gd name="T55" fmla="*/ 17434 h 17752"/>
                <a:gd name="T56" fmla="*/ 217 w 8158"/>
                <a:gd name="T57" fmla="*/ 17315 h 17752"/>
                <a:gd name="T58" fmla="*/ 131 w 8158"/>
                <a:gd name="T59" fmla="*/ 17183 h 17752"/>
                <a:gd name="T60" fmla="*/ 66 w 8158"/>
                <a:gd name="T61" fmla="*/ 17039 h 17752"/>
                <a:gd name="T62" fmla="*/ 22 w 8158"/>
                <a:gd name="T63" fmla="*/ 16886 h 17752"/>
                <a:gd name="T64" fmla="*/ 1 w 8158"/>
                <a:gd name="T65" fmla="*/ 16724 h 17752"/>
                <a:gd name="T66" fmla="*/ 1 w 8158"/>
                <a:gd name="T67" fmla="*/ 1028 h 17752"/>
                <a:gd name="T68" fmla="*/ 22 w 8158"/>
                <a:gd name="T69" fmla="*/ 866 h 17752"/>
                <a:gd name="T70" fmla="*/ 66 w 8158"/>
                <a:gd name="T71" fmla="*/ 712 h 17752"/>
                <a:gd name="T72" fmla="*/ 131 w 8158"/>
                <a:gd name="T73" fmla="*/ 568 h 17752"/>
                <a:gd name="T74" fmla="*/ 217 w 8158"/>
                <a:gd name="T75" fmla="*/ 436 h 17752"/>
                <a:gd name="T76" fmla="*/ 319 w 8158"/>
                <a:gd name="T77" fmla="*/ 318 h 17752"/>
                <a:gd name="T78" fmla="*/ 437 w 8158"/>
                <a:gd name="T79" fmla="*/ 215 h 17752"/>
                <a:gd name="T80" fmla="*/ 569 w 8158"/>
                <a:gd name="T81" fmla="*/ 131 h 17752"/>
                <a:gd name="T82" fmla="*/ 713 w 8158"/>
                <a:gd name="T83" fmla="*/ 66 h 17752"/>
                <a:gd name="T84" fmla="*/ 867 w 8158"/>
                <a:gd name="T85" fmla="*/ 22 h 17752"/>
                <a:gd name="T86" fmla="*/ 1030 w 8158"/>
                <a:gd name="T87" fmla="*/ 1 h 17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158" h="17752">
                  <a:moveTo>
                    <a:pt x="1085" y="0"/>
                  </a:moveTo>
                  <a:lnTo>
                    <a:pt x="7073" y="0"/>
                  </a:lnTo>
                  <a:lnTo>
                    <a:pt x="7129" y="1"/>
                  </a:lnTo>
                  <a:lnTo>
                    <a:pt x="7184" y="4"/>
                  </a:lnTo>
                  <a:lnTo>
                    <a:pt x="7237" y="12"/>
                  </a:lnTo>
                  <a:lnTo>
                    <a:pt x="7291" y="22"/>
                  </a:lnTo>
                  <a:lnTo>
                    <a:pt x="7343" y="34"/>
                  </a:lnTo>
                  <a:lnTo>
                    <a:pt x="7395" y="49"/>
                  </a:lnTo>
                  <a:lnTo>
                    <a:pt x="7445" y="66"/>
                  </a:lnTo>
                  <a:lnTo>
                    <a:pt x="7494" y="85"/>
                  </a:lnTo>
                  <a:lnTo>
                    <a:pt x="7542" y="107"/>
                  </a:lnTo>
                  <a:lnTo>
                    <a:pt x="7589" y="131"/>
                  </a:lnTo>
                  <a:lnTo>
                    <a:pt x="7634" y="157"/>
                  </a:lnTo>
                  <a:lnTo>
                    <a:pt x="7679" y="186"/>
                  </a:lnTo>
                  <a:lnTo>
                    <a:pt x="7721" y="215"/>
                  </a:lnTo>
                  <a:lnTo>
                    <a:pt x="7762" y="247"/>
                  </a:lnTo>
                  <a:lnTo>
                    <a:pt x="7802" y="281"/>
                  </a:lnTo>
                  <a:lnTo>
                    <a:pt x="7839" y="318"/>
                  </a:lnTo>
                  <a:lnTo>
                    <a:pt x="7875" y="356"/>
                  </a:lnTo>
                  <a:lnTo>
                    <a:pt x="7909" y="395"/>
                  </a:lnTo>
                  <a:lnTo>
                    <a:pt x="7942" y="436"/>
                  </a:lnTo>
                  <a:lnTo>
                    <a:pt x="7972" y="479"/>
                  </a:lnTo>
                  <a:lnTo>
                    <a:pt x="8000" y="523"/>
                  </a:lnTo>
                  <a:lnTo>
                    <a:pt x="8026" y="568"/>
                  </a:lnTo>
                  <a:lnTo>
                    <a:pt x="8050" y="614"/>
                  </a:lnTo>
                  <a:lnTo>
                    <a:pt x="8072" y="662"/>
                  </a:lnTo>
                  <a:lnTo>
                    <a:pt x="8092" y="712"/>
                  </a:lnTo>
                  <a:lnTo>
                    <a:pt x="8109" y="763"/>
                  </a:lnTo>
                  <a:lnTo>
                    <a:pt x="8123" y="814"/>
                  </a:lnTo>
                  <a:lnTo>
                    <a:pt x="8136" y="866"/>
                  </a:lnTo>
                  <a:lnTo>
                    <a:pt x="8145" y="919"/>
                  </a:lnTo>
                  <a:lnTo>
                    <a:pt x="8152" y="973"/>
                  </a:lnTo>
                  <a:lnTo>
                    <a:pt x="8157" y="1028"/>
                  </a:lnTo>
                  <a:lnTo>
                    <a:pt x="8158" y="1084"/>
                  </a:lnTo>
                  <a:lnTo>
                    <a:pt x="8158" y="16668"/>
                  </a:lnTo>
                  <a:lnTo>
                    <a:pt x="8157" y="16724"/>
                  </a:lnTo>
                  <a:lnTo>
                    <a:pt x="8152" y="16778"/>
                  </a:lnTo>
                  <a:lnTo>
                    <a:pt x="8145" y="16832"/>
                  </a:lnTo>
                  <a:lnTo>
                    <a:pt x="8136" y="16886"/>
                  </a:lnTo>
                  <a:lnTo>
                    <a:pt x="8123" y="16938"/>
                  </a:lnTo>
                  <a:lnTo>
                    <a:pt x="8109" y="16989"/>
                  </a:lnTo>
                  <a:lnTo>
                    <a:pt x="8092" y="17039"/>
                  </a:lnTo>
                  <a:lnTo>
                    <a:pt x="8072" y="17088"/>
                  </a:lnTo>
                  <a:lnTo>
                    <a:pt x="8050" y="17136"/>
                  </a:lnTo>
                  <a:lnTo>
                    <a:pt x="8026" y="17183"/>
                  </a:lnTo>
                  <a:lnTo>
                    <a:pt x="8000" y="17229"/>
                  </a:lnTo>
                  <a:lnTo>
                    <a:pt x="7972" y="17273"/>
                  </a:lnTo>
                  <a:lnTo>
                    <a:pt x="7942" y="17315"/>
                  </a:lnTo>
                  <a:lnTo>
                    <a:pt x="7909" y="17356"/>
                  </a:lnTo>
                  <a:lnTo>
                    <a:pt x="7875" y="17396"/>
                  </a:lnTo>
                  <a:lnTo>
                    <a:pt x="7839" y="17434"/>
                  </a:lnTo>
                  <a:lnTo>
                    <a:pt x="7802" y="17469"/>
                  </a:lnTo>
                  <a:lnTo>
                    <a:pt x="7762" y="17503"/>
                  </a:lnTo>
                  <a:lnTo>
                    <a:pt x="7721" y="17535"/>
                  </a:lnTo>
                  <a:lnTo>
                    <a:pt x="7679" y="17566"/>
                  </a:lnTo>
                  <a:lnTo>
                    <a:pt x="7634" y="17595"/>
                  </a:lnTo>
                  <a:lnTo>
                    <a:pt x="7589" y="17621"/>
                  </a:lnTo>
                  <a:lnTo>
                    <a:pt x="7542" y="17645"/>
                  </a:lnTo>
                  <a:lnTo>
                    <a:pt x="7494" y="17666"/>
                  </a:lnTo>
                  <a:lnTo>
                    <a:pt x="7445" y="17686"/>
                  </a:lnTo>
                  <a:lnTo>
                    <a:pt x="7395" y="17703"/>
                  </a:lnTo>
                  <a:lnTo>
                    <a:pt x="7343" y="17718"/>
                  </a:lnTo>
                  <a:lnTo>
                    <a:pt x="7291" y="17730"/>
                  </a:lnTo>
                  <a:lnTo>
                    <a:pt x="7237" y="17739"/>
                  </a:lnTo>
                  <a:lnTo>
                    <a:pt x="7184" y="17746"/>
                  </a:lnTo>
                  <a:lnTo>
                    <a:pt x="7129" y="17751"/>
                  </a:lnTo>
                  <a:lnTo>
                    <a:pt x="7073" y="17752"/>
                  </a:lnTo>
                  <a:lnTo>
                    <a:pt x="1085" y="17752"/>
                  </a:lnTo>
                  <a:lnTo>
                    <a:pt x="1030" y="17751"/>
                  </a:lnTo>
                  <a:lnTo>
                    <a:pt x="974" y="17746"/>
                  </a:lnTo>
                  <a:lnTo>
                    <a:pt x="921" y="17739"/>
                  </a:lnTo>
                  <a:lnTo>
                    <a:pt x="867" y="17730"/>
                  </a:lnTo>
                  <a:lnTo>
                    <a:pt x="815" y="17718"/>
                  </a:lnTo>
                  <a:lnTo>
                    <a:pt x="763" y="17703"/>
                  </a:lnTo>
                  <a:lnTo>
                    <a:pt x="713" y="17686"/>
                  </a:lnTo>
                  <a:lnTo>
                    <a:pt x="664" y="17666"/>
                  </a:lnTo>
                  <a:lnTo>
                    <a:pt x="616" y="17645"/>
                  </a:lnTo>
                  <a:lnTo>
                    <a:pt x="569" y="17621"/>
                  </a:lnTo>
                  <a:lnTo>
                    <a:pt x="524" y="17595"/>
                  </a:lnTo>
                  <a:lnTo>
                    <a:pt x="479" y="17566"/>
                  </a:lnTo>
                  <a:lnTo>
                    <a:pt x="437" y="17535"/>
                  </a:lnTo>
                  <a:lnTo>
                    <a:pt x="396" y="17503"/>
                  </a:lnTo>
                  <a:lnTo>
                    <a:pt x="357" y="17469"/>
                  </a:lnTo>
                  <a:lnTo>
                    <a:pt x="319" y="17434"/>
                  </a:lnTo>
                  <a:lnTo>
                    <a:pt x="283" y="17396"/>
                  </a:lnTo>
                  <a:lnTo>
                    <a:pt x="249" y="17356"/>
                  </a:lnTo>
                  <a:lnTo>
                    <a:pt x="217" y="17315"/>
                  </a:lnTo>
                  <a:lnTo>
                    <a:pt x="186" y="17273"/>
                  </a:lnTo>
                  <a:lnTo>
                    <a:pt x="158" y="17229"/>
                  </a:lnTo>
                  <a:lnTo>
                    <a:pt x="131" y="17183"/>
                  </a:lnTo>
                  <a:lnTo>
                    <a:pt x="107" y="17136"/>
                  </a:lnTo>
                  <a:lnTo>
                    <a:pt x="86" y="17088"/>
                  </a:lnTo>
                  <a:lnTo>
                    <a:pt x="66" y="17039"/>
                  </a:lnTo>
                  <a:lnTo>
                    <a:pt x="49" y="16989"/>
                  </a:lnTo>
                  <a:lnTo>
                    <a:pt x="34" y="16938"/>
                  </a:lnTo>
                  <a:lnTo>
                    <a:pt x="22" y="16886"/>
                  </a:lnTo>
                  <a:lnTo>
                    <a:pt x="13" y="16832"/>
                  </a:lnTo>
                  <a:lnTo>
                    <a:pt x="6" y="16778"/>
                  </a:lnTo>
                  <a:lnTo>
                    <a:pt x="1" y="16724"/>
                  </a:lnTo>
                  <a:lnTo>
                    <a:pt x="0" y="16668"/>
                  </a:lnTo>
                  <a:lnTo>
                    <a:pt x="0" y="1084"/>
                  </a:lnTo>
                  <a:lnTo>
                    <a:pt x="1" y="1028"/>
                  </a:lnTo>
                  <a:lnTo>
                    <a:pt x="6" y="973"/>
                  </a:lnTo>
                  <a:lnTo>
                    <a:pt x="13" y="919"/>
                  </a:lnTo>
                  <a:lnTo>
                    <a:pt x="22" y="866"/>
                  </a:lnTo>
                  <a:lnTo>
                    <a:pt x="34" y="814"/>
                  </a:lnTo>
                  <a:lnTo>
                    <a:pt x="49" y="763"/>
                  </a:lnTo>
                  <a:lnTo>
                    <a:pt x="66" y="712"/>
                  </a:lnTo>
                  <a:lnTo>
                    <a:pt x="86" y="662"/>
                  </a:lnTo>
                  <a:lnTo>
                    <a:pt x="107" y="614"/>
                  </a:lnTo>
                  <a:lnTo>
                    <a:pt x="131" y="568"/>
                  </a:lnTo>
                  <a:lnTo>
                    <a:pt x="158" y="523"/>
                  </a:lnTo>
                  <a:lnTo>
                    <a:pt x="186" y="479"/>
                  </a:lnTo>
                  <a:lnTo>
                    <a:pt x="217" y="436"/>
                  </a:lnTo>
                  <a:lnTo>
                    <a:pt x="249" y="395"/>
                  </a:lnTo>
                  <a:lnTo>
                    <a:pt x="283" y="356"/>
                  </a:lnTo>
                  <a:lnTo>
                    <a:pt x="319" y="318"/>
                  </a:lnTo>
                  <a:lnTo>
                    <a:pt x="357" y="281"/>
                  </a:lnTo>
                  <a:lnTo>
                    <a:pt x="396" y="247"/>
                  </a:lnTo>
                  <a:lnTo>
                    <a:pt x="437" y="215"/>
                  </a:lnTo>
                  <a:lnTo>
                    <a:pt x="479" y="186"/>
                  </a:lnTo>
                  <a:lnTo>
                    <a:pt x="524" y="157"/>
                  </a:lnTo>
                  <a:lnTo>
                    <a:pt x="569" y="131"/>
                  </a:lnTo>
                  <a:lnTo>
                    <a:pt x="616" y="107"/>
                  </a:lnTo>
                  <a:lnTo>
                    <a:pt x="664" y="85"/>
                  </a:lnTo>
                  <a:lnTo>
                    <a:pt x="713" y="66"/>
                  </a:lnTo>
                  <a:lnTo>
                    <a:pt x="763" y="49"/>
                  </a:lnTo>
                  <a:lnTo>
                    <a:pt x="815" y="34"/>
                  </a:lnTo>
                  <a:lnTo>
                    <a:pt x="867" y="22"/>
                  </a:lnTo>
                  <a:lnTo>
                    <a:pt x="921" y="12"/>
                  </a:lnTo>
                  <a:lnTo>
                    <a:pt x="974" y="4"/>
                  </a:lnTo>
                  <a:lnTo>
                    <a:pt x="1030" y="1"/>
                  </a:lnTo>
                  <a:lnTo>
                    <a:pt x="1085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0" name="Freeform 18"/>
            <p:cNvSpPr>
              <a:spLocks/>
            </p:cNvSpPr>
            <p:nvPr/>
          </p:nvSpPr>
          <p:spPr bwMode="auto">
            <a:xfrm>
              <a:off x="2768620" y="4477771"/>
              <a:ext cx="698125" cy="1020816"/>
            </a:xfrm>
            <a:custGeom>
              <a:avLst/>
              <a:gdLst>
                <a:gd name="T0" fmla="*/ 60 w 7504"/>
                <a:gd name="T1" fmla="*/ 0 h 13222"/>
                <a:gd name="T2" fmla="*/ 7444 w 7504"/>
                <a:gd name="T3" fmla="*/ 0 h 13222"/>
                <a:gd name="T4" fmla="*/ 7451 w 7504"/>
                <a:gd name="T5" fmla="*/ 0 h 13222"/>
                <a:gd name="T6" fmla="*/ 7457 w 7504"/>
                <a:gd name="T7" fmla="*/ 1 h 13222"/>
                <a:gd name="T8" fmla="*/ 7462 w 7504"/>
                <a:gd name="T9" fmla="*/ 2 h 13222"/>
                <a:gd name="T10" fmla="*/ 7468 w 7504"/>
                <a:gd name="T11" fmla="*/ 5 h 13222"/>
                <a:gd name="T12" fmla="*/ 7478 w 7504"/>
                <a:gd name="T13" fmla="*/ 10 h 13222"/>
                <a:gd name="T14" fmla="*/ 7486 w 7504"/>
                <a:gd name="T15" fmla="*/ 17 h 13222"/>
                <a:gd name="T16" fmla="*/ 7494 w 7504"/>
                <a:gd name="T17" fmla="*/ 26 h 13222"/>
                <a:gd name="T18" fmla="*/ 7500 w 7504"/>
                <a:gd name="T19" fmla="*/ 36 h 13222"/>
                <a:gd name="T20" fmla="*/ 7501 w 7504"/>
                <a:gd name="T21" fmla="*/ 42 h 13222"/>
                <a:gd name="T22" fmla="*/ 7503 w 7504"/>
                <a:gd name="T23" fmla="*/ 48 h 13222"/>
                <a:gd name="T24" fmla="*/ 7504 w 7504"/>
                <a:gd name="T25" fmla="*/ 54 h 13222"/>
                <a:gd name="T26" fmla="*/ 7504 w 7504"/>
                <a:gd name="T27" fmla="*/ 59 h 13222"/>
                <a:gd name="T28" fmla="*/ 7504 w 7504"/>
                <a:gd name="T29" fmla="*/ 13161 h 13222"/>
                <a:gd name="T30" fmla="*/ 7504 w 7504"/>
                <a:gd name="T31" fmla="*/ 13167 h 13222"/>
                <a:gd name="T32" fmla="*/ 7503 w 7504"/>
                <a:gd name="T33" fmla="*/ 13174 h 13222"/>
                <a:gd name="T34" fmla="*/ 7501 w 7504"/>
                <a:gd name="T35" fmla="*/ 13179 h 13222"/>
                <a:gd name="T36" fmla="*/ 7500 w 7504"/>
                <a:gd name="T37" fmla="*/ 13185 h 13222"/>
                <a:gd name="T38" fmla="*/ 7494 w 7504"/>
                <a:gd name="T39" fmla="*/ 13195 h 13222"/>
                <a:gd name="T40" fmla="*/ 7486 w 7504"/>
                <a:gd name="T41" fmla="*/ 13203 h 13222"/>
                <a:gd name="T42" fmla="*/ 7478 w 7504"/>
                <a:gd name="T43" fmla="*/ 13211 h 13222"/>
                <a:gd name="T44" fmla="*/ 7468 w 7504"/>
                <a:gd name="T45" fmla="*/ 13217 h 13222"/>
                <a:gd name="T46" fmla="*/ 7462 w 7504"/>
                <a:gd name="T47" fmla="*/ 13218 h 13222"/>
                <a:gd name="T48" fmla="*/ 7457 w 7504"/>
                <a:gd name="T49" fmla="*/ 13221 h 13222"/>
                <a:gd name="T50" fmla="*/ 7451 w 7504"/>
                <a:gd name="T51" fmla="*/ 13222 h 13222"/>
                <a:gd name="T52" fmla="*/ 7444 w 7504"/>
                <a:gd name="T53" fmla="*/ 13222 h 13222"/>
                <a:gd name="T54" fmla="*/ 60 w 7504"/>
                <a:gd name="T55" fmla="*/ 13222 h 13222"/>
                <a:gd name="T56" fmla="*/ 54 w 7504"/>
                <a:gd name="T57" fmla="*/ 13222 h 13222"/>
                <a:gd name="T58" fmla="*/ 48 w 7504"/>
                <a:gd name="T59" fmla="*/ 13221 h 13222"/>
                <a:gd name="T60" fmla="*/ 43 w 7504"/>
                <a:gd name="T61" fmla="*/ 13218 h 13222"/>
                <a:gd name="T62" fmla="*/ 37 w 7504"/>
                <a:gd name="T63" fmla="*/ 13217 h 13222"/>
                <a:gd name="T64" fmla="*/ 27 w 7504"/>
                <a:gd name="T65" fmla="*/ 13211 h 13222"/>
                <a:gd name="T66" fmla="*/ 18 w 7504"/>
                <a:gd name="T67" fmla="*/ 13203 h 13222"/>
                <a:gd name="T68" fmla="*/ 11 w 7504"/>
                <a:gd name="T69" fmla="*/ 13195 h 13222"/>
                <a:gd name="T70" fmla="*/ 5 w 7504"/>
                <a:gd name="T71" fmla="*/ 13185 h 13222"/>
                <a:gd name="T72" fmla="*/ 3 w 7504"/>
                <a:gd name="T73" fmla="*/ 13179 h 13222"/>
                <a:gd name="T74" fmla="*/ 2 w 7504"/>
                <a:gd name="T75" fmla="*/ 13174 h 13222"/>
                <a:gd name="T76" fmla="*/ 0 w 7504"/>
                <a:gd name="T77" fmla="*/ 13167 h 13222"/>
                <a:gd name="T78" fmla="*/ 0 w 7504"/>
                <a:gd name="T79" fmla="*/ 13161 h 13222"/>
                <a:gd name="T80" fmla="*/ 0 w 7504"/>
                <a:gd name="T81" fmla="*/ 59 h 13222"/>
                <a:gd name="T82" fmla="*/ 0 w 7504"/>
                <a:gd name="T83" fmla="*/ 54 h 13222"/>
                <a:gd name="T84" fmla="*/ 2 w 7504"/>
                <a:gd name="T85" fmla="*/ 48 h 13222"/>
                <a:gd name="T86" fmla="*/ 3 w 7504"/>
                <a:gd name="T87" fmla="*/ 42 h 13222"/>
                <a:gd name="T88" fmla="*/ 5 w 7504"/>
                <a:gd name="T89" fmla="*/ 36 h 13222"/>
                <a:gd name="T90" fmla="*/ 11 w 7504"/>
                <a:gd name="T91" fmla="*/ 26 h 13222"/>
                <a:gd name="T92" fmla="*/ 18 w 7504"/>
                <a:gd name="T93" fmla="*/ 17 h 13222"/>
                <a:gd name="T94" fmla="*/ 27 w 7504"/>
                <a:gd name="T95" fmla="*/ 10 h 13222"/>
                <a:gd name="T96" fmla="*/ 37 w 7504"/>
                <a:gd name="T97" fmla="*/ 5 h 13222"/>
                <a:gd name="T98" fmla="*/ 43 w 7504"/>
                <a:gd name="T99" fmla="*/ 2 h 13222"/>
                <a:gd name="T100" fmla="*/ 48 w 7504"/>
                <a:gd name="T101" fmla="*/ 1 h 13222"/>
                <a:gd name="T102" fmla="*/ 54 w 7504"/>
                <a:gd name="T103" fmla="*/ 0 h 13222"/>
                <a:gd name="T104" fmla="*/ 60 w 7504"/>
                <a:gd name="T105" fmla="*/ 0 h 13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04" h="13222">
                  <a:moveTo>
                    <a:pt x="60" y="0"/>
                  </a:moveTo>
                  <a:lnTo>
                    <a:pt x="7444" y="0"/>
                  </a:lnTo>
                  <a:lnTo>
                    <a:pt x="7451" y="0"/>
                  </a:lnTo>
                  <a:lnTo>
                    <a:pt x="7457" y="1"/>
                  </a:lnTo>
                  <a:lnTo>
                    <a:pt x="7462" y="2"/>
                  </a:lnTo>
                  <a:lnTo>
                    <a:pt x="7468" y="5"/>
                  </a:lnTo>
                  <a:lnTo>
                    <a:pt x="7478" y="10"/>
                  </a:lnTo>
                  <a:lnTo>
                    <a:pt x="7486" y="17"/>
                  </a:lnTo>
                  <a:lnTo>
                    <a:pt x="7494" y="26"/>
                  </a:lnTo>
                  <a:lnTo>
                    <a:pt x="7500" y="36"/>
                  </a:lnTo>
                  <a:lnTo>
                    <a:pt x="7501" y="42"/>
                  </a:lnTo>
                  <a:lnTo>
                    <a:pt x="7503" y="48"/>
                  </a:lnTo>
                  <a:lnTo>
                    <a:pt x="7504" y="54"/>
                  </a:lnTo>
                  <a:lnTo>
                    <a:pt x="7504" y="59"/>
                  </a:lnTo>
                  <a:lnTo>
                    <a:pt x="7504" y="13161"/>
                  </a:lnTo>
                  <a:lnTo>
                    <a:pt x="7504" y="13167"/>
                  </a:lnTo>
                  <a:lnTo>
                    <a:pt x="7503" y="13174"/>
                  </a:lnTo>
                  <a:lnTo>
                    <a:pt x="7501" y="13179"/>
                  </a:lnTo>
                  <a:lnTo>
                    <a:pt x="7500" y="13185"/>
                  </a:lnTo>
                  <a:lnTo>
                    <a:pt x="7494" y="13195"/>
                  </a:lnTo>
                  <a:lnTo>
                    <a:pt x="7486" y="13203"/>
                  </a:lnTo>
                  <a:lnTo>
                    <a:pt x="7478" y="13211"/>
                  </a:lnTo>
                  <a:lnTo>
                    <a:pt x="7468" y="13217"/>
                  </a:lnTo>
                  <a:lnTo>
                    <a:pt x="7462" y="13218"/>
                  </a:lnTo>
                  <a:lnTo>
                    <a:pt x="7457" y="13221"/>
                  </a:lnTo>
                  <a:lnTo>
                    <a:pt x="7451" y="13222"/>
                  </a:lnTo>
                  <a:lnTo>
                    <a:pt x="7444" y="13222"/>
                  </a:lnTo>
                  <a:lnTo>
                    <a:pt x="60" y="13222"/>
                  </a:lnTo>
                  <a:lnTo>
                    <a:pt x="54" y="13222"/>
                  </a:lnTo>
                  <a:lnTo>
                    <a:pt x="48" y="13221"/>
                  </a:lnTo>
                  <a:lnTo>
                    <a:pt x="43" y="13218"/>
                  </a:lnTo>
                  <a:lnTo>
                    <a:pt x="37" y="13217"/>
                  </a:lnTo>
                  <a:lnTo>
                    <a:pt x="27" y="13211"/>
                  </a:lnTo>
                  <a:lnTo>
                    <a:pt x="18" y="13203"/>
                  </a:lnTo>
                  <a:lnTo>
                    <a:pt x="11" y="13195"/>
                  </a:lnTo>
                  <a:lnTo>
                    <a:pt x="5" y="13185"/>
                  </a:lnTo>
                  <a:lnTo>
                    <a:pt x="3" y="13179"/>
                  </a:lnTo>
                  <a:lnTo>
                    <a:pt x="2" y="13174"/>
                  </a:lnTo>
                  <a:lnTo>
                    <a:pt x="0" y="13167"/>
                  </a:lnTo>
                  <a:lnTo>
                    <a:pt x="0" y="13161"/>
                  </a:lnTo>
                  <a:lnTo>
                    <a:pt x="0" y="59"/>
                  </a:lnTo>
                  <a:lnTo>
                    <a:pt x="0" y="54"/>
                  </a:lnTo>
                  <a:lnTo>
                    <a:pt x="2" y="48"/>
                  </a:lnTo>
                  <a:lnTo>
                    <a:pt x="3" y="42"/>
                  </a:lnTo>
                  <a:lnTo>
                    <a:pt x="5" y="36"/>
                  </a:lnTo>
                  <a:lnTo>
                    <a:pt x="11" y="26"/>
                  </a:lnTo>
                  <a:lnTo>
                    <a:pt x="18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8" y="1"/>
                  </a:lnTo>
                  <a:lnTo>
                    <a:pt x="54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sp>
          <p:nvSpPr>
            <p:cNvPr id="131" name="Rectangle 19"/>
            <p:cNvSpPr>
              <a:spLocks noChangeArrowheads="1"/>
            </p:cNvSpPr>
            <p:nvPr/>
          </p:nvSpPr>
          <p:spPr bwMode="auto">
            <a:xfrm>
              <a:off x="2778107" y="4486108"/>
              <a:ext cx="678593" cy="10041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 dirty="0"/>
            </a:p>
          </p:txBody>
        </p:sp>
        <p:grpSp>
          <p:nvGrpSpPr>
            <p:cNvPr id="132" name="Group 133"/>
            <p:cNvGrpSpPr/>
            <p:nvPr/>
          </p:nvGrpSpPr>
          <p:grpSpPr>
            <a:xfrm>
              <a:off x="2778107" y="4486107"/>
              <a:ext cx="678593" cy="37053"/>
              <a:chOff x="2252642" y="846142"/>
              <a:chExt cx="1930382" cy="127001"/>
            </a:xfrm>
          </p:grpSpPr>
          <p:sp>
            <p:nvSpPr>
              <p:cNvPr id="133" name="Rectangle 200"/>
              <p:cNvSpPr>
                <a:spLocks noChangeArrowheads="1"/>
              </p:cNvSpPr>
              <p:nvPr/>
            </p:nvSpPr>
            <p:spPr bwMode="auto">
              <a:xfrm>
                <a:off x="2252642" y="846142"/>
                <a:ext cx="1930382" cy="127001"/>
              </a:xfrm>
              <a:prstGeom prst="rect">
                <a:avLst/>
              </a:prstGeom>
              <a:gradFill flip="none" rotWithShape="1">
                <a:gsLst>
                  <a:gs pos="100000">
                    <a:srgbClr val="595959"/>
                  </a:gs>
                  <a:gs pos="0">
                    <a:srgbClr val="7F7F7F"/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34" name="Rectangle 21"/>
              <p:cNvSpPr>
                <a:spLocks noChangeArrowheads="1"/>
              </p:cNvSpPr>
              <p:nvPr/>
            </p:nvSpPr>
            <p:spPr bwMode="auto">
              <a:xfrm>
                <a:off x="2278042" y="912817"/>
                <a:ext cx="19050" cy="25400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35" name="Rectangle 220"/>
              <p:cNvSpPr>
                <a:spLocks noChangeArrowheads="1"/>
              </p:cNvSpPr>
              <p:nvPr/>
            </p:nvSpPr>
            <p:spPr bwMode="auto">
              <a:xfrm>
                <a:off x="2301854" y="908054"/>
                <a:ext cx="19050" cy="30164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36" name="Rectangle 230"/>
              <p:cNvSpPr>
                <a:spLocks noChangeArrowheads="1"/>
              </p:cNvSpPr>
              <p:nvPr/>
            </p:nvSpPr>
            <p:spPr bwMode="auto">
              <a:xfrm>
                <a:off x="2327254" y="898529"/>
                <a:ext cx="17463" cy="39688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37" name="Rectangle 240"/>
              <p:cNvSpPr>
                <a:spLocks noChangeArrowheads="1"/>
              </p:cNvSpPr>
              <p:nvPr/>
            </p:nvSpPr>
            <p:spPr bwMode="auto">
              <a:xfrm>
                <a:off x="2351066" y="890592"/>
                <a:ext cx="17463" cy="47625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38" name="Rectangle 250"/>
              <p:cNvSpPr>
                <a:spLocks noChangeArrowheads="1"/>
              </p:cNvSpPr>
              <p:nvPr/>
            </p:nvSpPr>
            <p:spPr bwMode="auto">
              <a:xfrm>
                <a:off x="2374878" y="877891"/>
                <a:ext cx="17463" cy="60325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39" name="Freeform 36"/>
              <p:cNvSpPr>
                <a:spLocks/>
              </p:cNvSpPr>
              <p:nvPr/>
            </p:nvSpPr>
            <p:spPr bwMode="auto">
              <a:xfrm>
                <a:off x="2432028" y="873129"/>
                <a:ext cx="96837" cy="34925"/>
              </a:xfrm>
              <a:custGeom>
                <a:avLst/>
                <a:gdLst>
                  <a:gd name="T0" fmla="*/ 195 w 362"/>
                  <a:gd name="T1" fmla="*/ 0 h 133"/>
                  <a:gd name="T2" fmla="*/ 222 w 362"/>
                  <a:gd name="T3" fmla="*/ 3 h 133"/>
                  <a:gd name="T4" fmla="*/ 248 w 362"/>
                  <a:gd name="T5" fmla="*/ 10 h 133"/>
                  <a:gd name="T6" fmla="*/ 274 w 362"/>
                  <a:gd name="T7" fmla="*/ 19 h 133"/>
                  <a:gd name="T8" fmla="*/ 296 w 362"/>
                  <a:gd name="T9" fmla="*/ 31 h 133"/>
                  <a:gd name="T10" fmla="*/ 318 w 362"/>
                  <a:gd name="T11" fmla="*/ 46 h 133"/>
                  <a:gd name="T12" fmla="*/ 337 w 362"/>
                  <a:gd name="T13" fmla="*/ 63 h 133"/>
                  <a:gd name="T14" fmla="*/ 356 w 362"/>
                  <a:gd name="T15" fmla="*/ 83 h 133"/>
                  <a:gd name="T16" fmla="*/ 321 w 362"/>
                  <a:gd name="T17" fmla="*/ 133 h 133"/>
                  <a:gd name="T18" fmla="*/ 309 w 362"/>
                  <a:gd name="T19" fmla="*/ 116 h 133"/>
                  <a:gd name="T20" fmla="*/ 295 w 362"/>
                  <a:gd name="T21" fmla="*/ 101 h 133"/>
                  <a:gd name="T22" fmla="*/ 279 w 362"/>
                  <a:gd name="T23" fmla="*/ 87 h 133"/>
                  <a:gd name="T24" fmla="*/ 262 w 362"/>
                  <a:gd name="T25" fmla="*/ 77 h 133"/>
                  <a:gd name="T26" fmla="*/ 244 w 362"/>
                  <a:gd name="T27" fmla="*/ 68 h 133"/>
                  <a:gd name="T28" fmla="*/ 223 w 362"/>
                  <a:gd name="T29" fmla="*/ 61 h 133"/>
                  <a:gd name="T30" fmla="*/ 203 w 362"/>
                  <a:gd name="T31" fmla="*/ 57 h 133"/>
                  <a:gd name="T32" fmla="*/ 181 w 362"/>
                  <a:gd name="T33" fmla="*/ 55 h 133"/>
                  <a:gd name="T34" fmla="*/ 159 w 362"/>
                  <a:gd name="T35" fmla="*/ 57 h 133"/>
                  <a:gd name="T36" fmla="*/ 139 w 362"/>
                  <a:gd name="T37" fmla="*/ 61 h 133"/>
                  <a:gd name="T38" fmla="*/ 118 w 362"/>
                  <a:gd name="T39" fmla="*/ 68 h 133"/>
                  <a:gd name="T40" fmla="*/ 100 w 362"/>
                  <a:gd name="T41" fmla="*/ 77 h 133"/>
                  <a:gd name="T42" fmla="*/ 83 w 362"/>
                  <a:gd name="T43" fmla="*/ 87 h 133"/>
                  <a:gd name="T44" fmla="*/ 67 w 362"/>
                  <a:gd name="T45" fmla="*/ 101 h 133"/>
                  <a:gd name="T46" fmla="*/ 53 w 362"/>
                  <a:gd name="T47" fmla="*/ 116 h 133"/>
                  <a:gd name="T48" fmla="*/ 41 w 362"/>
                  <a:gd name="T49" fmla="*/ 133 h 133"/>
                  <a:gd name="T50" fmla="*/ 7 w 362"/>
                  <a:gd name="T51" fmla="*/ 83 h 133"/>
                  <a:gd name="T52" fmla="*/ 25 w 362"/>
                  <a:gd name="T53" fmla="*/ 63 h 133"/>
                  <a:gd name="T54" fmla="*/ 44 w 362"/>
                  <a:gd name="T55" fmla="*/ 46 h 133"/>
                  <a:gd name="T56" fmla="*/ 66 w 362"/>
                  <a:gd name="T57" fmla="*/ 31 h 133"/>
                  <a:gd name="T58" fmla="*/ 89 w 362"/>
                  <a:gd name="T59" fmla="*/ 19 h 133"/>
                  <a:gd name="T60" fmla="*/ 114 w 362"/>
                  <a:gd name="T61" fmla="*/ 10 h 133"/>
                  <a:gd name="T62" fmla="*/ 140 w 362"/>
                  <a:gd name="T63" fmla="*/ 3 h 133"/>
                  <a:gd name="T64" fmla="*/ 167 w 362"/>
                  <a:gd name="T65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2" h="133">
                    <a:moveTo>
                      <a:pt x="181" y="0"/>
                    </a:moveTo>
                    <a:lnTo>
                      <a:pt x="195" y="0"/>
                    </a:lnTo>
                    <a:lnTo>
                      <a:pt x="208" y="1"/>
                    </a:lnTo>
                    <a:lnTo>
                      <a:pt x="222" y="3"/>
                    </a:lnTo>
                    <a:lnTo>
                      <a:pt x="236" y="5"/>
                    </a:lnTo>
                    <a:lnTo>
                      <a:pt x="248" y="10"/>
                    </a:lnTo>
                    <a:lnTo>
                      <a:pt x="261" y="14"/>
                    </a:lnTo>
                    <a:lnTo>
                      <a:pt x="274" y="19"/>
                    </a:lnTo>
                    <a:lnTo>
                      <a:pt x="285" y="25"/>
                    </a:lnTo>
                    <a:lnTo>
                      <a:pt x="296" y="31"/>
                    </a:lnTo>
                    <a:lnTo>
                      <a:pt x="308" y="38"/>
                    </a:lnTo>
                    <a:lnTo>
                      <a:pt x="318" y="46"/>
                    </a:lnTo>
                    <a:lnTo>
                      <a:pt x="328" y="54"/>
                    </a:lnTo>
                    <a:lnTo>
                      <a:pt x="337" y="63"/>
                    </a:lnTo>
                    <a:lnTo>
                      <a:pt x="346" y="73"/>
                    </a:lnTo>
                    <a:lnTo>
                      <a:pt x="356" y="83"/>
                    </a:lnTo>
                    <a:lnTo>
                      <a:pt x="362" y="93"/>
                    </a:lnTo>
                    <a:lnTo>
                      <a:pt x="321" y="133"/>
                    </a:lnTo>
                    <a:lnTo>
                      <a:pt x="316" y="124"/>
                    </a:lnTo>
                    <a:lnTo>
                      <a:pt x="309" y="116"/>
                    </a:lnTo>
                    <a:lnTo>
                      <a:pt x="302" y="108"/>
                    </a:lnTo>
                    <a:lnTo>
                      <a:pt x="295" y="101"/>
                    </a:lnTo>
                    <a:lnTo>
                      <a:pt x="287" y="94"/>
                    </a:lnTo>
                    <a:lnTo>
                      <a:pt x="279" y="87"/>
                    </a:lnTo>
                    <a:lnTo>
                      <a:pt x="271" y="82"/>
                    </a:lnTo>
                    <a:lnTo>
                      <a:pt x="262" y="77"/>
                    </a:lnTo>
                    <a:lnTo>
                      <a:pt x="253" y="71"/>
                    </a:lnTo>
                    <a:lnTo>
                      <a:pt x="244" y="68"/>
                    </a:lnTo>
                    <a:lnTo>
                      <a:pt x="234" y="65"/>
                    </a:lnTo>
                    <a:lnTo>
                      <a:pt x="223" y="61"/>
                    </a:lnTo>
                    <a:lnTo>
                      <a:pt x="213" y="59"/>
                    </a:lnTo>
                    <a:lnTo>
                      <a:pt x="203" y="57"/>
                    </a:lnTo>
                    <a:lnTo>
                      <a:pt x="193" y="55"/>
                    </a:lnTo>
                    <a:lnTo>
                      <a:pt x="181" y="55"/>
                    </a:lnTo>
                    <a:lnTo>
                      <a:pt x="170" y="55"/>
                    </a:lnTo>
                    <a:lnTo>
                      <a:pt x="159" y="57"/>
                    </a:lnTo>
                    <a:lnTo>
                      <a:pt x="149" y="59"/>
                    </a:lnTo>
                    <a:lnTo>
                      <a:pt x="139" y="61"/>
                    </a:lnTo>
                    <a:lnTo>
                      <a:pt x="129" y="65"/>
                    </a:lnTo>
                    <a:lnTo>
                      <a:pt x="118" y="68"/>
                    </a:lnTo>
                    <a:lnTo>
                      <a:pt x="109" y="71"/>
                    </a:lnTo>
                    <a:lnTo>
                      <a:pt x="100" y="77"/>
                    </a:lnTo>
                    <a:lnTo>
                      <a:pt x="91" y="82"/>
                    </a:lnTo>
                    <a:lnTo>
                      <a:pt x="83" y="87"/>
                    </a:lnTo>
                    <a:lnTo>
                      <a:pt x="75" y="94"/>
                    </a:lnTo>
                    <a:lnTo>
                      <a:pt x="67" y="101"/>
                    </a:lnTo>
                    <a:lnTo>
                      <a:pt x="60" y="108"/>
                    </a:lnTo>
                    <a:lnTo>
                      <a:pt x="53" y="116"/>
                    </a:lnTo>
                    <a:lnTo>
                      <a:pt x="47" y="124"/>
                    </a:lnTo>
                    <a:lnTo>
                      <a:pt x="41" y="133"/>
                    </a:lnTo>
                    <a:lnTo>
                      <a:pt x="0" y="93"/>
                    </a:lnTo>
                    <a:lnTo>
                      <a:pt x="7" y="83"/>
                    </a:lnTo>
                    <a:lnTo>
                      <a:pt x="16" y="73"/>
                    </a:lnTo>
                    <a:lnTo>
                      <a:pt x="25" y="63"/>
                    </a:lnTo>
                    <a:lnTo>
                      <a:pt x="34" y="54"/>
                    </a:lnTo>
                    <a:lnTo>
                      <a:pt x="44" y="46"/>
                    </a:lnTo>
                    <a:lnTo>
                      <a:pt x="55" y="38"/>
                    </a:lnTo>
                    <a:lnTo>
                      <a:pt x="66" y="31"/>
                    </a:lnTo>
                    <a:lnTo>
                      <a:pt x="77" y="25"/>
                    </a:lnTo>
                    <a:lnTo>
                      <a:pt x="89" y="19"/>
                    </a:lnTo>
                    <a:lnTo>
                      <a:pt x="101" y="14"/>
                    </a:lnTo>
                    <a:lnTo>
                      <a:pt x="114" y="10"/>
                    </a:lnTo>
                    <a:lnTo>
                      <a:pt x="126" y="5"/>
                    </a:lnTo>
                    <a:lnTo>
                      <a:pt x="140" y="3"/>
                    </a:lnTo>
                    <a:lnTo>
                      <a:pt x="154" y="1"/>
                    </a:lnTo>
                    <a:lnTo>
                      <a:pt x="167" y="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40" name="Freeform 37"/>
              <p:cNvSpPr>
                <a:spLocks/>
              </p:cNvSpPr>
              <p:nvPr/>
            </p:nvSpPr>
            <p:spPr bwMode="auto">
              <a:xfrm>
                <a:off x="2449489" y="896942"/>
                <a:ext cx="61912" cy="28576"/>
              </a:xfrm>
              <a:custGeom>
                <a:avLst/>
                <a:gdLst>
                  <a:gd name="T0" fmla="*/ 117 w 235"/>
                  <a:gd name="T1" fmla="*/ 0 h 111"/>
                  <a:gd name="T2" fmla="*/ 126 w 235"/>
                  <a:gd name="T3" fmla="*/ 1 h 111"/>
                  <a:gd name="T4" fmla="*/ 135 w 235"/>
                  <a:gd name="T5" fmla="*/ 2 h 111"/>
                  <a:gd name="T6" fmla="*/ 144 w 235"/>
                  <a:gd name="T7" fmla="*/ 3 h 111"/>
                  <a:gd name="T8" fmla="*/ 154 w 235"/>
                  <a:gd name="T9" fmla="*/ 6 h 111"/>
                  <a:gd name="T10" fmla="*/ 162 w 235"/>
                  <a:gd name="T11" fmla="*/ 8 h 111"/>
                  <a:gd name="T12" fmla="*/ 171 w 235"/>
                  <a:gd name="T13" fmla="*/ 11 h 111"/>
                  <a:gd name="T14" fmla="*/ 179 w 235"/>
                  <a:gd name="T15" fmla="*/ 15 h 111"/>
                  <a:gd name="T16" fmla="*/ 186 w 235"/>
                  <a:gd name="T17" fmla="*/ 19 h 111"/>
                  <a:gd name="T18" fmla="*/ 200 w 235"/>
                  <a:gd name="T19" fmla="*/ 30 h 111"/>
                  <a:gd name="T20" fmla="*/ 214 w 235"/>
                  <a:gd name="T21" fmla="*/ 41 h 111"/>
                  <a:gd name="T22" fmla="*/ 225 w 235"/>
                  <a:gd name="T23" fmla="*/ 54 h 111"/>
                  <a:gd name="T24" fmla="*/ 235 w 235"/>
                  <a:gd name="T25" fmla="*/ 68 h 111"/>
                  <a:gd name="T26" fmla="*/ 190 w 235"/>
                  <a:gd name="T27" fmla="*/ 111 h 111"/>
                  <a:gd name="T28" fmla="*/ 186 w 235"/>
                  <a:gd name="T29" fmla="*/ 99 h 111"/>
                  <a:gd name="T30" fmla="*/ 179 w 235"/>
                  <a:gd name="T31" fmla="*/ 90 h 111"/>
                  <a:gd name="T32" fmla="*/ 172 w 235"/>
                  <a:gd name="T33" fmla="*/ 81 h 111"/>
                  <a:gd name="T34" fmla="*/ 163 w 235"/>
                  <a:gd name="T35" fmla="*/ 73 h 111"/>
                  <a:gd name="T36" fmla="*/ 152 w 235"/>
                  <a:gd name="T37" fmla="*/ 67 h 111"/>
                  <a:gd name="T38" fmla="*/ 141 w 235"/>
                  <a:gd name="T39" fmla="*/ 63 h 111"/>
                  <a:gd name="T40" fmla="*/ 130 w 235"/>
                  <a:gd name="T41" fmla="*/ 59 h 111"/>
                  <a:gd name="T42" fmla="*/ 117 w 235"/>
                  <a:gd name="T43" fmla="*/ 59 h 111"/>
                  <a:gd name="T44" fmla="*/ 105 w 235"/>
                  <a:gd name="T45" fmla="*/ 59 h 111"/>
                  <a:gd name="T46" fmla="*/ 93 w 235"/>
                  <a:gd name="T47" fmla="*/ 63 h 111"/>
                  <a:gd name="T48" fmla="*/ 82 w 235"/>
                  <a:gd name="T49" fmla="*/ 67 h 111"/>
                  <a:gd name="T50" fmla="*/ 71 w 235"/>
                  <a:gd name="T51" fmla="*/ 73 h 111"/>
                  <a:gd name="T52" fmla="*/ 64 w 235"/>
                  <a:gd name="T53" fmla="*/ 81 h 111"/>
                  <a:gd name="T54" fmla="*/ 56 w 235"/>
                  <a:gd name="T55" fmla="*/ 90 h 111"/>
                  <a:gd name="T56" fmla="*/ 49 w 235"/>
                  <a:gd name="T57" fmla="*/ 99 h 111"/>
                  <a:gd name="T58" fmla="*/ 44 w 235"/>
                  <a:gd name="T59" fmla="*/ 111 h 111"/>
                  <a:gd name="T60" fmla="*/ 0 w 235"/>
                  <a:gd name="T61" fmla="*/ 68 h 111"/>
                  <a:gd name="T62" fmla="*/ 9 w 235"/>
                  <a:gd name="T63" fmla="*/ 54 h 111"/>
                  <a:gd name="T64" fmla="*/ 20 w 235"/>
                  <a:gd name="T65" fmla="*/ 41 h 111"/>
                  <a:gd name="T66" fmla="*/ 34 w 235"/>
                  <a:gd name="T67" fmla="*/ 30 h 111"/>
                  <a:gd name="T68" fmla="*/ 49 w 235"/>
                  <a:gd name="T69" fmla="*/ 19 h 111"/>
                  <a:gd name="T70" fmla="*/ 56 w 235"/>
                  <a:gd name="T71" fmla="*/ 15 h 111"/>
                  <a:gd name="T72" fmla="*/ 64 w 235"/>
                  <a:gd name="T73" fmla="*/ 11 h 111"/>
                  <a:gd name="T74" fmla="*/ 73 w 235"/>
                  <a:gd name="T75" fmla="*/ 8 h 111"/>
                  <a:gd name="T76" fmla="*/ 81 w 235"/>
                  <a:gd name="T77" fmla="*/ 6 h 111"/>
                  <a:gd name="T78" fmla="*/ 90 w 235"/>
                  <a:gd name="T79" fmla="*/ 3 h 111"/>
                  <a:gd name="T80" fmla="*/ 99 w 235"/>
                  <a:gd name="T81" fmla="*/ 2 h 111"/>
                  <a:gd name="T82" fmla="*/ 108 w 235"/>
                  <a:gd name="T83" fmla="*/ 1 h 111"/>
                  <a:gd name="T84" fmla="*/ 117 w 235"/>
                  <a:gd name="T85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5" h="111">
                    <a:moveTo>
                      <a:pt x="117" y="0"/>
                    </a:moveTo>
                    <a:lnTo>
                      <a:pt x="126" y="1"/>
                    </a:lnTo>
                    <a:lnTo>
                      <a:pt x="135" y="2"/>
                    </a:lnTo>
                    <a:lnTo>
                      <a:pt x="144" y="3"/>
                    </a:lnTo>
                    <a:lnTo>
                      <a:pt x="154" y="6"/>
                    </a:lnTo>
                    <a:lnTo>
                      <a:pt x="162" y="8"/>
                    </a:lnTo>
                    <a:lnTo>
                      <a:pt x="171" y="11"/>
                    </a:lnTo>
                    <a:lnTo>
                      <a:pt x="179" y="15"/>
                    </a:lnTo>
                    <a:lnTo>
                      <a:pt x="186" y="19"/>
                    </a:lnTo>
                    <a:lnTo>
                      <a:pt x="200" y="30"/>
                    </a:lnTo>
                    <a:lnTo>
                      <a:pt x="214" y="41"/>
                    </a:lnTo>
                    <a:lnTo>
                      <a:pt x="225" y="54"/>
                    </a:lnTo>
                    <a:lnTo>
                      <a:pt x="235" y="68"/>
                    </a:lnTo>
                    <a:lnTo>
                      <a:pt x="190" y="111"/>
                    </a:lnTo>
                    <a:lnTo>
                      <a:pt x="186" y="99"/>
                    </a:lnTo>
                    <a:lnTo>
                      <a:pt x="179" y="90"/>
                    </a:lnTo>
                    <a:lnTo>
                      <a:pt x="172" y="81"/>
                    </a:lnTo>
                    <a:lnTo>
                      <a:pt x="163" y="73"/>
                    </a:lnTo>
                    <a:lnTo>
                      <a:pt x="152" y="67"/>
                    </a:lnTo>
                    <a:lnTo>
                      <a:pt x="141" y="63"/>
                    </a:lnTo>
                    <a:lnTo>
                      <a:pt x="130" y="59"/>
                    </a:lnTo>
                    <a:lnTo>
                      <a:pt x="117" y="59"/>
                    </a:lnTo>
                    <a:lnTo>
                      <a:pt x="105" y="59"/>
                    </a:lnTo>
                    <a:lnTo>
                      <a:pt x="93" y="63"/>
                    </a:lnTo>
                    <a:lnTo>
                      <a:pt x="82" y="67"/>
                    </a:lnTo>
                    <a:lnTo>
                      <a:pt x="71" y="73"/>
                    </a:lnTo>
                    <a:lnTo>
                      <a:pt x="64" y="81"/>
                    </a:lnTo>
                    <a:lnTo>
                      <a:pt x="56" y="90"/>
                    </a:lnTo>
                    <a:lnTo>
                      <a:pt x="49" y="99"/>
                    </a:lnTo>
                    <a:lnTo>
                      <a:pt x="44" y="111"/>
                    </a:lnTo>
                    <a:lnTo>
                      <a:pt x="0" y="68"/>
                    </a:lnTo>
                    <a:lnTo>
                      <a:pt x="9" y="54"/>
                    </a:lnTo>
                    <a:lnTo>
                      <a:pt x="20" y="41"/>
                    </a:lnTo>
                    <a:lnTo>
                      <a:pt x="34" y="30"/>
                    </a:lnTo>
                    <a:lnTo>
                      <a:pt x="49" y="19"/>
                    </a:lnTo>
                    <a:lnTo>
                      <a:pt x="56" y="15"/>
                    </a:lnTo>
                    <a:lnTo>
                      <a:pt x="64" y="11"/>
                    </a:lnTo>
                    <a:lnTo>
                      <a:pt x="73" y="8"/>
                    </a:lnTo>
                    <a:lnTo>
                      <a:pt x="81" y="6"/>
                    </a:lnTo>
                    <a:lnTo>
                      <a:pt x="90" y="3"/>
                    </a:lnTo>
                    <a:lnTo>
                      <a:pt x="99" y="2"/>
                    </a:lnTo>
                    <a:lnTo>
                      <a:pt x="108" y="1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41" name="Freeform 38"/>
              <p:cNvSpPr>
                <a:spLocks/>
              </p:cNvSpPr>
              <p:nvPr/>
            </p:nvSpPr>
            <p:spPr bwMode="auto">
              <a:xfrm>
                <a:off x="2468539" y="920755"/>
                <a:ext cx="23813" cy="22225"/>
              </a:xfrm>
              <a:custGeom>
                <a:avLst/>
                <a:gdLst>
                  <a:gd name="T0" fmla="*/ 42 w 84"/>
                  <a:gd name="T1" fmla="*/ 0 h 84"/>
                  <a:gd name="T2" fmla="*/ 51 w 84"/>
                  <a:gd name="T3" fmla="*/ 0 h 84"/>
                  <a:gd name="T4" fmla="*/ 59 w 84"/>
                  <a:gd name="T5" fmla="*/ 2 h 84"/>
                  <a:gd name="T6" fmla="*/ 66 w 84"/>
                  <a:gd name="T7" fmla="*/ 7 h 84"/>
                  <a:gd name="T8" fmla="*/ 72 w 84"/>
                  <a:gd name="T9" fmla="*/ 11 h 84"/>
                  <a:gd name="T10" fmla="*/ 77 w 84"/>
                  <a:gd name="T11" fmla="*/ 18 h 84"/>
                  <a:gd name="T12" fmla="*/ 81 w 84"/>
                  <a:gd name="T13" fmla="*/ 25 h 84"/>
                  <a:gd name="T14" fmla="*/ 83 w 84"/>
                  <a:gd name="T15" fmla="*/ 33 h 84"/>
                  <a:gd name="T16" fmla="*/ 84 w 84"/>
                  <a:gd name="T17" fmla="*/ 42 h 84"/>
                  <a:gd name="T18" fmla="*/ 84 w 84"/>
                  <a:gd name="T19" fmla="*/ 43 h 84"/>
                  <a:gd name="T20" fmla="*/ 84 w 84"/>
                  <a:gd name="T21" fmla="*/ 44 h 84"/>
                  <a:gd name="T22" fmla="*/ 42 w 84"/>
                  <a:gd name="T23" fmla="*/ 84 h 84"/>
                  <a:gd name="T24" fmla="*/ 0 w 84"/>
                  <a:gd name="T25" fmla="*/ 44 h 84"/>
                  <a:gd name="T26" fmla="*/ 0 w 84"/>
                  <a:gd name="T27" fmla="*/ 43 h 84"/>
                  <a:gd name="T28" fmla="*/ 0 w 84"/>
                  <a:gd name="T29" fmla="*/ 42 h 84"/>
                  <a:gd name="T30" fmla="*/ 1 w 84"/>
                  <a:gd name="T31" fmla="*/ 33 h 84"/>
                  <a:gd name="T32" fmla="*/ 3 w 84"/>
                  <a:gd name="T33" fmla="*/ 25 h 84"/>
                  <a:gd name="T34" fmla="*/ 7 w 84"/>
                  <a:gd name="T35" fmla="*/ 18 h 84"/>
                  <a:gd name="T36" fmla="*/ 12 w 84"/>
                  <a:gd name="T37" fmla="*/ 11 h 84"/>
                  <a:gd name="T38" fmla="*/ 18 w 84"/>
                  <a:gd name="T39" fmla="*/ 7 h 84"/>
                  <a:gd name="T40" fmla="*/ 26 w 84"/>
                  <a:gd name="T41" fmla="*/ 2 h 84"/>
                  <a:gd name="T42" fmla="*/ 34 w 84"/>
                  <a:gd name="T43" fmla="*/ 0 h 84"/>
                  <a:gd name="T44" fmla="*/ 42 w 84"/>
                  <a:gd name="T4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51" y="0"/>
                    </a:lnTo>
                    <a:lnTo>
                      <a:pt x="59" y="2"/>
                    </a:lnTo>
                    <a:lnTo>
                      <a:pt x="66" y="7"/>
                    </a:lnTo>
                    <a:lnTo>
                      <a:pt x="72" y="11"/>
                    </a:lnTo>
                    <a:lnTo>
                      <a:pt x="77" y="18"/>
                    </a:lnTo>
                    <a:lnTo>
                      <a:pt x="81" y="25"/>
                    </a:lnTo>
                    <a:lnTo>
                      <a:pt x="83" y="33"/>
                    </a:lnTo>
                    <a:lnTo>
                      <a:pt x="84" y="42"/>
                    </a:lnTo>
                    <a:lnTo>
                      <a:pt x="84" y="43"/>
                    </a:lnTo>
                    <a:lnTo>
                      <a:pt x="84" y="44"/>
                    </a:lnTo>
                    <a:lnTo>
                      <a:pt x="42" y="84"/>
                    </a:lnTo>
                    <a:lnTo>
                      <a:pt x="0" y="44"/>
                    </a:lnTo>
                    <a:lnTo>
                      <a:pt x="0" y="43"/>
                    </a:lnTo>
                    <a:lnTo>
                      <a:pt x="0" y="42"/>
                    </a:lnTo>
                    <a:lnTo>
                      <a:pt x="1" y="33"/>
                    </a:lnTo>
                    <a:lnTo>
                      <a:pt x="3" y="25"/>
                    </a:lnTo>
                    <a:lnTo>
                      <a:pt x="7" y="18"/>
                    </a:lnTo>
                    <a:lnTo>
                      <a:pt x="12" y="11"/>
                    </a:lnTo>
                    <a:lnTo>
                      <a:pt x="18" y="7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42" name="Freeform 39"/>
              <p:cNvSpPr>
                <a:spLocks noEditPoints="1"/>
              </p:cNvSpPr>
              <p:nvPr/>
            </p:nvSpPr>
            <p:spPr bwMode="auto">
              <a:xfrm>
                <a:off x="4035385" y="876304"/>
                <a:ext cx="130173" cy="61913"/>
              </a:xfrm>
              <a:custGeom>
                <a:avLst/>
                <a:gdLst>
                  <a:gd name="T0" fmla="*/ 418 w 492"/>
                  <a:gd name="T1" fmla="*/ 0 h 235"/>
                  <a:gd name="T2" fmla="*/ 430 w 492"/>
                  <a:gd name="T3" fmla="*/ 2 h 235"/>
                  <a:gd name="T4" fmla="*/ 440 w 492"/>
                  <a:gd name="T5" fmla="*/ 9 h 235"/>
                  <a:gd name="T6" fmla="*/ 446 w 492"/>
                  <a:gd name="T7" fmla="*/ 19 h 235"/>
                  <a:gd name="T8" fmla="*/ 448 w 492"/>
                  <a:gd name="T9" fmla="*/ 31 h 235"/>
                  <a:gd name="T10" fmla="*/ 470 w 492"/>
                  <a:gd name="T11" fmla="*/ 58 h 235"/>
                  <a:gd name="T12" fmla="*/ 479 w 492"/>
                  <a:gd name="T13" fmla="*/ 60 h 235"/>
                  <a:gd name="T14" fmla="*/ 487 w 492"/>
                  <a:gd name="T15" fmla="*/ 65 h 235"/>
                  <a:gd name="T16" fmla="*/ 491 w 492"/>
                  <a:gd name="T17" fmla="*/ 73 h 235"/>
                  <a:gd name="T18" fmla="*/ 492 w 492"/>
                  <a:gd name="T19" fmla="*/ 82 h 235"/>
                  <a:gd name="T20" fmla="*/ 492 w 492"/>
                  <a:gd name="T21" fmla="*/ 158 h 235"/>
                  <a:gd name="T22" fmla="*/ 489 w 492"/>
                  <a:gd name="T23" fmla="*/ 166 h 235"/>
                  <a:gd name="T24" fmla="*/ 483 w 492"/>
                  <a:gd name="T25" fmla="*/ 173 h 235"/>
                  <a:gd name="T26" fmla="*/ 474 w 492"/>
                  <a:gd name="T27" fmla="*/ 177 h 235"/>
                  <a:gd name="T28" fmla="*/ 448 w 492"/>
                  <a:gd name="T29" fmla="*/ 177 h 235"/>
                  <a:gd name="T30" fmla="*/ 448 w 492"/>
                  <a:gd name="T31" fmla="*/ 211 h 235"/>
                  <a:gd name="T32" fmla="*/ 443 w 492"/>
                  <a:gd name="T33" fmla="*/ 222 h 235"/>
                  <a:gd name="T34" fmla="*/ 435 w 492"/>
                  <a:gd name="T35" fmla="*/ 230 h 235"/>
                  <a:gd name="T36" fmla="*/ 424 w 492"/>
                  <a:gd name="T37" fmla="*/ 235 h 235"/>
                  <a:gd name="T38" fmla="*/ 29 w 492"/>
                  <a:gd name="T39" fmla="*/ 235 h 235"/>
                  <a:gd name="T40" fmla="*/ 18 w 492"/>
                  <a:gd name="T41" fmla="*/ 233 h 235"/>
                  <a:gd name="T42" fmla="*/ 9 w 492"/>
                  <a:gd name="T43" fmla="*/ 227 h 235"/>
                  <a:gd name="T44" fmla="*/ 2 w 492"/>
                  <a:gd name="T45" fmla="*/ 217 h 235"/>
                  <a:gd name="T46" fmla="*/ 0 w 492"/>
                  <a:gd name="T47" fmla="*/ 205 h 235"/>
                  <a:gd name="T48" fmla="*/ 1 w 492"/>
                  <a:gd name="T49" fmla="*/ 24 h 235"/>
                  <a:gd name="T50" fmla="*/ 5 w 492"/>
                  <a:gd name="T51" fmla="*/ 14 h 235"/>
                  <a:gd name="T52" fmla="*/ 13 w 492"/>
                  <a:gd name="T53" fmla="*/ 6 h 235"/>
                  <a:gd name="T54" fmla="*/ 24 w 492"/>
                  <a:gd name="T55" fmla="*/ 1 h 235"/>
                  <a:gd name="T56" fmla="*/ 448 w 492"/>
                  <a:gd name="T57" fmla="*/ 93 h 235"/>
                  <a:gd name="T58" fmla="*/ 457 w 492"/>
                  <a:gd name="T59" fmla="*/ 141 h 235"/>
                  <a:gd name="T60" fmla="*/ 448 w 492"/>
                  <a:gd name="T61" fmla="*/ 93 h 235"/>
                  <a:gd name="T62" fmla="*/ 35 w 492"/>
                  <a:gd name="T63" fmla="*/ 35 h 235"/>
                  <a:gd name="T64" fmla="*/ 413 w 492"/>
                  <a:gd name="T65" fmla="*/ 199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92" h="235">
                    <a:moveTo>
                      <a:pt x="29" y="0"/>
                    </a:moveTo>
                    <a:lnTo>
                      <a:pt x="418" y="0"/>
                    </a:lnTo>
                    <a:lnTo>
                      <a:pt x="424" y="1"/>
                    </a:lnTo>
                    <a:lnTo>
                      <a:pt x="430" y="2"/>
                    </a:lnTo>
                    <a:lnTo>
                      <a:pt x="435" y="6"/>
                    </a:lnTo>
                    <a:lnTo>
                      <a:pt x="440" y="9"/>
                    </a:lnTo>
                    <a:lnTo>
                      <a:pt x="443" y="14"/>
                    </a:lnTo>
                    <a:lnTo>
                      <a:pt x="446" y="19"/>
                    </a:lnTo>
                    <a:lnTo>
                      <a:pt x="448" y="24"/>
                    </a:lnTo>
                    <a:lnTo>
                      <a:pt x="448" y="31"/>
                    </a:lnTo>
                    <a:lnTo>
                      <a:pt x="448" y="58"/>
                    </a:lnTo>
                    <a:lnTo>
                      <a:pt x="470" y="58"/>
                    </a:lnTo>
                    <a:lnTo>
                      <a:pt x="474" y="59"/>
                    </a:lnTo>
                    <a:lnTo>
                      <a:pt x="479" y="60"/>
                    </a:lnTo>
                    <a:lnTo>
                      <a:pt x="483" y="63"/>
                    </a:lnTo>
                    <a:lnTo>
                      <a:pt x="487" y="65"/>
                    </a:lnTo>
                    <a:lnTo>
                      <a:pt x="489" y="68"/>
                    </a:lnTo>
                    <a:lnTo>
                      <a:pt x="491" y="73"/>
                    </a:lnTo>
                    <a:lnTo>
                      <a:pt x="492" y="76"/>
                    </a:lnTo>
                    <a:lnTo>
                      <a:pt x="492" y="82"/>
                    </a:lnTo>
                    <a:lnTo>
                      <a:pt x="492" y="154"/>
                    </a:lnTo>
                    <a:lnTo>
                      <a:pt x="492" y="158"/>
                    </a:lnTo>
                    <a:lnTo>
                      <a:pt x="491" y="163"/>
                    </a:lnTo>
                    <a:lnTo>
                      <a:pt x="489" y="166"/>
                    </a:lnTo>
                    <a:lnTo>
                      <a:pt x="487" y="170"/>
                    </a:lnTo>
                    <a:lnTo>
                      <a:pt x="483" y="173"/>
                    </a:lnTo>
                    <a:lnTo>
                      <a:pt x="479" y="176"/>
                    </a:lnTo>
                    <a:lnTo>
                      <a:pt x="474" y="177"/>
                    </a:lnTo>
                    <a:lnTo>
                      <a:pt x="470" y="177"/>
                    </a:lnTo>
                    <a:lnTo>
                      <a:pt x="448" y="177"/>
                    </a:lnTo>
                    <a:lnTo>
                      <a:pt x="448" y="205"/>
                    </a:lnTo>
                    <a:lnTo>
                      <a:pt x="448" y="211"/>
                    </a:lnTo>
                    <a:lnTo>
                      <a:pt x="446" y="217"/>
                    </a:lnTo>
                    <a:lnTo>
                      <a:pt x="443" y="222"/>
                    </a:lnTo>
                    <a:lnTo>
                      <a:pt x="440" y="227"/>
                    </a:lnTo>
                    <a:lnTo>
                      <a:pt x="435" y="230"/>
                    </a:lnTo>
                    <a:lnTo>
                      <a:pt x="430" y="233"/>
                    </a:lnTo>
                    <a:lnTo>
                      <a:pt x="424" y="235"/>
                    </a:lnTo>
                    <a:lnTo>
                      <a:pt x="418" y="235"/>
                    </a:lnTo>
                    <a:lnTo>
                      <a:pt x="29" y="235"/>
                    </a:lnTo>
                    <a:lnTo>
                      <a:pt x="24" y="235"/>
                    </a:lnTo>
                    <a:lnTo>
                      <a:pt x="18" y="233"/>
                    </a:lnTo>
                    <a:lnTo>
                      <a:pt x="13" y="230"/>
                    </a:lnTo>
                    <a:lnTo>
                      <a:pt x="9" y="227"/>
                    </a:lnTo>
                    <a:lnTo>
                      <a:pt x="5" y="222"/>
                    </a:lnTo>
                    <a:lnTo>
                      <a:pt x="2" y="217"/>
                    </a:lnTo>
                    <a:lnTo>
                      <a:pt x="1" y="211"/>
                    </a:lnTo>
                    <a:lnTo>
                      <a:pt x="0" y="205"/>
                    </a:lnTo>
                    <a:lnTo>
                      <a:pt x="0" y="31"/>
                    </a:lnTo>
                    <a:lnTo>
                      <a:pt x="1" y="24"/>
                    </a:lnTo>
                    <a:lnTo>
                      <a:pt x="2" y="19"/>
                    </a:lnTo>
                    <a:lnTo>
                      <a:pt x="5" y="14"/>
                    </a:lnTo>
                    <a:lnTo>
                      <a:pt x="9" y="9"/>
                    </a:lnTo>
                    <a:lnTo>
                      <a:pt x="13" y="6"/>
                    </a:lnTo>
                    <a:lnTo>
                      <a:pt x="18" y="2"/>
                    </a:lnTo>
                    <a:lnTo>
                      <a:pt x="24" y="1"/>
                    </a:lnTo>
                    <a:lnTo>
                      <a:pt x="29" y="0"/>
                    </a:lnTo>
                    <a:close/>
                    <a:moveTo>
                      <a:pt x="448" y="93"/>
                    </a:moveTo>
                    <a:lnTo>
                      <a:pt x="448" y="141"/>
                    </a:lnTo>
                    <a:lnTo>
                      <a:pt x="457" y="141"/>
                    </a:lnTo>
                    <a:lnTo>
                      <a:pt x="457" y="93"/>
                    </a:lnTo>
                    <a:lnTo>
                      <a:pt x="448" y="93"/>
                    </a:lnTo>
                    <a:close/>
                    <a:moveTo>
                      <a:pt x="413" y="35"/>
                    </a:moveTo>
                    <a:lnTo>
                      <a:pt x="35" y="35"/>
                    </a:lnTo>
                    <a:lnTo>
                      <a:pt x="35" y="199"/>
                    </a:lnTo>
                    <a:lnTo>
                      <a:pt x="413" y="199"/>
                    </a:lnTo>
                    <a:lnTo>
                      <a:pt x="413" y="35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43" name="Rectangle 40"/>
              <p:cNvSpPr>
                <a:spLocks noChangeArrowheads="1"/>
              </p:cNvSpPr>
              <p:nvPr/>
            </p:nvSpPr>
            <p:spPr bwMode="auto">
              <a:xfrm>
                <a:off x="4051266" y="890592"/>
                <a:ext cx="87312" cy="34925"/>
              </a:xfrm>
              <a:prstGeom prst="rect">
                <a:avLst/>
              </a:prstGeom>
              <a:solidFill>
                <a:srgbClr val="D9D9D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44" name="Freeform 41"/>
              <p:cNvSpPr>
                <a:spLocks noEditPoints="1"/>
              </p:cNvSpPr>
              <p:nvPr/>
            </p:nvSpPr>
            <p:spPr bwMode="auto">
              <a:xfrm>
                <a:off x="3944937" y="862013"/>
                <a:ext cx="52388" cy="96838"/>
              </a:xfrm>
              <a:custGeom>
                <a:avLst/>
                <a:gdLst>
                  <a:gd name="T0" fmla="*/ 25 w 200"/>
                  <a:gd name="T1" fmla="*/ 73 h 367"/>
                  <a:gd name="T2" fmla="*/ 79 w 200"/>
                  <a:gd name="T3" fmla="*/ 127 h 367"/>
                  <a:gd name="T4" fmla="*/ 80 w 200"/>
                  <a:gd name="T5" fmla="*/ 0 h 367"/>
                  <a:gd name="T6" fmla="*/ 184 w 200"/>
                  <a:gd name="T7" fmla="*/ 102 h 367"/>
                  <a:gd name="T8" fmla="*/ 196 w 200"/>
                  <a:gd name="T9" fmla="*/ 114 h 367"/>
                  <a:gd name="T10" fmla="*/ 184 w 200"/>
                  <a:gd name="T11" fmla="*/ 127 h 367"/>
                  <a:gd name="T12" fmla="*/ 131 w 200"/>
                  <a:gd name="T13" fmla="*/ 179 h 367"/>
                  <a:gd name="T14" fmla="*/ 187 w 200"/>
                  <a:gd name="T15" fmla="*/ 235 h 367"/>
                  <a:gd name="T16" fmla="*/ 200 w 200"/>
                  <a:gd name="T17" fmla="*/ 246 h 367"/>
                  <a:gd name="T18" fmla="*/ 187 w 200"/>
                  <a:gd name="T19" fmla="*/ 259 h 367"/>
                  <a:gd name="T20" fmla="*/ 110 w 200"/>
                  <a:gd name="T21" fmla="*/ 338 h 367"/>
                  <a:gd name="T22" fmla="*/ 79 w 200"/>
                  <a:gd name="T23" fmla="*/ 367 h 367"/>
                  <a:gd name="T24" fmla="*/ 79 w 200"/>
                  <a:gd name="T25" fmla="*/ 325 h 367"/>
                  <a:gd name="T26" fmla="*/ 79 w 200"/>
                  <a:gd name="T27" fmla="*/ 232 h 367"/>
                  <a:gd name="T28" fmla="*/ 29 w 200"/>
                  <a:gd name="T29" fmla="*/ 283 h 367"/>
                  <a:gd name="T30" fmla="*/ 4 w 200"/>
                  <a:gd name="T31" fmla="*/ 258 h 367"/>
                  <a:gd name="T32" fmla="*/ 79 w 200"/>
                  <a:gd name="T33" fmla="*/ 182 h 367"/>
                  <a:gd name="T34" fmla="*/ 79 w 200"/>
                  <a:gd name="T35" fmla="*/ 177 h 367"/>
                  <a:gd name="T36" fmla="*/ 0 w 200"/>
                  <a:gd name="T37" fmla="*/ 98 h 367"/>
                  <a:gd name="T38" fmla="*/ 25 w 200"/>
                  <a:gd name="T39" fmla="*/ 73 h 367"/>
                  <a:gd name="T40" fmla="*/ 150 w 200"/>
                  <a:gd name="T41" fmla="*/ 246 h 367"/>
                  <a:gd name="T42" fmla="*/ 114 w 200"/>
                  <a:gd name="T43" fmla="*/ 212 h 367"/>
                  <a:gd name="T44" fmla="*/ 114 w 200"/>
                  <a:gd name="T45" fmla="*/ 282 h 367"/>
                  <a:gd name="T46" fmla="*/ 150 w 200"/>
                  <a:gd name="T47" fmla="*/ 246 h 367"/>
                  <a:gd name="T48" fmla="*/ 114 w 200"/>
                  <a:gd name="T49" fmla="*/ 82 h 367"/>
                  <a:gd name="T50" fmla="*/ 114 w 200"/>
                  <a:gd name="T51" fmla="*/ 146 h 367"/>
                  <a:gd name="T52" fmla="*/ 146 w 200"/>
                  <a:gd name="T53" fmla="*/ 114 h 367"/>
                  <a:gd name="T54" fmla="*/ 114 w 200"/>
                  <a:gd name="T55" fmla="*/ 82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0" h="367">
                    <a:moveTo>
                      <a:pt x="25" y="73"/>
                    </a:moveTo>
                    <a:lnTo>
                      <a:pt x="79" y="127"/>
                    </a:lnTo>
                    <a:lnTo>
                      <a:pt x="80" y="0"/>
                    </a:lnTo>
                    <a:lnTo>
                      <a:pt x="184" y="102"/>
                    </a:lnTo>
                    <a:lnTo>
                      <a:pt x="196" y="114"/>
                    </a:lnTo>
                    <a:lnTo>
                      <a:pt x="184" y="127"/>
                    </a:lnTo>
                    <a:lnTo>
                      <a:pt x="131" y="179"/>
                    </a:lnTo>
                    <a:lnTo>
                      <a:pt x="187" y="235"/>
                    </a:lnTo>
                    <a:lnTo>
                      <a:pt x="200" y="246"/>
                    </a:lnTo>
                    <a:lnTo>
                      <a:pt x="187" y="259"/>
                    </a:lnTo>
                    <a:lnTo>
                      <a:pt x="110" y="338"/>
                    </a:lnTo>
                    <a:lnTo>
                      <a:pt x="79" y="367"/>
                    </a:lnTo>
                    <a:lnTo>
                      <a:pt x="79" y="325"/>
                    </a:lnTo>
                    <a:lnTo>
                      <a:pt x="79" y="232"/>
                    </a:lnTo>
                    <a:lnTo>
                      <a:pt x="29" y="283"/>
                    </a:lnTo>
                    <a:lnTo>
                      <a:pt x="4" y="258"/>
                    </a:lnTo>
                    <a:lnTo>
                      <a:pt x="79" y="182"/>
                    </a:lnTo>
                    <a:lnTo>
                      <a:pt x="79" y="177"/>
                    </a:lnTo>
                    <a:lnTo>
                      <a:pt x="0" y="98"/>
                    </a:lnTo>
                    <a:lnTo>
                      <a:pt x="25" y="73"/>
                    </a:lnTo>
                    <a:close/>
                    <a:moveTo>
                      <a:pt x="150" y="246"/>
                    </a:moveTo>
                    <a:lnTo>
                      <a:pt x="114" y="212"/>
                    </a:lnTo>
                    <a:lnTo>
                      <a:pt x="114" y="282"/>
                    </a:lnTo>
                    <a:lnTo>
                      <a:pt x="150" y="246"/>
                    </a:lnTo>
                    <a:close/>
                    <a:moveTo>
                      <a:pt x="114" y="82"/>
                    </a:moveTo>
                    <a:lnTo>
                      <a:pt x="114" y="146"/>
                    </a:lnTo>
                    <a:lnTo>
                      <a:pt x="146" y="114"/>
                    </a:lnTo>
                    <a:lnTo>
                      <a:pt x="114" y="82"/>
                    </a:lnTo>
                    <a:close/>
                  </a:path>
                </a:pathLst>
              </a:custGeom>
              <a:solidFill>
                <a:srgbClr val="D9D9D9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  <p:grpSp>
          <p:nvGrpSpPr>
            <p:cNvPr id="145" name="Group 134"/>
            <p:cNvGrpSpPr/>
            <p:nvPr/>
          </p:nvGrpSpPr>
          <p:grpSpPr>
            <a:xfrm>
              <a:off x="3040950" y="5518967"/>
              <a:ext cx="152349" cy="126445"/>
              <a:chOff x="5940539" y="5094371"/>
              <a:chExt cx="371944" cy="371944"/>
            </a:xfrm>
          </p:grpSpPr>
          <p:sp>
            <p:nvSpPr>
              <p:cNvPr id="146" name="Freeform 33"/>
              <p:cNvSpPr>
                <a:spLocks/>
              </p:cNvSpPr>
              <p:nvPr/>
            </p:nvSpPr>
            <p:spPr bwMode="auto">
              <a:xfrm>
                <a:off x="5940539" y="5094371"/>
                <a:ext cx="371944" cy="371944"/>
              </a:xfrm>
              <a:custGeom>
                <a:avLst/>
                <a:gdLst>
                  <a:gd name="T0" fmla="*/ 904 w 1639"/>
                  <a:gd name="T1" fmla="*/ 5 h 1638"/>
                  <a:gd name="T2" fmla="*/ 1025 w 1639"/>
                  <a:gd name="T3" fmla="*/ 27 h 1638"/>
                  <a:gd name="T4" fmla="*/ 1139 w 1639"/>
                  <a:gd name="T5" fmla="*/ 64 h 1638"/>
                  <a:gd name="T6" fmla="*/ 1245 w 1639"/>
                  <a:gd name="T7" fmla="*/ 119 h 1638"/>
                  <a:gd name="T8" fmla="*/ 1342 w 1639"/>
                  <a:gd name="T9" fmla="*/ 187 h 1638"/>
                  <a:gd name="T10" fmla="*/ 1427 w 1639"/>
                  <a:gd name="T11" fmla="*/ 268 h 1638"/>
                  <a:gd name="T12" fmla="*/ 1500 w 1639"/>
                  <a:gd name="T13" fmla="*/ 362 h 1638"/>
                  <a:gd name="T14" fmla="*/ 1560 w 1639"/>
                  <a:gd name="T15" fmla="*/ 464 h 1638"/>
                  <a:gd name="T16" fmla="*/ 1603 w 1639"/>
                  <a:gd name="T17" fmla="*/ 576 h 1638"/>
                  <a:gd name="T18" fmla="*/ 1630 w 1639"/>
                  <a:gd name="T19" fmla="*/ 695 h 1638"/>
                  <a:gd name="T20" fmla="*/ 1639 w 1639"/>
                  <a:gd name="T21" fmla="*/ 820 h 1638"/>
                  <a:gd name="T22" fmla="*/ 1630 w 1639"/>
                  <a:gd name="T23" fmla="*/ 944 h 1638"/>
                  <a:gd name="T24" fmla="*/ 1603 w 1639"/>
                  <a:gd name="T25" fmla="*/ 1063 h 1638"/>
                  <a:gd name="T26" fmla="*/ 1560 w 1639"/>
                  <a:gd name="T27" fmla="*/ 1174 h 1638"/>
                  <a:gd name="T28" fmla="*/ 1500 w 1639"/>
                  <a:gd name="T29" fmla="*/ 1278 h 1638"/>
                  <a:gd name="T30" fmla="*/ 1427 w 1639"/>
                  <a:gd name="T31" fmla="*/ 1371 h 1638"/>
                  <a:gd name="T32" fmla="*/ 1342 w 1639"/>
                  <a:gd name="T33" fmla="*/ 1452 h 1638"/>
                  <a:gd name="T34" fmla="*/ 1245 w 1639"/>
                  <a:gd name="T35" fmla="*/ 1520 h 1638"/>
                  <a:gd name="T36" fmla="*/ 1139 w 1639"/>
                  <a:gd name="T37" fmla="*/ 1575 h 1638"/>
                  <a:gd name="T38" fmla="*/ 1025 w 1639"/>
                  <a:gd name="T39" fmla="*/ 1613 h 1638"/>
                  <a:gd name="T40" fmla="*/ 904 w 1639"/>
                  <a:gd name="T41" fmla="*/ 1635 h 1638"/>
                  <a:gd name="T42" fmla="*/ 778 w 1639"/>
                  <a:gd name="T43" fmla="*/ 1637 h 1638"/>
                  <a:gd name="T44" fmla="*/ 655 w 1639"/>
                  <a:gd name="T45" fmla="*/ 1623 h 1638"/>
                  <a:gd name="T46" fmla="*/ 539 w 1639"/>
                  <a:gd name="T47" fmla="*/ 1589 h 1638"/>
                  <a:gd name="T48" fmla="*/ 429 w 1639"/>
                  <a:gd name="T49" fmla="*/ 1540 h 1638"/>
                  <a:gd name="T50" fmla="*/ 330 w 1639"/>
                  <a:gd name="T51" fmla="*/ 1477 h 1638"/>
                  <a:gd name="T52" fmla="*/ 241 w 1639"/>
                  <a:gd name="T53" fmla="*/ 1399 h 1638"/>
                  <a:gd name="T54" fmla="*/ 163 w 1639"/>
                  <a:gd name="T55" fmla="*/ 1310 h 1638"/>
                  <a:gd name="T56" fmla="*/ 100 w 1639"/>
                  <a:gd name="T57" fmla="*/ 1210 h 1638"/>
                  <a:gd name="T58" fmla="*/ 51 w 1639"/>
                  <a:gd name="T59" fmla="*/ 1102 h 1638"/>
                  <a:gd name="T60" fmla="*/ 17 w 1639"/>
                  <a:gd name="T61" fmla="*/ 985 h 1638"/>
                  <a:gd name="T62" fmla="*/ 1 w 1639"/>
                  <a:gd name="T63" fmla="*/ 862 h 1638"/>
                  <a:gd name="T64" fmla="*/ 5 w 1639"/>
                  <a:gd name="T65" fmla="*/ 736 h 1638"/>
                  <a:gd name="T66" fmla="*/ 27 w 1639"/>
                  <a:gd name="T67" fmla="*/ 615 h 1638"/>
                  <a:gd name="T68" fmla="*/ 65 w 1639"/>
                  <a:gd name="T69" fmla="*/ 501 h 1638"/>
                  <a:gd name="T70" fmla="*/ 119 w 1639"/>
                  <a:gd name="T71" fmla="*/ 395 h 1638"/>
                  <a:gd name="T72" fmla="*/ 187 w 1639"/>
                  <a:gd name="T73" fmla="*/ 299 h 1638"/>
                  <a:gd name="T74" fmla="*/ 270 w 1639"/>
                  <a:gd name="T75" fmla="*/ 213 h 1638"/>
                  <a:gd name="T76" fmla="*/ 362 w 1639"/>
                  <a:gd name="T77" fmla="*/ 141 h 1638"/>
                  <a:gd name="T78" fmla="*/ 465 w 1639"/>
                  <a:gd name="T79" fmla="*/ 81 h 1638"/>
                  <a:gd name="T80" fmla="*/ 576 w 1639"/>
                  <a:gd name="T81" fmla="*/ 37 h 1638"/>
                  <a:gd name="T82" fmla="*/ 695 w 1639"/>
                  <a:gd name="T83" fmla="*/ 9 h 1638"/>
                  <a:gd name="T84" fmla="*/ 820 w 1639"/>
                  <a:gd name="T85" fmla="*/ 0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39" h="1638">
                    <a:moveTo>
                      <a:pt x="820" y="0"/>
                    </a:moveTo>
                    <a:lnTo>
                      <a:pt x="863" y="1"/>
                    </a:lnTo>
                    <a:lnTo>
                      <a:pt x="904" y="5"/>
                    </a:lnTo>
                    <a:lnTo>
                      <a:pt x="945" y="9"/>
                    </a:lnTo>
                    <a:lnTo>
                      <a:pt x="986" y="17"/>
                    </a:lnTo>
                    <a:lnTo>
                      <a:pt x="1025" y="27"/>
                    </a:lnTo>
                    <a:lnTo>
                      <a:pt x="1063" y="37"/>
                    </a:lnTo>
                    <a:lnTo>
                      <a:pt x="1102" y="50"/>
                    </a:lnTo>
                    <a:lnTo>
                      <a:pt x="1139" y="64"/>
                    </a:lnTo>
                    <a:lnTo>
                      <a:pt x="1175" y="81"/>
                    </a:lnTo>
                    <a:lnTo>
                      <a:pt x="1211" y="99"/>
                    </a:lnTo>
                    <a:lnTo>
                      <a:pt x="1245" y="119"/>
                    </a:lnTo>
                    <a:lnTo>
                      <a:pt x="1279" y="141"/>
                    </a:lnTo>
                    <a:lnTo>
                      <a:pt x="1311" y="163"/>
                    </a:lnTo>
                    <a:lnTo>
                      <a:pt x="1342" y="187"/>
                    </a:lnTo>
                    <a:lnTo>
                      <a:pt x="1371" y="213"/>
                    </a:lnTo>
                    <a:lnTo>
                      <a:pt x="1400" y="240"/>
                    </a:lnTo>
                    <a:lnTo>
                      <a:pt x="1427" y="268"/>
                    </a:lnTo>
                    <a:lnTo>
                      <a:pt x="1452" y="299"/>
                    </a:lnTo>
                    <a:lnTo>
                      <a:pt x="1477" y="330"/>
                    </a:lnTo>
                    <a:lnTo>
                      <a:pt x="1500" y="362"/>
                    </a:lnTo>
                    <a:lnTo>
                      <a:pt x="1521" y="395"/>
                    </a:lnTo>
                    <a:lnTo>
                      <a:pt x="1541" y="429"/>
                    </a:lnTo>
                    <a:lnTo>
                      <a:pt x="1560" y="464"/>
                    </a:lnTo>
                    <a:lnTo>
                      <a:pt x="1576" y="501"/>
                    </a:lnTo>
                    <a:lnTo>
                      <a:pt x="1590" y="538"/>
                    </a:lnTo>
                    <a:lnTo>
                      <a:pt x="1603" y="576"/>
                    </a:lnTo>
                    <a:lnTo>
                      <a:pt x="1614" y="615"/>
                    </a:lnTo>
                    <a:lnTo>
                      <a:pt x="1623" y="655"/>
                    </a:lnTo>
                    <a:lnTo>
                      <a:pt x="1630" y="695"/>
                    </a:lnTo>
                    <a:lnTo>
                      <a:pt x="1636" y="736"/>
                    </a:lnTo>
                    <a:lnTo>
                      <a:pt x="1638" y="778"/>
                    </a:lnTo>
                    <a:lnTo>
                      <a:pt x="1639" y="820"/>
                    </a:lnTo>
                    <a:lnTo>
                      <a:pt x="1638" y="862"/>
                    </a:lnTo>
                    <a:lnTo>
                      <a:pt x="1636" y="903"/>
                    </a:lnTo>
                    <a:lnTo>
                      <a:pt x="1630" y="944"/>
                    </a:lnTo>
                    <a:lnTo>
                      <a:pt x="1623" y="985"/>
                    </a:lnTo>
                    <a:lnTo>
                      <a:pt x="1614" y="1024"/>
                    </a:lnTo>
                    <a:lnTo>
                      <a:pt x="1603" y="1063"/>
                    </a:lnTo>
                    <a:lnTo>
                      <a:pt x="1590" y="1102"/>
                    </a:lnTo>
                    <a:lnTo>
                      <a:pt x="1576" y="1138"/>
                    </a:lnTo>
                    <a:lnTo>
                      <a:pt x="1560" y="1174"/>
                    </a:lnTo>
                    <a:lnTo>
                      <a:pt x="1541" y="1210"/>
                    </a:lnTo>
                    <a:lnTo>
                      <a:pt x="1521" y="1244"/>
                    </a:lnTo>
                    <a:lnTo>
                      <a:pt x="1500" y="1278"/>
                    </a:lnTo>
                    <a:lnTo>
                      <a:pt x="1477" y="1310"/>
                    </a:lnTo>
                    <a:lnTo>
                      <a:pt x="1452" y="1341"/>
                    </a:lnTo>
                    <a:lnTo>
                      <a:pt x="1427" y="1371"/>
                    </a:lnTo>
                    <a:lnTo>
                      <a:pt x="1400" y="1399"/>
                    </a:lnTo>
                    <a:lnTo>
                      <a:pt x="1371" y="1426"/>
                    </a:lnTo>
                    <a:lnTo>
                      <a:pt x="1342" y="1452"/>
                    </a:lnTo>
                    <a:lnTo>
                      <a:pt x="1311" y="1477"/>
                    </a:lnTo>
                    <a:lnTo>
                      <a:pt x="1279" y="1499"/>
                    </a:lnTo>
                    <a:lnTo>
                      <a:pt x="1245" y="1520"/>
                    </a:lnTo>
                    <a:lnTo>
                      <a:pt x="1211" y="1540"/>
                    </a:lnTo>
                    <a:lnTo>
                      <a:pt x="1175" y="1558"/>
                    </a:lnTo>
                    <a:lnTo>
                      <a:pt x="1139" y="1575"/>
                    </a:lnTo>
                    <a:lnTo>
                      <a:pt x="1102" y="1589"/>
                    </a:lnTo>
                    <a:lnTo>
                      <a:pt x="1063" y="1602"/>
                    </a:lnTo>
                    <a:lnTo>
                      <a:pt x="1025" y="1613"/>
                    </a:lnTo>
                    <a:lnTo>
                      <a:pt x="986" y="1623"/>
                    </a:lnTo>
                    <a:lnTo>
                      <a:pt x="945" y="1629"/>
                    </a:lnTo>
                    <a:lnTo>
                      <a:pt x="904" y="1635"/>
                    </a:lnTo>
                    <a:lnTo>
                      <a:pt x="863" y="1637"/>
                    </a:lnTo>
                    <a:lnTo>
                      <a:pt x="820" y="1638"/>
                    </a:lnTo>
                    <a:lnTo>
                      <a:pt x="778" y="1637"/>
                    </a:lnTo>
                    <a:lnTo>
                      <a:pt x="736" y="1635"/>
                    </a:lnTo>
                    <a:lnTo>
                      <a:pt x="695" y="1629"/>
                    </a:lnTo>
                    <a:lnTo>
                      <a:pt x="655" y="1623"/>
                    </a:lnTo>
                    <a:lnTo>
                      <a:pt x="615" y="1613"/>
                    </a:lnTo>
                    <a:lnTo>
                      <a:pt x="576" y="1602"/>
                    </a:lnTo>
                    <a:lnTo>
                      <a:pt x="539" y="1589"/>
                    </a:lnTo>
                    <a:lnTo>
                      <a:pt x="501" y="1575"/>
                    </a:lnTo>
                    <a:lnTo>
                      <a:pt x="465" y="1558"/>
                    </a:lnTo>
                    <a:lnTo>
                      <a:pt x="429" y="1540"/>
                    </a:lnTo>
                    <a:lnTo>
                      <a:pt x="395" y="1520"/>
                    </a:lnTo>
                    <a:lnTo>
                      <a:pt x="362" y="1499"/>
                    </a:lnTo>
                    <a:lnTo>
                      <a:pt x="330" y="1477"/>
                    </a:lnTo>
                    <a:lnTo>
                      <a:pt x="299" y="1452"/>
                    </a:lnTo>
                    <a:lnTo>
                      <a:pt x="270" y="1426"/>
                    </a:lnTo>
                    <a:lnTo>
                      <a:pt x="241" y="1399"/>
                    </a:lnTo>
                    <a:lnTo>
                      <a:pt x="214" y="1371"/>
                    </a:lnTo>
                    <a:lnTo>
                      <a:pt x="187" y="1341"/>
                    </a:lnTo>
                    <a:lnTo>
                      <a:pt x="163" y="1310"/>
                    </a:lnTo>
                    <a:lnTo>
                      <a:pt x="141" y="1278"/>
                    </a:lnTo>
                    <a:lnTo>
                      <a:pt x="119" y="1244"/>
                    </a:lnTo>
                    <a:lnTo>
                      <a:pt x="100" y="1210"/>
                    </a:lnTo>
                    <a:lnTo>
                      <a:pt x="81" y="1174"/>
                    </a:lnTo>
                    <a:lnTo>
                      <a:pt x="65" y="1138"/>
                    </a:lnTo>
                    <a:lnTo>
                      <a:pt x="51" y="1102"/>
                    </a:lnTo>
                    <a:lnTo>
                      <a:pt x="37" y="1063"/>
                    </a:lnTo>
                    <a:lnTo>
                      <a:pt x="27" y="1024"/>
                    </a:lnTo>
                    <a:lnTo>
                      <a:pt x="17" y="985"/>
                    </a:lnTo>
                    <a:lnTo>
                      <a:pt x="9" y="944"/>
                    </a:lnTo>
                    <a:lnTo>
                      <a:pt x="5" y="903"/>
                    </a:lnTo>
                    <a:lnTo>
                      <a:pt x="1" y="862"/>
                    </a:lnTo>
                    <a:lnTo>
                      <a:pt x="0" y="820"/>
                    </a:lnTo>
                    <a:lnTo>
                      <a:pt x="1" y="778"/>
                    </a:lnTo>
                    <a:lnTo>
                      <a:pt x="5" y="736"/>
                    </a:lnTo>
                    <a:lnTo>
                      <a:pt x="9" y="695"/>
                    </a:lnTo>
                    <a:lnTo>
                      <a:pt x="17" y="655"/>
                    </a:lnTo>
                    <a:lnTo>
                      <a:pt x="27" y="615"/>
                    </a:lnTo>
                    <a:lnTo>
                      <a:pt x="37" y="576"/>
                    </a:lnTo>
                    <a:lnTo>
                      <a:pt x="51" y="538"/>
                    </a:lnTo>
                    <a:lnTo>
                      <a:pt x="65" y="501"/>
                    </a:lnTo>
                    <a:lnTo>
                      <a:pt x="81" y="464"/>
                    </a:lnTo>
                    <a:lnTo>
                      <a:pt x="100" y="429"/>
                    </a:lnTo>
                    <a:lnTo>
                      <a:pt x="119" y="395"/>
                    </a:lnTo>
                    <a:lnTo>
                      <a:pt x="141" y="362"/>
                    </a:lnTo>
                    <a:lnTo>
                      <a:pt x="163" y="330"/>
                    </a:lnTo>
                    <a:lnTo>
                      <a:pt x="187" y="299"/>
                    </a:lnTo>
                    <a:lnTo>
                      <a:pt x="214" y="268"/>
                    </a:lnTo>
                    <a:lnTo>
                      <a:pt x="241" y="240"/>
                    </a:lnTo>
                    <a:lnTo>
                      <a:pt x="270" y="213"/>
                    </a:lnTo>
                    <a:lnTo>
                      <a:pt x="299" y="187"/>
                    </a:lnTo>
                    <a:lnTo>
                      <a:pt x="330" y="163"/>
                    </a:lnTo>
                    <a:lnTo>
                      <a:pt x="362" y="141"/>
                    </a:lnTo>
                    <a:lnTo>
                      <a:pt x="395" y="119"/>
                    </a:lnTo>
                    <a:lnTo>
                      <a:pt x="429" y="99"/>
                    </a:lnTo>
                    <a:lnTo>
                      <a:pt x="465" y="81"/>
                    </a:lnTo>
                    <a:lnTo>
                      <a:pt x="501" y="64"/>
                    </a:lnTo>
                    <a:lnTo>
                      <a:pt x="539" y="50"/>
                    </a:lnTo>
                    <a:lnTo>
                      <a:pt x="576" y="37"/>
                    </a:lnTo>
                    <a:lnTo>
                      <a:pt x="615" y="27"/>
                    </a:lnTo>
                    <a:lnTo>
                      <a:pt x="655" y="17"/>
                    </a:lnTo>
                    <a:lnTo>
                      <a:pt x="695" y="9"/>
                    </a:lnTo>
                    <a:lnTo>
                      <a:pt x="736" y="5"/>
                    </a:lnTo>
                    <a:lnTo>
                      <a:pt x="778" y="1"/>
                    </a:lnTo>
                    <a:lnTo>
                      <a:pt x="82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FFFFF">
                      <a:alpha val="0"/>
                    </a:srgbClr>
                  </a:gs>
                  <a:gs pos="0">
                    <a:srgbClr val="FFFFFF">
                      <a:alpha val="46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47" name="Freeform 34"/>
              <p:cNvSpPr>
                <a:spLocks/>
              </p:cNvSpPr>
              <p:nvPr/>
            </p:nvSpPr>
            <p:spPr bwMode="auto">
              <a:xfrm>
                <a:off x="5951439" y="5105271"/>
                <a:ext cx="351507" cy="351507"/>
              </a:xfrm>
              <a:custGeom>
                <a:avLst/>
                <a:gdLst>
                  <a:gd name="T0" fmla="*/ 853 w 1548"/>
                  <a:gd name="T1" fmla="*/ 4 h 1547"/>
                  <a:gd name="T2" fmla="*/ 967 w 1548"/>
                  <a:gd name="T3" fmla="*/ 25 h 1547"/>
                  <a:gd name="T4" fmla="*/ 1076 w 1548"/>
                  <a:gd name="T5" fmla="*/ 61 h 1547"/>
                  <a:gd name="T6" fmla="*/ 1176 w 1548"/>
                  <a:gd name="T7" fmla="*/ 112 h 1547"/>
                  <a:gd name="T8" fmla="*/ 1266 w 1548"/>
                  <a:gd name="T9" fmla="*/ 177 h 1547"/>
                  <a:gd name="T10" fmla="*/ 1347 w 1548"/>
                  <a:gd name="T11" fmla="*/ 254 h 1547"/>
                  <a:gd name="T12" fmla="*/ 1415 w 1548"/>
                  <a:gd name="T13" fmla="*/ 341 h 1547"/>
                  <a:gd name="T14" fmla="*/ 1471 w 1548"/>
                  <a:gd name="T15" fmla="*/ 439 h 1547"/>
                  <a:gd name="T16" fmla="*/ 1514 w 1548"/>
                  <a:gd name="T17" fmla="*/ 544 h 1547"/>
                  <a:gd name="T18" fmla="*/ 1539 w 1548"/>
                  <a:gd name="T19" fmla="*/ 655 h 1547"/>
                  <a:gd name="T20" fmla="*/ 1548 w 1548"/>
                  <a:gd name="T21" fmla="*/ 774 h 1547"/>
                  <a:gd name="T22" fmla="*/ 1539 w 1548"/>
                  <a:gd name="T23" fmla="*/ 891 h 1547"/>
                  <a:gd name="T24" fmla="*/ 1514 w 1548"/>
                  <a:gd name="T25" fmla="*/ 1003 h 1547"/>
                  <a:gd name="T26" fmla="*/ 1471 w 1548"/>
                  <a:gd name="T27" fmla="*/ 1109 h 1547"/>
                  <a:gd name="T28" fmla="*/ 1415 w 1548"/>
                  <a:gd name="T29" fmla="*/ 1206 h 1547"/>
                  <a:gd name="T30" fmla="*/ 1347 w 1548"/>
                  <a:gd name="T31" fmla="*/ 1294 h 1547"/>
                  <a:gd name="T32" fmla="*/ 1266 w 1548"/>
                  <a:gd name="T33" fmla="*/ 1370 h 1547"/>
                  <a:gd name="T34" fmla="*/ 1176 w 1548"/>
                  <a:gd name="T35" fmla="*/ 1435 h 1547"/>
                  <a:gd name="T36" fmla="*/ 1076 w 1548"/>
                  <a:gd name="T37" fmla="*/ 1486 h 1547"/>
                  <a:gd name="T38" fmla="*/ 967 w 1548"/>
                  <a:gd name="T39" fmla="*/ 1523 h 1547"/>
                  <a:gd name="T40" fmla="*/ 853 w 1548"/>
                  <a:gd name="T41" fmla="*/ 1543 h 1547"/>
                  <a:gd name="T42" fmla="*/ 735 w 1548"/>
                  <a:gd name="T43" fmla="*/ 1546 h 1547"/>
                  <a:gd name="T44" fmla="*/ 618 w 1548"/>
                  <a:gd name="T45" fmla="*/ 1531 h 1547"/>
                  <a:gd name="T46" fmla="*/ 509 w 1548"/>
                  <a:gd name="T47" fmla="*/ 1500 h 1547"/>
                  <a:gd name="T48" fmla="*/ 405 w 1548"/>
                  <a:gd name="T49" fmla="*/ 1453 h 1547"/>
                  <a:gd name="T50" fmla="*/ 311 w 1548"/>
                  <a:gd name="T51" fmla="*/ 1393 h 1547"/>
                  <a:gd name="T52" fmla="*/ 227 w 1548"/>
                  <a:gd name="T53" fmla="*/ 1320 h 1547"/>
                  <a:gd name="T54" fmla="*/ 154 w 1548"/>
                  <a:gd name="T55" fmla="*/ 1237 h 1547"/>
                  <a:gd name="T56" fmla="*/ 94 w 1548"/>
                  <a:gd name="T57" fmla="*/ 1142 h 1547"/>
                  <a:gd name="T58" fmla="*/ 48 w 1548"/>
                  <a:gd name="T59" fmla="*/ 1040 h 1547"/>
                  <a:gd name="T60" fmla="*/ 16 w 1548"/>
                  <a:gd name="T61" fmla="*/ 929 h 1547"/>
                  <a:gd name="T62" fmla="*/ 1 w 1548"/>
                  <a:gd name="T63" fmla="*/ 814 h 1547"/>
                  <a:gd name="T64" fmla="*/ 5 w 1548"/>
                  <a:gd name="T65" fmla="*/ 694 h 1547"/>
                  <a:gd name="T66" fmla="*/ 25 w 1548"/>
                  <a:gd name="T67" fmla="*/ 580 h 1547"/>
                  <a:gd name="T68" fmla="*/ 62 w 1548"/>
                  <a:gd name="T69" fmla="*/ 473 h 1547"/>
                  <a:gd name="T70" fmla="*/ 113 w 1548"/>
                  <a:gd name="T71" fmla="*/ 373 h 1547"/>
                  <a:gd name="T72" fmla="*/ 177 w 1548"/>
                  <a:gd name="T73" fmla="*/ 281 h 1547"/>
                  <a:gd name="T74" fmla="*/ 254 w 1548"/>
                  <a:gd name="T75" fmla="*/ 202 h 1547"/>
                  <a:gd name="T76" fmla="*/ 341 w 1548"/>
                  <a:gd name="T77" fmla="*/ 132 h 1547"/>
                  <a:gd name="T78" fmla="*/ 439 w 1548"/>
                  <a:gd name="T79" fmla="*/ 76 h 1547"/>
                  <a:gd name="T80" fmla="*/ 544 w 1548"/>
                  <a:gd name="T81" fmla="*/ 35 h 1547"/>
                  <a:gd name="T82" fmla="*/ 656 w 1548"/>
                  <a:gd name="T83" fmla="*/ 9 h 1547"/>
                  <a:gd name="T84" fmla="*/ 774 w 1548"/>
                  <a:gd name="T85" fmla="*/ 0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548" h="1547">
                    <a:moveTo>
                      <a:pt x="774" y="0"/>
                    </a:moveTo>
                    <a:lnTo>
                      <a:pt x="814" y="1"/>
                    </a:lnTo>
                    <a:lnTo>
                      <a:pt x="853" y="4"/>
                    </a:lnTo>
                    <a:lnTo>
                      <a:pt x="892" y="9"/>
                    </a:lnTo>
                    <a:lnTo>
                      <a:pt x="930" y="16"/>
                    </a:lnTo>
                    <a:lnTo>
                      <a:pt x="967" y="25"/>
                    </a:lnTo>
                    <a:lnTo>
                      <a:pt x="1004" y="35"/>
                    </a:lnTo>
                    <a:lnTo>
                      <a:pt x="1040" y="47"/>
                    </a:lnTo>
                    <a:lnTo>
                      <a:pt x="1076" y="61"/>
                    </a:lnTo>
                    <a:lnTo>
                      <a:pt x="1110" y="76"/>
                    </a:lnTo>
                    <a:lnTo>
                      <a:pt x="1143" y="93"/>
                    </a:lnTo>
                    <a:lnTo>
                      <a:pt x="1176" y="112"/>
                    </a:lnTo>
                    <a:lnTo>
                      <a:pt x="1207" y="132"/>
                    </a:lnTo>
                    <a:lnTo>
                      <a:pt x="1238" y="154"/>
                    </a:lnTo>
                    <a:lnTo>
                      <a:pt x="1266" y="177"/>
                    </a:lnTo>
                    <a:lnTo>
                      <a:pt x="1295" y="202"/>
                    </a:lnTo>
                    <a:lnTo>
                      <a:pt x="1321" y="227"/>
                    </a:lnTo>
                    <a:lnTo>
                      <a:pt x="1347" y="254"/>
                    </a:lnTo>
                    <a:lnTo>
                      <a:pt x="1371" y="281"/>
                    </a:lnTo>
                    <a:lnTo>
                      <a:pt x="1394" y="311"/>
                    </a:lnTo>
                    <a:lnTo>
                      <a:pt x="1415" y="341"/>
                    </a:lnTo>
                    <a:lnTo>
                      <a:pt x="1436" y="373"/>
                    </a:lnTo>
                    <a:lnTo>
                      <a:pt x="1454" y="405"/>
                    </a:lnTo>
                    <a:lnTo>
                      <a:pt x="1471" y="439"/>
                    </a:lnTo>
                    <a:lnTo>
                      <a:pt x="1487" y="473"/>
                    </a:lnTo>
                    <a:lnTo>
                      <a:pt x="1501" y="507"/>
                    </a:lnTo>
                    <a:lnTo>
                      <a:pt x="1514" y="544"/>
                    </a:lnTo>
                    <a:lnTo>
                      <a:pt x="1524" y="580"/>
                    </a:lnTo>
                    <a:lnTo>
                      <a:pt x="1532" y="618"/>
                    </a:lnTo>
                    <a:lnTo>
                      <a:pt x="1539" y="655"/>
                    </a:lnTo>
                    <a:lnTo>
                      <a:pt x="1544" y="694"/>
                    </a:lnTo>
                    <a:lnTo>
                      <a:pt x="1547" y="734"/>
                    </a:lnTo>
                    <a:lnTo>
                      <a:pt x="1548" y="774"/>
                    </a:lnTo>
                    <a:lnTo>
                      <a:pt x="1547" y="814"/>
                    </a:lnTo>
                    <a:lnTo>
                      <a:pt x="1544" y="853"/>
                    </a:lnTo>
                    <a:lnTo>
                      <a:pt x="1539" y="891"/>
                    </a:lnTo>
                    <a:lnTo>
                      <a:pt x="1532" y="929"/>
                    </a:lnTo>
                    <a:lnTo>
                      <a:pt x="1524" y="967"/>
                    </a:lnTo>
                    <a:lnTo>
                      <a:pt x="1514" y="1003"/>
                    </a:lnTo>
                    <a:lnTo>
                      <a:pt x="1501" y="1040"/>
                    </a:lnTo>
                    <a:lnTo>
                      <a:pt x="1487" y="1075"/>
                    </a:lnTo>
                    <a:lnTo>
                      <a:pt x="1471" y="1109"/>
                    </a:lnTo>
                    <a:lnTo>
                      <a:pt x="1454" y="1142"/>
                    </a:lnTo>
                    <a:lnTo>
                      <a:pt x="1436" y="1174"/>
                    </a:lnTo>
                    <a:lnTo>
                      <a:pt x="1415" y="1206"/>
                    </a:lnTo>
                    <a:lnTo>
                      <a:pt x="1394" y="1237"/>
                    </a:lnTo>
                    <a:lnTo>
                      <a:pt x="1371" y="1265"/>
                    </a:lnTo>
                    <a:lnTo>
                      <a:pt x="1347" y="1294"/>
                    </a:lnTo>
                    <a:lnTo>
                      <a:pt x="1321" y="1320"/>
                    </a:lnTo>
                    <a:lnTo>
                      <a:pt x="1295" y="1346"/>
                    </a:lnTo>
                    <a:lnTo>
                      <a:pt x="1266" y="1370"/>
                    </a:lnTo>
                    <a:lnTo>
                      <a:pt x="1238" y="1393"/>
                    </a:lnTo>
                    <a:lnTo>
                      <a:pt x="1207" y="1415"/>
                    </a:lnTo>
                    <a:lnTo>
                      <a:pt x="1176" y="1435"/>
                    </a:lnTo>
                    <a:lnTo>
                      <a:pt x="1143" y="1453"/>
                    </a:lnTo>
                    <a:lnTo>
                      <a:pt x="1110" y="1470"/>
                    </a:lnTo>
                    <a:lnTo>
                      <a:pt x="1076" y="1486"/>
                    </a:lnTo>
                    <a:lnTo>
                      <a:pt x="1040" y="1500"/>
                    </a:lnTo>
                    <a:lnTo>
                      <a:pt x="1004" y="1513"/>
                    </a:lnTo>
                    <a:lnTo>
                      <a:pt x="967" y="1523"/>
                    </a:lnTo>
                    <a:lnTo>
                      <a:pt x="930" y="1531"/>
                    </a:lnTo>
                    <a:lnTo>
                      <a:pt x="892" y="1538"/>
                    </a:lnTo>
                    <a:lnTo>
                      <a:pt x="853" y="1543"/>
                    </a:lnTo>
                    <a:lnTo>
                      <a:pt x="814" y="1546"/>
                    </a:lnTo>
                    <a:lnTo>
                      <a:pt x="774" y="1547"/>
                    </a:lnTo>
                    <a:lnTo>
                      <a:pt x="735" y="1546"/>
                    </a:lnTo>
                    <a:lnTo>
                      <a:pt x="695" y="1543"/>
                    </a:lnTo>
                    <a:lnTo>
                      <a:pt x="656" y="1538"/>
                    </a:lnTo>
                    <a:lnTo>
                      <a:pt x="618" y="1531"/>
                    </a:lnTo>
                    <a:lnTo>
                      <a:pt x="581" y="1523"/>
                    </a:lnTo>
                    <a:lnTo>
                      <a:pt x="544" y="1513"/>
                    </a:lnTo>
                    <a:lnTo>
                      <a:pt x="509" y="1500"/>
                    </a:lnTo>
                    <a:lnTo>
                      <a:pt x="473" y="1486"/>
                    </a:lnTo>
                    <a:lnTo>
                      <a:pt x="439" y="1470"/>
                    </a:lnTo>
                    <a:lnTo>
                      <a:pt x="405" y="1453"/>
                    </a:lnTo>
                    <a:lnTo>
                      <a:pt x="373" y="1435"/>
                    </a:lnTo>
                    <a:lnTo>
                      <a:pt x="341" y="1415"/>
                    </a:lnTo>
                    <a:lnTo>
                      <a:pt x="311" y="1393"/>
                    </a:lnTo>
                    <a:lnTo>
                      <a:pt x="282" y="1370"/>
                    </a:lnTo>
                    <a:lnTo>
                      <a:pt x="254" y="1346"/>
                    </a:lnTo>
                    <a:lnTo>
                      <a:pt x="227" y="1320"/>
                    </a:lnTo>
                    <a:lnTo>
                      <a:pt x="202" y="1294"/>
                    </a:lnTo>
                    <a:lnTo>
                      <a:pt x="177" y="1265"/>
                    </a:lnTo>
                    <a:lnTo>
                      <a:pt x="154" y="1237"/>
                    </a:lnTo>
                    <a:lnTo>
                      <a:pt x="132" y="1206"/>
                    </a:lnTo>
                    <a:lnTo>
                      <a:pt x="113" y="1174"/>
                    </a:lnTo>
                    <a:lnTo>
                      <a:pt x="94" y="1142"/>
                    </a:lnTo>
                    <a:lnTo>
                      <a:pt x="76" y="1109"/>
                    </a:lnTo>
                    <a:lnTo>
                      <a:pt x="62" y="1075"/>
                    </a:lnTo>
                    <a:lnTo>
                      <a:pt x="48" y="1040"/>
                    </a:lnTo>
                    <a:lnTo>
                      <a:pt x="35" y="1003"/>
                    </a:lnTo>
                    <a:lnTo>
                      <a:pt x="25" y="967"/>
                    </a:lnTo>
                    <a:lnTo>
                      <a:pt x="16" y="929"/>
                    </a:lnTo>
                    <a:lnTo>
                      <a:pt x="9" y="891"/>
                    </a:lnTo>
                    <a:lnTo>
                      <a:pt x="5" y="853"/>
                    </a:lnTo>
                    <a:lnTo>
                      <a:pt x="1" y="814"/>
                    </a:lnTo>
                    <a:lnTo>
                      <a:pt x="0" y="774"/>
                    </a:lnTo>
                    <a:lnTo>
                      <a:pt x="1" y="734"/>
                    </a:lnTo>
                    <a:lnTo>
                      <a:pt x="5" y="694"/>
                    </a:lnTo>
                    <a:lnTo>
                      <a:pt x="9" y="655"/>
                    </a:lnTo>
                    <a:lnTo>
                      <a:pt x="16" y="618"/>
                    </a:lnTo>
                    <a:lnTo>
                      <a:pt x="25" y="580"/>
                    </a:lnTo>
                    <a:lnTo>
                      <a:pt x="35" y="544"/>
                    </a:lnTo>
                    <a:lnTo>
                      <a:pt x="48" y="507"/>
                    </a:lnTo>
                    <a:lnTo>
                      <a:pt x="62" y="473"/>
                    </a:lnTo>
                    <a:lnTo>
                      <a:pt x="76" y="439"/>
                    </a:lnTo>
                    <a:lnTo>
                      <a:pt x="94" y="405"/>
                    </a:lnTo>
                    <a:lnTo>
                      <a:pt x="113" y="373"/>
                    </a:lnTo>
                    <a:lnTo>
                      <a:pt x="132" y="341"/>
                    </a:lnTo>
                    <a:lnTo>
                      <a:pt x="154" y="311"/>
                    </a:lnTo>
                    <a:lnTo>
                      <a:pt x="177" y="281"/>
                    </a:lnTo>
                    <a:lnTo>
                      <a:pt x="202" y="254"/>
                    </a:lnTo>
                    <a:lnTo>
                      <a:pt x="227" y="227"/>
                    </a:lnTo>
                    <a:lnTo>
                      <a:pt x="254" y="202"/>
                    </a:lnTo>
                    <a:lnTo>
                      <a:pt x="282" y="177"/>
                    </a:lnTo>
                    <a:lnTo>
                      <a:pt x="311" y="154"/>
                    </a:lnTo>
                    <a:lnTo>
                      <a:pt x="341" y="132"/>
                    </a:lnTo>
                    <a:lnTo>
                      <a:pt x="373" y="112"/>
                    </a:lnTo>
                    <a:lnTo>
                      <a:pt x="405" y="93"/>
                    </a:lnTo>
                    <a:lnTo>
                      <a:pt x="439" y="76"/>
                    </a:lnTo>
                    <a:lnTo>
                      <a:pt x="473" y="61"/>
                    </a:lnTo>
                    <a:lnTo>
                      <a:pt x="509" y="47"/>
                    </a:lnTo>
                    <a:lnTo>
                      <a:pt x="544" y="35"/>
                    </a:lnTo>
                    <a:lnTo>
                      <a:pt x="581" y="25"/>
                    </a:lnTo>
                    <a:lnTo>
                      <a:pt x="618" y="16"/>
                    </a:lnTo>
                    <a:lnTo>
                      <a:pt x="656" y="9"/>
                    </a:lnTo>
                    <a:lnTo>
                      <a:pt x="695" y="4"/>
                    </a:lnTo>
                    <a:lnTo>
                      <a:pt x="735" y="1"/>
                    </a:lnTo>
                    <a:lnTo>
                      <a:pt x="77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48" name="Freeform 35"/>
              <p:cNvSpPr>
                <a:spLocks noEditPoints="1"/>
              </p:cNvSpPr>
              <p:nvPr/>
            </p:nvSpPr>
            <p:spPr bwMode="auto">
              <a:xfrm>
                <a:off x="6059071" y="5211540"/>
                <a:ext cx="137606" cy="137606"/>
              </a:xfrm>
              <a:custGeom>
                <a:avLst/>
                <a:gdLst>
                  <a:gd name="T0" fmla="*/ 470 w 608"/>
                  <a:gd name="T1" fmla="*/ 1 h 609"/>
                  <a:gd name="T2" fmla="*/ 514 w 608"/>
                  <a:gd name="T3" fmla="*/ 13 h 609"/>
                  <a:gd name="T4" fmla="*/ 552 w 608"/>
                  <a:gd name="T5" fmla="*/ 36 h 609"/>
                  <a:gd name="T6" fmla="*/ 563 w 608"/>
                  <a:gd name="T7" fmla="*/ 46 h 609"/>
                  <a:gd name="T8" fmla="*/ 589 w 608"/>
                  <a:gd name="T9" fmla="*/ 81 h 609"/>
                  <a:gd name="T10" fmla="*/ 604 w 608"/>
                  <a:gd name="T11" fmla="*/ 123 h 609"/>
                  <a:gd name="T12" fmla="*/ 608 w 608"/>
                  <a:gd name="T13" fmla="*/ 455 h 609"/>
                  <a:gd name="T14" fmla="*/ 601 w 608"/>
                  <a:gd name="T15" fmla="*/ 501 h 609"/>
                  <a:gd name="T16" fmla="*/ 581 w 608"/>
                  <a:gd name="T17" fmla="*/ 541 h 609"/>
                  <a:gd name="T18" fmla="*/ 552 w 608"/>
                  <a:gd name="T19" fmla="*/ 574 h 609"/>
                  <a:gd name="T20" fmla="*/ 514 w 608"/>
                  <a:gd name="T21" fmla="*/ 597 h 609"/>
                  <a:gd name="T22" fmla="*/ 470 w 608"/>
                  <a:gd name="T23" fmla="*/ 608 h 609"/>
                  <a:gd name="T24" fmla="*/ 138 w 608"/>
                  <a:gd name="T25" fmla="*/ 608 h 609"/>
                  <a:gd name="T26" fmla="*/ 93 w 608"/>
                  <a:gd name="T27" fmla="*/ 597 h 609"/>
                  <a:gd name="T28" fmla="*/ 55 w 608"/>
                  <a:gd name="T29" fmla="*/ 574 h 609"/>
                  <a:gd name="T30" fmla="*/ 35 w 608"/>
                  <a:gd name="T31" fmla="*/ 553 h 609"/>
                  <a:gd name="T32" fmla="*/ 11 w 608"/>
                  <a:gd name="T33" fmla="*/ 514 h 609"/>
                  <a:gd name="T34" fmla="*/ 0 w 608"/>
                  <a:gd name="T35" fmla="*/ 471 h 609"/>
                  <a:gd name="T36" fmla="*/ 0 w 608"/>
                  <a:gd name="T37" fmla="*/ 138 h 609"/>
                  <a:gd name="T38" fmla="*/ 11 w 608"/>
                  <a:gd name="T39" fmla="*/ 95 h 609"/>
                  <a:gd name="T40" fmla="*/ 35 w 608"/>
                  <a:gd name="T41" fmla="*/ 57 h 609"/>
                  <a:gd name="T42" fmla="*/ 67 w 608"/>
                  <a:gd name="T43" fmla="*/ 28 h 609"/>
                  <a:gd name="T44" fmla="*/ 107 w 608"/>
                  <a:gd name="T45" fmla="*/ 8 h 609"/>
                  <a:gd name="T46" fmla="*/ 152 w 608"/>
                  <a:gd name="T47" fmla="*/ 0 h 609"/>
                  <a:gd name="T48" fmla="*/ 143 w 608"/>
                  <a:gd name="T49" fmla="*/ 61 h 609"/>
                  <a:gd name="T50" fmla="*/ 116 w 608"/>
                  <a:gd name="T51" fmla="*/ 68 h 609"/>
                  <a:gd name="T52" fmla="*/ 93 w 608"/>
                  <a:gd name="T53" fmla="*/ 81 h 609"/>
                  <a:gd name="T54" fmla="*/ 75 w 608"/>
                  <a:gd name="T55" fmla="*/ 102 h 609"/>
                  <a:gd name="T56" fmla="*/ 62 w 608"/>
                  <a:gd name="T57" fmla="*/ 127 h 609"/>
                  <a:gd name="T58" fmla="*/ 58 w 608"/>
                  <a:gd name="T59" fmla="*/ 154 h 609"/>
                  <a:gd name="T60" fmla="*/ 60 w 608"/>
                  <a:gd name="T61" fmla="*/ 475 h 609"/>
                  <a:gd name="T62" fmla="*/ 69 w 608"/>
                  <a:gd name="T63" fmla="*/ 501 h 609"/>
                  <a:gd name="T64" fmla="*/ 86 w 608"/>
                  <a:gd name="T65" fmla="*/ 522 h 609"/>
                  <a:gd name="T66" fmla="*/ 108 w 608"/>
                  <a:gd name="T67" fmla="*/ 538 h 609"/>
                  <a:gd name="T68" fmla="*/ 134 w 608"/>
                  <a:gd name="T69" fmla="*/ 547 h 609"/>
                  <a:gd name="T70" fmla="*/ 454 w 608"/>
                  <a:gd name="T71" fmla="*/ 550 h 609"/>
                  <a:gd name="T72" fmla="*/ 482 w 608"/>
                  <a:gd name="T73" fmla="*/ 545 h 609"/>
                  <a:gd name="T74" fmla="*/ 507 w 608"/>
                  <a:gd name="T75" fmla="*/ 534 h 609"/>
                  <a:gd name="T76" fmla="*/ 527 w 608"/>
                  <a:gd name="T77" fmla="*/ 516 h 609"/>
                  <a:gd name="T78" fmla="*/ 541 w 608"/>
                  <a:gd name="T79" fmla="*/ 492 h 609"/>
                  <a:gd name="T80" fmla="*/ 548 w 608"/>
                  <a:gd name="T81" fmla="*/ 465 h 609"/>
                  <a:gd name="T82" fmla="*/ 548 w 608"/>
                  <a:gd name="T83" fmla="*/ 145 h 609"/>
                  <a:gd name="T84" fmla="*/ 541 w 608"/>
                  <a:gd name="T85" fmla="*/ 118 h 609"/>
                  <a:gd name="T86" fmla="*/ 527 w 608"/>
                  <a:gd name="T87" fmla="*/ 94 h 609"/>
                  <a:gd name="T88" fmla="*/ 514 w 608"/>
                  <a:gd name="T89" fmla="*/ 81 h 609"/>
                  <a:gd name="T90" fmla="*/ 491 w 608"/>
                  <a:gd name="T91" fmla="*/ 68 h 609"/>
                  <a:gd name="T92" fmla="*/ 464 w 608"/>
                  <a:gd name="T93" fmla="*/ 61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08" h="609">
                    <a:moveTo>
                      <a:pt x="152" y="0"/>
                    </a:moveTo>
                    <a:lnTo>
                      <a:pt x="454" y="0"/>
                    </a:lnTo>
                    <a:lnTo>
                      <a:pt x="470" y="1"/>
                    </a:lnTo>
                    <a:lnTo>
                      <a:pt x="484" y="4"/>
                    </a:lnTo>
                    <a:lnTo>
                      <a:pt x="499" y="8"/>
                    </a:lnTo>
                    <a:lnTo>
                      <a:pt x="514" y="13"/>
                    </a:lnTo>
                    <a:lnTo>
                      <a:pt x="527" y="20"/>
                    </a:lnTo>
                    <a:lnTo>
                      <a:pt x="539" y="28"/>
                    </a:lnTo>
                    <a:lnTo>
                      <a:pt x="552" y="36"/>
                    </a:lnTo>
                    <a:lnTo>
                      <a:pt x="562" y="46"/>
                    </a:lnTo>
                    <a:lnTo>
                      <a:pt x="562" y="46"/>
                    </a:lnTo>
                    <a:lnTo>
                      <a:pt x="563" y="46"/>
                    </a:lnTo>
                    <a:lnTo>
                      <a:pt x="572" y="57"/>
                    </a:lnTo>
                    <a:lnTo>
                      <a:pt x="581" y="69"/>
                    </a:lnTo>
                    <a:lnTo>
                      <a:pt x="589" y="81"/>
                    </a:lnTo>
                    <a:lnTo>
                      <a:pt x="595" y="95"/>
                    </a:lnTo>
                    <a:lnTo>
                      <a:pt x="601" y="109"/>
                    </a:lnTo>
                    <a:lnTo>
                      <a:pt x="604" y="123"/>
                    </a:lnTo>
                    <a:lnTo>
                      <a:pt x="606" y="138"/>
                    </a:lnTo>
                    <a:lnTo>
                      <a:pt x="608" y="154"/>
                    </a:lnTo>
                    <a:lnTo>
                      <a:pt x="608" y="455"/>
                    </a:lnTo>
                    <a:lnTo>
                      <a:pt x="606" y="471"/>
                    </a:lnTo>
                    <a:lnTo>
                      <a:pt x="604" y="486"/>
                    </a:lnTo>
                    <a:lnTo>
                      <a:pt x="601" y="501"/>
                    </a:lnTo>
                    <a:lnTo>
                      <a:pt x="595" y="514"/>
                    </a:lnTo>
                    <a:lnTo>
                      <a:pt x="589" y="528"/>
                    </a:lnTo>
                    <a:lnTo>
                      <a:pt x="581" y="541"/>
                    </a:lnTo>
                    <a:lnTo>
                      <a:pt x="572" y="553"/>
                    </a:lnTo>
                    <a:lnTo>
                      <a:pt x="563" y="563"/>
                    </a:lnTo>
                    <a:lnTo>
                      <a:pt x="552" y="574"/>
                    </a:lnTo>
                    <a:lnTo>
                      <a:pt x="540" y="583"/>
                    </a:lnTo>
                    <a:lnTo>
                      <a:pt x="527" y="590"/>
                    </a:lnTo>
                    <a:lnTo>
                      <a:pt x="514" y="597"/>
                    </a:lnTo>
                    <a:lnTo>
                      <a:pt x="499" y="602"/>
                    </a:lnTo>
                    <a:lnTo>
                      <a:pt x="484" y="606"/>
                    </a:lnTo>
                    <a:lnTo>
                      <a:pt x="470" y="608"/>
                    </a:lnTo>
                    <a:lnTo>
                      <a:pt x="454" y="609"/>
                    </a:lnTo>
                    <a:lnTo>
                      <a:pt x="152" y="609"/>
                    </a:lnTo>
                    <a:lnTo>
                      <a:pt x="138" y="608"/>
                    </a:lnTo>
                    <a:lnTo>
                      <a:pt x="122" y="606"/>
                    </a:lnTo>
                    <a:lnTo>
                      <a:pt x="108" y="602"/>
                    </a:lnTo>
                    <a:lnTo>
                      <a:pt x="93" y="597"/>
                    </a:lnTo>
                    <a:lnTo>
                      <a:pt x="79" y="590"/>
                    </a:lnTo>
                    <a:lnTo>
                      <a:pt x="67" y="583"/>
                    </a:lnTo>
                    <a:lnTo>
                      <a:pt x="55" y="574"/>
                    </a:lnTo>
                    <a:lnTo>
                      <a:pt x="44" y="563"/>
                    </a:lnTo>
                    <a:lnTo>
                      <a:pt x="44" y="563"/>
                    </a:lnTo>
                    <a:lnTo>
                      <a:pt x="35" y="553"/>
                    </a:lnTo>
                    <a:lnTo>
                      <a:pt x="26" y="541"/>
                    </a:lnTo>
                    <a:lnTo>
                      <a:pt x="18" y="528"/>
                    </a:lnTo>
                    <a:lnTo>
                      <a:pt x="11" y="514"/>
                    </a:lnTo>
                    <a:lnTo>
                      <a:pt x="6" y="501"/>
                    </a:lnTo>
                    <a:lnTo>
                      <a:pt x="2" y="486"/>
                    </a:lnTo>
                    <a:lnTo>
                      <a:pt x="0" y="471"/>
                    </a:lnTo>
                    <a:lnTo>
                      <a:pt x="0" y="455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3"/>
                    </a:lnTo>
                    <a:lnTo>
                      <a:pt x="6" y="109"/>
                    </a:lnTo>
                    <a:lnTo>
                      <a:pt x="11" y="95"/>
                    </a:lnTo>
                    <a:lnTo>
                      <a:pt x="18" y="81"/>
                    </a:lnTo>
                    <a:lnTo>
                      <a:pt x="26" y="69"/>
                    </a:lnTo>
                    <a:lnTo>
                      <a:pt x="35" y="57"/>
                    </a:lnTo>
                    <a:lnTo>
                      <a:pt x="44" y="46"/>
                    </a:lnTo>
                    <a:lnTo>
                      <a:pt x="55" y="36"/>
                    </a:lnTo>
                    <a:lnTo>
                      <a:pt x="67" y="28"/>
                    </a:lnTo>
                    <a:lnTo>
                      <a:pt x="79" y="20"/>
                    </a:lnTo>
                    <a:lnTo>
                      <a:pt x="93" y="13"/>
                    </a:lnTo>
                    <a:lnTo>
                      <a:pt x="107" y="8"/>
                    </a:lnTo>
                    <a:lnTo>
                      <a:pt x="122" y="4"/>
                    </a:lnTo>
                    <a:lnTo>
                      <a:pt x="138" y="1"/>
                    </a:lnTo>
                    <a:lnTo>
                      <a:pt x="152" y="0"/>
                    </a:lnTo>
                    <a:close/>
                    <a:moveTo>
                      <a:pt x="454" y="60"/>
                    </a:moveTo>
                    <a:lnTo>
                      <a:pt x="152" y="60"/>
                    </a:lnTo>
                    <a:lnTo>
                      <a:pt x="143" y="61"/>
                    </a:lnTo>
                    <a:lnTo>
                      <a:pt x="134" y="62"/>
                    </a:lnTo>
                    <a:lnTo>
                      <a:pt x="125" y="64"/>
                    </a:lnTo>
                    <a:lnTo>
                      <a:pt x="116" y="68"/>
                    </a:lnTo>
                    <a:lnTo>
                      <a:pt x="108" y="71"/>
                    </a:lnTo>
                    <a:lnTo>
                      <a:pt x="100" y="76"/>
                    </a:lnTo>
                    <a:lnTo>
                      <a:pt x="93" y="81"/>
                    </a:lnTo>
                    <a:lnTo>
                      <a:pt x="86" y="88"/>
                    </a:lnTo>
                    <a:lnTo>
                      <a:pt x="79" y="94"/>
                    </a:lnTo>
                    <a:lnTo>
                      <a:pt x="75" y="102"/>
                    </a:lnTo>
                    <a:lnTo>
                      <a:pt x="69" y="110"/>
                    </a:lnTo>
                    <a:lnTo>
                      <a:pt x="66" y="118"/>
                    </a:lnTo>
                    <a:lnTo>
                      <a:pt x="62" y="127"/>
                    </a:lnTo>
                    <a:lnTo>
                      <a:pt x="60" y="135"/>
                    </a:lnTo>
                    <a:lnTo>
                      <a:pt x="59" y="145"/>
                    </a:lnTo>
                    <a:lnTo>
                      <a:pt x="58" y="154"/>
                    </a:lnTo>
                    <a:lnTo>
                      <a:pt x="58" y="455"/>
                    </a:lnTo>
                    <a:lnTo>
                      <a:pt x="59" y="465"/>
                    </a:lnTo>
                    <a:lnTo>
                      <a:pt x="60" y="475"/>
                    </a:lnTo>
                    <a:lnTo>
                      <a:pt x="62" y="484"/>
                    </a:lnTo>
                    <a:lnTo>
                      <a:pt x="66" y="492"/>
                    </a:lnTo>
                    <a:lnTo>
                      <a:pt x="69" y="501"/>
                    </a:lnTo>
                    <a:lnTo>
                      <a:pt x="75" y="509"/>
                    </a:lnTo>
                    <a:lnTo>
                      <a:pt x="79" y="516"/>
                    </a:lnTo>
                    <a:lnTo>
                      <a:pt x="86" y="522"/>
                    </a:lnTo>
                    <a:lnTo>
                      <a:pt x="93" y="528"/>
                    </a:lnTo>
                    <a:lnTo>
                      <a:pt x="100" y="534"/>
                    </a:lnTo>
                    <a:lnTo>
                      <a:pt x="108" y="538"/>
                    </a:lnTo>
                    <a:lnTo>
                      <a:pt x="116" y="543"/>
                    </a:lnTo>
                    <a:lnTo>
                      <a:pt x="125" y="545"/>
                    </a:lnTo>
                    <a:lnTo>
                      <a:pt x="134" y="547"/>
                    </a:lnTo>
                    <a:lnTo>
                      <a:pt x="143" y="550"/>
                    </a:lnTo>
                    <a:lnTo>
                      <a:pt x="152" y="550"/>
                    </a:lnTo>
                    <a:lnTo>
                      <a:pt x="454" y="550"/>
                    </a:lnTo>
                    <a:lnTo>
                      <a:pt x="464" y="550"/>
                    </a:lnTo>
                    <a:lnTo>
                      <a:pt x="473" y="547"/>
                    </a:lnTo>
                    <a:lnTo>
                      <a:pt x="482" y="545"/>
                    </a:lnTo>
                    <a:lnTo>
                      <a:pt x="491" y="543"/>
                    </a:lnTo>
                    <a:lnTo>
                      <a:pt x="499" y="538"/>
                    </a:lnTo>
                    <a:lnTo>
                      <a:pt x="507" y="534"/>
                    </a:lnTo>
                    <a:lnTo>
                      <a:pt x="514" y="528"/>
                    </a:lnTo>
                    <a:lnTo>
                      <a:pt x="521" y="522"/>
                    </a:lnTo>
                    <a:lnTo>
                      <a:pt x="527" y="516"/>
                    </a:lnTo>
                    <a:lnTo>
                      <a:pt x="532" y="508"/>
                    </a:lnTo>
                    <a:lnTo>
                      <a:pt x="537" y="501"/>
                    </a:lnTo>
                    <a:lnTo>
                      <a:pt x="541" y="492"/>
                    </a:lnTo>
                    <a:lnTo>
                      <a:pt x="545" y="484"/>
                    </a:lnTo>
                    <a:lnTo>
                      <a:pt x="547" y="475"/>
                    </a:lnTo>
                    <a:lnTo>
                      <a:pt x="548" y="465"/>
                    </a:lnTo>
                    <a:lnTo>
                      <a:pt x="548" y="455"/>
                    </a:lnTo>
                    <a:lnTo>
                      <a:pt x="548" y="154"/>
                    </a:lnTo>
                    <a:lnTo>
                      <a:pt x="548" y="145"/>
                    </a:lnTo>
                    <a:lnTo>
                      <a:pt x="547" y="135"/>
                    </a:lnTo>
                    <a:lnTo>
                      <a:pt x="545" y="126"/>
                    </a:lnTo>
                    <a:lnTo>
                      <a:pt x="541" y="118"/>
                    </a:lnTo>
                    <a:lnTo>
                      <a:pt x="537" y="110"/>
                    </a:lnTo>
                    <a:lnTo>
                      <a:pt x="532" y="102"/>
                    </a:lnTo>
                    <a:lnTo>
                      <a:pt x="527" y="94"/>
                    </a:lnTo>
                    <a:lnTo>
                      <a:pt x="521" y="88"/>
                    </a:lnTo>
                    <a:lnTo>
                      <a:pt x="521" y="87"/>
                    </a:lnTo>
                    <a:lnTo>
                      <a:pt x="514" y="81"/>
                    </a:lnTo>
                    <a:lnTo>
                      <a:pt x="507" y="76"/>
                    </a:lnTo>
                    <a:lnTo>
                      <a:pt x="499" y="71"/>
                    </a:lnTo>
                    <a:lnTo>
                      <a:pt x="491" y="68"/>
                    </a:lnTo>
                    <a:lnTo>
                      <a:pt x="482" y="64"/>
                    </a:lnTo>
                    <a:lnTo>
                      <a:pt x="473" y="62"/>
                    </a:lnTo>
                    <a:lnTo>
                      <a:pt x="464" y="61"/>
                    </a:lnTo>
                    <a:lnTo>
                      <a:pt x="454" y="60"/>
                    </a:lnTo>
                    <a:close/>
                  </a:path>
                </a:pathLst>
              </a:custGeom>
              <a:gradFill flip="none" rotWithShape="1">
                <a:gsLst>
                  <a:gs pos="46000">
                    <a:srgbClr val="FFFFFF"/>
                  </a:gs>
                  <a:gs pos="56000">
                    <a:srgbClr val="FFFFFF">
                      <a:alpha val="45000"/>
                    </a:srgbClr>
                  </a:gs>
                  <a:gs pos="100000">
                    <a:srgbClr val="FFFFFF"/>
                  </a:gs>
                  <a:gs pos="0">
                    <a:srgbClr val="FFFFFF">
                      <a:alpha val="97000"/>
                    </a:srgbClr>
                  </a:gs>
                </a:gsLst>
                <a:lin ang="189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49" name="Freeform 42"/>
              <p:cNvSpPr>
                <a:spLocks/>
              </p:cNvSpPr>
              <p:nvPr/>
            </p:nvSpPr>
            <p:spPr bwMode="auto">
              <a:xfrm>
                <a:off x="5940539" y="5287836"/>
                <a:ext cx="371944" cy="178479"/>
              </a:xfrm>
              <a:custGeom>
                <a:avLst/>
                <a:gdLst>
                  <a:gd name="T0" fmla="*/ 1635 w 1638"/>
                  <a:gd name="T1" fmla="*/ 43 h 786"/>
                  <a:gd name="T2" fmla="*/ 1625 w 1638"/>
                  <a:gd name="T3" fmla="*/ 122 h 786"/>
                  <a:gd name="T4" fmla="*/ 1605 w 1638"/>
                  <a:gd name="T5" fmla="*/ 199 h 786"/>
                  <a:gd name="T6" fmla="*/ 1580 w 1638"/>
                  <a:gd name="T7" fmla="*/ 273 h 786"/>
                  <a:gd name="T8" fmla="*/ 1547 w 1638"/>
                  <a:gd name="T9" fmla="*/ 344 h 786"/>
                  <a:gd name="T10" fmla="*/ 1508 w 1638"/>
                  <a:gd name="T11" fmla="*/ 410 h 786"/>
                  <a:gd name="T12" fmla="*/ 1464 w 1638"/>
                  <a:gd name="T13" fmla="*/ 473 h 786"/>
                  <a:gd name="T14" fmla="*/ 1414 w 1638"/>
                  <a:gd name="T15" fmla="*/ 531 h 786"/>
                  <a:gd name="T16" fmla="*/ 1359 w 1638"/>
                  <a:gd name="T17" fmla="*/ 584 h 786"/>
                  <a:gd name="T18" fmla="*/ 1298 w 1638"/>
                  <a:gd name="T19" fmla="*/ 631 h 786"/>
                  <a:gd name="T20" fmla="*/ 1235 w 1638"/>
                  <a:gd name="T21" fmla="*/ 674 h 786"/>
                  <a:gd name="T22" fmla="*/ 1166 w 1638"/>
                  <a:gd name="T23" fmla="*/ 710 h 786"/>
                  <a:gd name="T24" fmla="*/ 1094 w 1638"/>
                  <a:gd name="T25" fmla="*/ 740 h 786"/>
                  <a:gd name="T26" fmla="*/ 1019 w 1638"/>
                  <a:gd name="T27" fmla="*/ 763 h 786"/>
                  <a:gd name="T28" fmla="*/ 940 w 1638"/>
                  <a:gd name="T29" fmla="*/ 777 h 786"/>
                  <a:gd name="T30" fmla="*/ 861 w 1638"/>
                  <a:gd name="T31" fmla="*/ 785 h 786"/>
                  <a:gd name="T32" fmla="*/ 778 w 1638"/>
                  <a:gd name="T33" fmla="*/ 785 h 786"/>
                  <a:gd name="T34" fmla="*/ 697 w 1638"/>
                  <a:gd name="T35" fmla="*/ 777 h 786"/>
                  <a:gd name="T36" fmla="*/ 619 w 1638"/>
                  <a:gd name="T37" fmla="*/ 763 h 786"/>
                  <a:gd name="T38" fmla="*/ 543 w 1638"/>
                  <a:gd name="T39" fmla="*/ 740 h 786"/>
                  <a:gd name="T40" fmla="*/ 472 w 1638"/>
                  <a:gd name="T41" fmla="*/ 710 h 786"/>
                  <a:gd name="T42" fmla="*/ 403 w 1638"/>
                  <a:gd name="T43" fmla="*/ 674 h 786"/>
                  <a:gd name="T44" fmla="*/ 338 w 1638"/>
                  <a:gd name="T45" fmla="*/ 631 h 786"/>
                  <a:gd name="T46" fmla="*/ 279 w 1638"/>
                  <a:gd name="T47" fmla="*/ 584 h 786"/>
                  <a:gd name="T48" fmla="*/ 223 w 1638"/>
                  <a:gd name="T49" fmla="*/ 530 h 786"/>
                  <a:gd name="T50" fmla="*/ 173 w 1638"/>
                  <a:gd name="T51" fmla="*/ 472 h 786"/>
                  <a:gd name="T52" fmla="*/ 128 w 1638"/>
                  <a:gd name="T53" fmla="*/ 409 h 786"/>
                  <a:gd name="T54" fmla="*/ 89 w 1638"/>
                  <a:gd name="T55" fmla="*/ 342 h 786"/>
                  <a:gd name="T56" fmla="*/ 58 w 1638"/>
                  <a:gd name="T57" fmla="*/ 271 h 786"/>
                  <a:gd name="T58" fmla="*/ 32 w 1638"/>
                  <a:gd name="T59" fmla="*/ 197 h 786"/>
                  <a:gd name="T60" fmla="*/ 14 w 1638"/>
                  <a:gd name="T61" fmla="*/ 120 h 786"/>
                  <a:gd name="T62" fmla="*/ 3 w 1638"/>
                  <a:gd name="T63" fmla="*/ 40 h 786"/>
                  <a:gd name="T64" fmla="*/ 48 w 1638"/>
                  <a:gd name="T65" fmla="*/ 6 h 786"/>
                  <a:gd name="T66" fmla="*/ 146 w 1638"/>
                  <a:gd name="T67" fmla="*/ 18 h 786"/>
                  <a:gd name="T68" fmla="*/ 246 w 1638"/>
                  <a:gd name="T69" fmla="*/ 28 h 786"/>
                  <a:gd name="T70" fmla="*/ 348 w 1638"/>
                  <a:gd name="T71" fmla="*/ 37 h 786"/>
                  <a:gd name="T72" fmla="*/ 452 w 1638"/>
                  <a:gd name="T73" fmla="*/ 44 h 786"/>
                  <a:gd name="T74" fmla="*/ 557 w 1638"/>
                  <a:gd name="T75" fmla="*/ 50 h 786"/>
                  <a:gd name="T76" fmla="*/ 664 w 1638"/>
                  <a:gd name="T77" fmla="*/ 53 h 786"/>
                  <a:gd name="T78" fmla="*/ 774 w 1638"/>
                  <a:gd name="T79" fmla="*/ 56 h 786"/>
                  <a:gd name="T80" fmla="*/ 882 w 1638"/>
                  <a:gd name="T81" fmla="*/ 56 h 786"/>
                  <a:gd name="T82" fmla="*/ 988 w 1638"/>
                  <a:gd name="T83" fmla="*/ 53 h 786"/>
                  <a:gd name="T84" fmla="*/ 1093 w 1638"/>
                  <a:gd name="T85" fmla="*/ 50 h 786"/>
                  <a:gd name="T86" fmla="*/ 1196 w 1638"/>
                  <a:gd name="T87" fmla="*/ 45 h 786"/>
                  <a:gd name="T88" fmla="*/ 1297 w 1638"/>
                  <a:gd name="T89" fmla="*/ 39 h 786"/>
                  <a:gd name="T90" fmla="*/ 1398 w 1638"/>
                  <a:gd name="T91" fmla="*/ 30 h 786"/>
                  <a:gd name="T92" fmla="*/ 1495 w 1638"/>
                  <a:gd name="T93" fmla="*/ 20 h 786"/>
                  <a:gd name="T94" fmla="*/ 1590 w 1638"/>
                  <a:gd name="T95" fmla="*/ 9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38" h="786">
                    <a:moveTo>
                      <a:pt x="1638" y="2"/>
                    </a:moveTo>
                    <a:lnTo>
                      <a:pt x="1635" y="43"/>
                    </a:lnTo>
                    <a:lnTo>
                      <a:pt x="1630" y="83"/>
                    </a:lnTo>
                    <a:lnTo>
                      <a:pt x="1625" y="122"/>
                    </a:lnTo>
                    <a:lnTo>
                      <a:pt x="1616" y="161"/>
                    </a:lnTo>
                    <a:lnTo>
                      <a:pt x="1605" y="199"/>
                    </a:lnTo>
                    <a:lnTo>
                      <a:pt x="1594" y="237"/>
                    </a:lnTo>
                    <a:lnTo>
                      <a:pt x="1580" y="273"/>
                    </a:lnTo>
                    <a:lnTo>
                      <a:pt x="1564" y="309"/>
                    </a:lnTo>
                    <a:lnTo>
                      <a:pt x="1547" y="344"/>
                    </a:lnTo>
                    <a:lnTo>
                      <a:pt x="1529" y="377"/>
                    </a:lnTo>
                    <a:lnTo>
                      <a:pt x="1508" y="410"/>
                    </a:lnTo>
                    <a:lnTo>
                      <a:pt x="1488" y="442"/>
                    </a:lnTo>
                    <a:lnTo>
                      <a:pt x="1464" y="473"/>
                    </a:lnTo>
                    <a:lnTo>
                      <a:pt x="1440" y="503"/>
                    </a:lnTo>
                    <a:lnTo>
                      <a:pt x="1414" y="531"/>
                    </a:lnTo>
                    <a:lnTo>
                      <a:pt x="1387" y="558"/>
                    </a:lnTo>
                    <a:lnTo>
                      <a:pt x="1359" y="584"/>
                    </a:lnTo>
                    <a:lnTo>
                      <a:pt x="1329" y="609"/>
                    </a:lnTo>
                    <a:lnTo>
                      <a:pt x="1298" y="631"/>
                    </a:lnTo>
                    <a:lnTo>
                      <a:pt x="1268" y="654"/>
                    </a:lnTo>
                    <a:lnTo>
                      <a:pt x="1235" y="674"/>
                    </a:lnTo>
                    <a:lnTo>
                      <a:pt x="1200" y="693"/>
                    </a:lnTo>
                    <a:lnTo>
                      <a:pt x="1166" y="710"/>
                    </a:lnTo>
                    <a:lnTo>
                      <a:pt x="1131" y="726"/>
                    </a:lnTo>
                    <a:lnTo>
                      <a:pt x="1094" y="740"/>
                    </a:lnTo>
                    <a:lnTo>
                      <a:pt x="1057" y="752"/>
                    </a:lnTo>
                    <a:lnTo>
                      <a:pt x="1019" y="763"/>
                    </a:lnTo>
                    <a:lnTo>
                      <a:pt x="980" y="771"/>
                    </a:lnTo>
                    <a:lnTo>
                      <a:pt x="940" y="777"/>
                    </a:lnTo>
                    <a:lnTo>
                      <a:pt x="900" y="783"/>
                    </a:lnTo>
                    <a:lnTo>
                      <a:pt x="861" y="785"/>
                    </a:lnTo>
                    <a:lnTo>
                      <a:pt x="819" y="786"/>
                    </a:lnTo>
                    <a:lnTo>
                      <a:pt x="778" y="785"/>
                    </a:lnTo>
                    <a:lnTo>
                      <a:pt x="737" y="783"/>
                    </a:lnTo>
                    <a:lnTo>
                      <a:pt x="697" y="777"/>
                    </a:lnTo>
                    <a:lnTo>
                      <a:pt x="657" y="771"/>
                    </a:lnTo>
                    <a:lnTo>
                      <a:pt x="619" y="763"/>
                    </a:lnTo>
                    <a:lnTo>
                      <a:pt x="581" y="752"/>
                    </a:lnTo>
                    <a:lnTo>
                      <a:pt x="543" y="740"/>
                    </a:lnTo>
                    <a:lnTo>
                      <a:pt x="507" y="725"/>
                    </a:lnTo>
                    <a:lnTo>
                      <a:pt x="472" y="710"/>
                    </a:lnTo>
                    <a:lnTo>
                      <a:pt x="436" y="693"/>
                    </a:lnTo>
                    <a:lnTo>
                      <a:pt x="403" y="674"/>
                    </a:lnTo>
                    <a:lnTo>
                      <a:pt x="370" y="653"/>
                    </a:lnTo>
                    <a:lnTo>
                      <a:pt x="338" y="631"/>
                    </a:lnTo>
                    <a:lnTo>
                      <a:pt x="308" y="607"/>
                    </a:lnTo>
                    <a:lnTo>
                      <a:pt x="279" y="584"/>
                    </a:lnTo>
                    <a:lnTo>
                      <a:pt x="250" y="557"/>
                    </a:lnTo>
                    <a:lnTo>
                      <a:pt x="223" y="530"/>
                    </a:lnTo>
                    <a:lnTo>
                      <a:pt x="198" y="501"/>
                    </a:lnTo>
                    <a:lnTo>
                      <a:pt x="173" y="472"/>
                    </a:lnTo>
                    <a:lnTo>
                      <a:pt x="150" y="441"/>
                    </a:lnTo>
                    <a:lnTo>
                      <a:pt x="128" y="409"/>
                    </a:lnTo>
                    <a:lnTo>
                      <a:pt x="109" y="376"/>
                    </a:lnTo>
                    <a:lnTo>
                      <a:pt x="89" y="342"/>
                    </a:lnTo>
                    <a:lnTo>
                      <a:pt x="73" y="308"/>
                    </a:lnTo>
                    <a:lnTo>
                      <a:pt x="58" y="271"/>
                    </a:lnTo>
                    <a:lnTo>
                      <a:pt x="44" y="235"/>
                    </a:lnTo>
                    <a:lnTo>
                      <a:pt x="32" y="197"/>
                    </a:lnTo>
                    <a:lnTo>
                      <a:pt x="22" y="159"/>
                    </a:lnTo>
                    <a:lnTo>
                      <a:pt x="14" y="120"/>
                    </a:lnTo>
                    <a:lnTo>
                      <a:pt x="7" y="81"/>
                    </a:lnTo>
                    <a:lnTo>
                      <a:pt x="3" y="40"/>
                    </a:lnTo>
                    <a:lnTo>
                      <a:pt x="0" y="0"/>
                    </a:lnTo>
                    <a:lnTo>
                      <a:pt x="48" y="6"/>
                    </a:lnTo>
                    <a:lnTo>
                      <a:pt x="96" y="12"/>
                    </a:lnTo>
                    <a:lnTo>
                      <a:pt x="146" y="18"/>
                    </a:lnTo>
                    <a:lnTo>
                      <a:pt x="196" y="24"/>
                    </a:lnTo>
                    <a:lnTo>
                      <a:pt x="246" y="28"/>
                    </a:lnTo>
                    <a:lnTo>
                      <a:pt x="297" y="33"/>
                    </a:lnTo>
                    <a:lnTo>
                      <a:pt x="348" y="37"/>
                    </a:lnTo>
                    <a:lnTo>
                      <a:pt x="400" y="41"/>
                    </a:lnTo>
                    <a:lnTo>
                      <a:pt x="452" y="44"/>
                    </a:lnTo>
                    <a:lnTo>
                      <a:pt x="505" y="48"/>
                    </a:lnTo>
                    <a:lnTo>
                      <a:pt x="557" y="50"/>
                    </a:lnTo>
                    <a:lnTo>
                      <a:pt x="611" y="52"/>
                    </a:lnTo>
                    <a:lnTo>
                      <a:pt x="664" y="53"/>
                    </a:lnTo>
                    <a:lnTo>
                      <a:pt x="719" y="55"/>
                    </a:lnTo>
                    <a:lnTo>
                      <a:pt x="774" y="56"/>
                    </a:lnTo>
                    <a:lnTo>
                      <a:pt x="829" y="56"/>
                    </a:lnTo>
                    <a:lnTo>
                      <a:pt x="882" y="56"/>
                    </a:lnTo>
                    <a:lnTo>
                      <a:pt x="936" y="55"/>
                    </a:lnTo>
                    <a:lnTo>
                      <a:pt x="988" y="53"/>
                    </a:lnTo>
                    <a:lnTo>
                      <a:pt x="1041" y="52"/>
                    </a:lnTo>
                    <a:lnTo>
                      <a:pt x="1093" y="50"/>
                    </a:lnTo>
                    <a:lnTo>
                      <a:pt x="1145" y="48"/>
                    </a:lnTo>
                    <a:lnTo>
                      <a:pt x="1196" y="45"/>
                    </a:lnTo>
                    <a:lnTo>
                      <a:pt x="1247" y="42"/>
                    </a:lnTo>
                    <a:lnTo>
                      <a:pt x="1297" y="39"/>
                    </a:lnTo>
                    <a:lnTo>
                      <a:pt x="1348" y="34"/>
                    </a:lnTo>
                    <a:lnTo>
                      <a:pt x="1398" y="30"/>
                    </a:lnTo>
                    <a:lnTo>
                      <a:pt x="1447" y="25"/>
                    </a:lnTo>
                    <a:lnTo>
                      <a:pt x="1495" y="20"/>
                    </a:lnTo>
                    <a:lnTo>
                      <a:pt x="1544" y="15"/>
                    </a:lnTo>
                    <a:lnTo>
                      <a:pt x="1590" y="9"/>
                    </a:lnTo>
                    <a:lnTo>
                      <a:pt x="1638" y="2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FFFFFF">
                      <a:alpha val="45000"/>
                    </a:srgbClr>
                  </a:gs>
                  <a:gs pos="0">
                    <a:srgbClr val="FFFFFF">
                      <a:alpha val="20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  <p:grpSp>
          <p:nvGrpSpPr>
            <p:cNvPr id="150" name="Group 135"/>
            <p:cNvGrpSpPr/>
            <p:nvPr/>
          </p:nvGrpSpPr>
          <p:grpSpPr>
            <a:xfrm>
              <a:off x="3040950" y="4291316"/>
              <a:ext cx="454256" cy="1085196"/>
              <a:chOff x="3000179" y="211125"/>
              <a:chExt cx="1292141" cy="3719266"/>
            </a:xfrm>
          </p:grpSpPr>
          <p:sp>
            <p:nvSpPr>
              <p:cNvPr id="151" name="Freeform 26"/>
              <p:cNvSpPr>
                <a:spLocks/>
              </p:cNvSpPr>
              <p:nvPr/>
            </p:nvSpPr>
            <p:spPr bwMode="auto">
              <a:xfrm>
                <a:off x="3038276" y="211125"/>
                <a:ext cx="1254044" cy="3719266"/>
              </a:xfrm>
              <a:custGeom>
                <a:avLst/>
                <a:gdLst>
                  <a:gd name="T0" fmla="*/ 0 w 4741"/>
                  <a:gd name="T1" fmla="*/ 0 h 14059"/>
                  <a:gd name="T2" fmla="*/ 3656 w 4741"/>
                  <a:gd name="T3" fmla="*/ 0 h 14059"/>
                  <a:gd name="T4" fmla="*/ 3712 w 4741"/>
                  <a:gd name="T5" fmla="*/ 1 h 14059"/>
                  <a:gd name="T6" fmla="*/ 3767 w 4741"/>
                  <a:gd name="T7" fmla="*/ 4 h 14059"/>
                  <a:gd name="T8" fmla="*/ 3820 w 4741"/>
                  <a:gd name="T9" fmla="*/ 12 h 14059"/>
                  <a:gd name="T10" fmla="*/ 3874 w 4741"/>
                  <a:gd name="T11" fmla="*/ 22 h 14059"/>
                  <a:gd name="T12" fmla="*/ 3926 w 4741"/>
                  <a:gd name="T13" fmla="*/ 34 h 14059"/>
                  <a:gd name="T14" fmla="*/ 3978 w 4741"/>
                  <a:gd name="T15" fmla="*/ 49 h 14059"/>
                  <a:gd name="T16" fmla="*/ 4028 w 4741"/>
                  <a:gd name="T17" fmla="*/ 66 h 14059"/>
                  <a:gd name="T18" fmla="*/ 4077 w 4741"/>
                  <a:gd name="T19" fmla="*/ 85 h 14059"/>
                  <a:gd name="T20" fmla="*/ 4125 w 4741"/>
                  <a:gd name="T21" fmla="*/ 107 h 14059"/>
                  <a:gd name="T22" fmla="*/ 4172 w 4741"/>
                  <a:gd name="T23" fmla="*/ 131 h 14059"/>
                  <a:gd name="T24" fmla="*/ 4217 w 4741"/>
                  <a:gd name="T25" fmla="*/ 157 h 14059"/>
                  <a:gd name="T26" fmla="*/ 4262 w 4741"/>
                  <a:gd name="T27" fmla="*/ 186 h 14059"/>
                  <a:gd name="T28" fmla="*/ 4304 w 4741"/>
                  <a:gd name="T29" fmla="*/ 215 h 14059"/>
                  <a:gd name="T30" fmla="*/ 4345 w 4741"/>
                  <a:gd name="T31" fmla="*/ 247 h 14059"/>
                  <a:gd name="T32" fmla="*/ 4385 w 4741"/>
                  <a:gd name="T33" fmla="*/ 281 h 14059"/>
                  <a:gd name="T34" fmla="*/ 4422 w 4741"/>
                  <a:gd name="T35" fmla="*/ 318 h 14059"/>
                  <a:gd name="T36" fmla="*/ 4458 w 4741"/>
                  <a:gd name="T37" fmla="*/ 356 h 14059"/>
                  <a:gd name="T38" fmla="*/ 4492 w 4741"/>
                  <a:gd name="T39" fmla="*/ 395 h 14059"/>
                  <a:gd name="T40" fmla="*/ 4525 w 4741"/>
                  <a:gd name="T41" fmla="*/ 436 h 14059"/>
                  <a:gd name="T42" fmla="*/ 4555 w 4741"/>
                  <a:gd name="T43" fmla="*/ 479 h 14059"/>
                  <a:gd name="T44" fmla="*/ 4583 w 4741"/>
                  <a:gd name="T45" fmla="*/ 523 h 14059"/>
                  <a:gd name="T46" fmla="*/ 4609 w 4741"/>
                  <a:gd name="T47" fmla="*/ 568 h 14059"/>
                  <a:gd name="T48" fmla="*/ 4633 w 4741"/>
                  <a:gd name="T49" fmla="*/ 614 h 14059"/>
                  <a:gd name="T50" fmla="*/ 4655 w 4741"/>
                  <a:gd name="T51" fmla="*/ 662 h 14059"/>
                  <a:gd name="T52" fmla="*/ 4675 w 4741"/>
                  <a:gd name="T53" fmla="*/ 712 h 14059"/>
                  <a:gd name="T54" fmla="*/ 4692 w 4741"/>
                  <a:gd name="T55" fmla="*/ 763 h 14059"/>
                  <a:gd name="T56" fmla="*/ 4706 w 4741"/>
                  <a:gd name="T57" fmla="*/ 814 h 14059"/>
                  <a:gd name="T58" fmla="*/ 4719 w 4741"/>
                  <a:gd name="T59" fmla="*/ 866 h 14059"/>
                  <a:gd name="T60" fmla="*/ 4728 w 4741"/>
                  <a:gd name="T61" fmla="*/ 919 h 14059"/>
                  <a:gd name="T62" fmla="*/ 4735 w 4741"/>
                  <a:gd name="T63" fmla="*/ 973 h 14059"/>
                  <a:gd name="T64" fmla="*/ 4740 w 4741"/>
                  <a:gd name="T65" fmla="*/ 1028 h 14059"/>
                  <a:gd name="T66" fmla="*/ 4741 w 4741"/>
                  <a:gd name="T67" fmla="*/ 1084 h 14059"/>
                  <a:gd name="T68" fmla="*/ 4741 w 4741"/>
                  <a:gd name="T69" fmla="*/ 14059 h 14059"/>
                  <a:gd name="T70" fmla="*/ 0 w 4741"/>
                  <a:gd name="T71" fmla="*/ 0 h 140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41" h="14059">
                    <a:moveTo>
                      <a:pt x="0" y="0"/>
                    </a:moveTo>
                    <a:lnTo>
                      <a:pt x="3656" y="0"/>
                    </a:lnTo>
                    <a:lnTo>
                      <a:pt x="3712" y="1"/>
                    </a:lnTo>
                    <a:lnTo>
                      <a:pt x="3767" y="4"/>
                    </a:lnTo>
                    <a:lnTo>
                      <a:pt x="3820" y="12"/>
                    </a:lnTo>
                    <a:lnTo>
                      <a:pt x="3874" y="22"/>
                    </a:lnTo>
                    <a:lnTo>
                      <a:pt x="3926" y="34"/>
                    </a:lnTo>
                    <a:lnTo>
                      <a:pt x="3978" y="49"/>
                    </a:lnTo>
                    <a:lnTo>
                      <a:pt x="4028" y="66"/>
                    </a:lnTo>
                    <a:lnTo>
                      <a:pt x="4077" y="85"/>
                    </a:lnTo>
                    <a:lnTo>
                      <a:pt x="4125" y="107"/>
                    </a:lnTo>
                    <a:lnTo>
                      <a:pt x="4172" y="131"/>
                    </a:lnTo>
                    <a:lnTo>
                      <a:pt x="4217" y="157"/>
                    </a:lnTo>
                    <a:lnTo>
                      <a:pt x="4262" y="186"/>
                    </a:lnTo>
                    <a:lnTo>
                      <a:pt x="4304" y="215"/>
                    </a:lnTo>
                    <a:lnTo>
                      <a:pt x="4345" y="247"/>
                    </a:lnTo>
                    <a:lnTo>
                      <a:pt x="4385" y="281"/>
                    </a:lnTo>
                    <a:lnTo>
                      <a:pt x="4422" y="318"/>
                    </a:lnTo>
                    <a:lnTo>
                      <a:pt x="4458" y="356"/>
                    </a:lnTo>
                    <a:lnTo>
                      <a:pt x="4492" y="395"/>
                    </a:lnTo>
                    <a:lnTo>
                      <a:pt x="4525" y="436"/>
                    </a:lnTo>
                    <a:lnTo>
                      <a:pt x="4555" y="479"/>
                    </a:lnTo>
                    <a:lnTo>
                      <a:pt x="4583" y="523"/>
                    </a:lnTo>
                    <a:lnTo>
                      <a:pt x="4609" y="568"/>
                    </a:lnTo>
                    <a:lnTo>
                      <a:pt x="4633" y="614"/>
                    </a:lnTo>
                    <a:lnTo>
                      <a:pt x="4655" y="662"/>
                    </a:lnTo>
                    <a:lnTo>
                      <a:pt x="4675" y="712"/>
                    </a:lnTo>
                    <a:lnTo>
                      <a:pt x="4692" y="763"/>
                    </a:lnTo>
                    <a:lnTo>
                      <a:pt x="4706" y="814"/>
                    </a:lnTo>
                    <a:lnTo>
                      <a:pt x="4719" y="866"/>
                    </a:lnTo>
                    <a:lnTo>
                      <a:pt x="4728" y="919"/>
                    </a:lnTo>
                    <a:lnTo>
                      <a:pt x="4735" y="973"/>
                    </a:lnTo>
                    <a:lnTo>
                      <a:pt x="4740" y="1028"/>
                    </a:lnTo>
                    <a:lnTo>
                      <a:pt x="4741" y="1084"/>
                    </a:lnTo>
                    <a:lnTo>
                      <a:pt x="4741" y="1405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rgbClr val="FFFFFF">
                      <a:alpha val="0"/>
                    </a:srgbClr>
                  </a:gs>
                  <a:gs pos="0">
                    <a:srgbClr val="FFFFFF">
                      <a:alpha val="50000"/>
                    </a:srgb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2" name="Freeform 27"/>
              <p:cNvSpPr>
                <a:spLocks/>
              </p:cNvSpPr>
              <p:nvPr/>
            </p:nvSpPr>
            <p:spPr bwMode="auto">
              <a:xfrm>
                <a:off x="3000179" y="531778"/>
                <a:ext cx="430185" cy="88894"/>
              </a:xfrm>
              <a:custGeom>
                <a:avLst/>
                <a:gdLst>
                  <a:gd name="T0" fmla="*/ 1456 w 1626"/>
                  <a:gd name="T1" fmla="*/ 0 h 338"/>
                  <a:gd name="T2" fmla="*/ 1490 w 1626"/>
                  <a:gd name="T3" fmla="*/ 3 h 338"/>
                  <a:gd name="T4" fmla="*/ 1522 w 1626"/>
                  <a:gd name="T5" fmla="*/ 12 h 338"/>
                  <a:gd name="T6" fmla="*/ 1550 w 1626"/>
                  <a:gd name="T7" fmla="*/ 28 h 338"/>
                  <a:gd name="T8" fmla="*/ 1576 w 1626"/>
                  <a:gd name="T9" fmla="*/ 49 h 338"/>
                  <a:gd name="T10" fmla="*/ 1597 w 1626"/>
                  <a:gd name="T11" fmla="*/ 74 h 338"/>
                  <a:gd name="T12" fmla="*/ 1612 w 1626"/>
                  <a:gd name="T13" fmla="*/ 104 h 338"/>
                  <a:gd name="T14" fmla="*/ 1622 w 1626"/>
                  <a:gd name="T15" fmla="*/ 135 h 338"/>
                  <a:gd name="T16" fmla="*/ 1626 w 1626"/>
                  <a:gd name="T17" fmla="*/ 169 h 338"/>
                  <a:gd name="T18" fmla="*/ 1625 w 1626"/>
                  <a:gd name="T19" fmla="*/ 187 h 338"/>
                  <a:gd name="T20" fmla="*/ 1618 w 1626"/>
                  <a:gd name="T21" fmla="*/ 220 h 338"/>
                  <a:gd name="T22" fmla="*/ 1605 w 1626"/>
                  <a:gd name="T23" fmla="*/ 249 h 338"/>
                  <a:gd name="T24" fmla="*/ 1587 w 1626"/>
                  <a:gd name="T25" fmla="*/ 277 h 338"/>
                  <a:gd name="T26" fmla="*/ 1564 w 1626"/>
                  <a:gd name="T27" fmla="*/ 300 h 338"/>
                  <a:gd name="T28" fmla="*/ 1537 w 1626"/>
                  <a:gd name="T29" fmla="*/ 318 h 338"/>
                  <a:gd name="T30" fmla="*/ 1506 w 1626"/>
                  <a:gd name="T31" fmla="*/ 330 h 338"/>
                  <a:gd name="T32" fmla="*/ 1474 w 1626"/>
                  <a:gd name="T33" fmla="*/ 337 h 338"/>
                  <a:gd name="T34" fmla="*/ 170 w 1626"/>
                  <a:gd name="T35" fmla="*/ 338 h 338"/>
                  <a:gd name="T36" fmla="*/ 136 w 1626"/>
                  <a:gd name="T37" fmla="*/ 335 h 338"/>
                  <a:gd name="T38" fmla="*/ 104 w 1626"/>
                  <a:gd name="T39" fmla="*/ 325 h 338"/>
                  <a:gd name="T40" fmla="*/ 76 w 1626"/>
                  <a:gd name="T41" fmla="*/ 310 h 338"/>
                  <a:gd name="T42" fmla="*/ 51 w 1626"/>
                  <a:gd name="T43" fmla="*/ 288 h 338"/>
                  <a:gd name="T44" fmla="*/ 30 w 1626"/>
                  <a:gd name="T45" fmla="*/ 263 h 338"/>
                  <a:gd name="T46" fmla="*/ 14 w 1626"/>
                  <a:gd name="T47" fmla="*/ 235 h 338"/>
                  <a:gd name="T48" fmla="*/ 4 w 1626"/>
                  <a:gd name="T49" fmla="*/ 203 h 338"/>
                  <a:gd name="T50" fmla="*/ 0 w 1626"/>
                  <a:gd name="T51" fmla="*/ 169 h 338"/>
                  <a:gd name="T52" fmla="*/ 1 w 1626"/>
                  <a:gd name="T53" fmla="*/ 151 h 338"/>
                  <a:gd name="T54" fmla="*/ 8 w 1626"/>
                  <a:gd name="T55" fmla="*/ 118 h 338"/>
                  <a:gd name="T56" fmla="*/ 21 w 1626"/>
                  <a:gd name="T57" fmla="*/ 89 h 338"/>
                  <a:gd name="T58" fmla="*/ 39 w 1626"/>
                  <a:gd name="T59" fmla="*/ 61 h 338"/>
                  <a:gd name="T60" fmla="*/ 62 w 1626"/>
                  <a:gd name="T61" fmla="*/ 39 h 338"/>
                  <a:gd name="T62" fmla="*/ 89 w 1626"/>
                  <a:gd name="T63" fmla="*/ 20 h 338"/>
                  <a:gd name="T64" fmla="*/ 120 w 1626"/>
                  <a:gd name="T65" fmla="*/ 7 h 338"/>
                  <a:gd name="T66" fmla="*/ 153 w 1626"/>
                  <a:gd name="T67" fmla="*/ 1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26" h="338">
                    <a:moveTo>
                      <a:pt x="170" y="0"/>
                    </a:moveTo>
                    <a:lnTo>
                      <a:pt x="1456" y="0"/>
                    </a:lnTo>
                    <a:lnTo>
                      <a:pt x="1474" y="1"/>
                    </a:lnTo>
                    <a:lnTo>
                      <a:pt x="1490" y="3"/>
                    </a:lnTo>
                    <a:lnTo>
                      <a:pt x="1506" y="7"/>
                    </a:lnTo>
                    <a:lnTo>
                      <a:pt x="1522" y="12"/>
                    </a:lnTo>
                    <a:lnTo>
                      <a:pt x="1537" y="20"/>
                    </a:lnTo>
                    <a:lnTo>
                      <a:pt x="1550" y="28"/>
                    </a:lnTo>
                    <a:lnTo>
                      <a:pt x="1564" y="39"/>
                    </a:lnTo>
                    <a:lnTo>
                      <a:pt x="1576" y="49"/>
                    </a:lnTo>
                    <a:lnTo>
                      <a:pt x="1587" y="61"/>
                    </a:lnTo>
                    <a:lnTo>
                      <a:pt x="1597" y="74"/>
                    </a:lnTo>
                    <a:lnTo>
                      <a:pt x="1605" y="89"/>
                    </a:lnTo>
                    <a:lnTo>
                      <a:pt x="1612" y="104"/>
                    </a:lnTo>
                    <a:lnTo>
                      <a:pt x="1618" y="118"/>
                    </a:lnTo>
                    <a:lnTo>
                      <a:pt x="1622" y="135"/>
                    </a:lnTo>
                    <a:lnTo>
                      <a:pt x="1625" y="151"/>
                    </a:lnTo>
                    <a:lnTo>
                      <a:pt x="1626" y="169"/>
                    </a:lnTo>
                    <a:lnTo>
                      <a:pt x="1626" y="169"/>
                    </a:lnTo>
                    <a:lnTo>
                      <a:pt x="1625" y="187"/>
                    </a:lnTo>
                    <a:lnTo>
                      <a:pt x="1622" y="203"/>
                    </a:lnTo>
                    <a:lnTo>
                      <a:pt x="1618" y="220"/>
                    </a:lnTo>
                    <a:lnTo>
                      <a:pt x="1612" y="235"/>
                    </a:lnTo>
                    <a:lnTo>
                      <a:pt x="1605" y="249"/>
                    </a:lnTo>
                    <a:lnTo>
                      <a:pt x="1597" y="263"/>
                    </a:lnTo>
                    <a:lnTo>
                      <a:pt x="1587" y="277"/>
                    </a:lnTo>
                    <a:lnTo>
                      <a:pt x="1576" y="288"/>
                    </a:lnTo>
                    <a:lnTo>
                      <a:pt x="1564" y="300"/>
                    </a:lnTo>
                    <a:lnTo>
                      <a:pt x="1550" y="310"/>
                    </a:lnTo>
                    <a:lnTo>
                      <a:pt x="1537" y="318"/>
                    </a:lnTo>
                    <a:lnTo>
                      <a:pt x="1522" y="325"/>
                    </a:lnTo>
                    <a:lnTo>
                      <a:pt x="1506" y="330"/>
                    </a:lnTo>
                    <a:lnTo>
                      <a:pt x="1490" y="335"/>
                    </a:lnTo>
                    <a:lnTo>
                      <a:pt x="1474" y="337"/>
                    </a:lnTo>
                    <a:lnTo>
                      <a:pt x="1456" y="338"/>
                    </a:lnTo>
                    <a:lnTo>
                      <a:pt x="170" y="338"/>
                    </a:lnTo>
                    <a:lnTo>
                      <a:pt x="153" y="337"/>
                    </a:lnTo>
                    <a:lnTo>
                      <a:pt x="136" y="335"/>
                    </a:lnTo>
                    <a:lnTo>
                      <a:pt x="120" y="330"/>
                    </a:lnTo>
                    <a:lnTo>
                      <a:pt x="104" y="325"/>
                    </a:lnTo>
                    <a:lnTo>
                      <a:pt x="89" y="318"/>
                    </a:lnTo>
                    <a:lnTo>
                      <a:pt x="76" y="310"/>
                    </a:lnTo>
                    <a:lnTo>
                      <a:pt x="62" y="300"/>
                    </a:lnTo>
                    <a:lnTo>
                      <a:pt x="51" y="288"/>
                    </a:lnTo>
                    <a:lnTo>
                      <a:pt x="39" y="277"/>
                    </a:lnTo>
                    <a:lnTo>
                      <a:pt x="30" y="263"/>
                    </a:lnTo>
                    <a:lnTo>
                      <a:pt x="21" y="249"/>
                    </a:lnTo>
                    <a:lnTo>
                      <a:pt x="14" y="235"/>
                    </a:lnTo>
                    <a:lnTo>
                      <a:pt x="8" y="220"/>
                    </a:lnTo>
                    <a:lnTo>
                      <a:pt x="4" y="203"/>
                    </a:lnTo>
                    <a:lnTo>
                      <a:pt x="1" y="187"/>
                    </a:lnTo>
                    <a:lnTo>
                      <a:pt x="0" y="169"/>
                    </a:lnTo>
                    <a:lnTo>
                      <a:pt x="0" y="169"/>
                    </a:lnTo>
                    <a:lnTo>
                      <a:pt x="1" y="151"/>
                    </a:lnTo>
                    <a:lnTo>
                      <a:pt x="4" y="135"/>
                    </a:lnTo>
                    <a:lnTo>
                      <a:pt x="8" y="118"/>
                    </a:lnTo>
                    <a:lnTo>
                      <a:pt x="14" y="104"/>
                    </a:lnTo>
                    <a:lnTo>
                      <a:pt x="21" y="89"/>
                    </a:lnTo>
                    <a:lnTo>
                      <a:pt x="30" y="74"/>
                    </a:lnTo>
                    <a:lnTo>
                      <a:pt x="39" y="61"/>
                    </a:lnTo>
                    <a:lnTo>
                      <a:pt x="51" y="49"/>
                    </a:lnTo>
                    <a:lnTo>
                      <a:pt x="62" y="39"/>
                    </a:lnTo>
                    <a:lnTo>
                      <a:pt x="76" y="28"/>
                    </a:lnTo>
                    <a:lnTo>
                      <a:pt x="89" y="20"/>
                    </a:lnTo>
                    <a:lnTo>
                      <a:pt x="104" y="12"/>
                    </a:lnTo>
                    <a:lnTo>
                      <a:pt x="120" y="7"/>
                    </a:lnTo>
                    <a:lnTo>
                      <a:pt x="136" y="3"/>
                    </a:lnTo>
                    <a:lnTo>
                      <a:pt x="153" y="1"/>
                    </a:lnTo>
                    <a:lnTo>
                      <a:pt x="17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060606"/>
                  </a:gs>
                  <a:gs pos="62000">
                    <a:srgbClr val="3C3C3C"/>
                  </a:gs>
                  <a:gs pos="45000">
                    <a:srgbClr val="404040"/>
                  </a:gs>
                  <a:gs pos="0">
                    <a:srgbClr val="000000"/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3" name="Freeform 28"/>
              <p:cNvSpPr>
                <a:spLocks/>
              </p:cNvSpPr>
              <p:nvPr/>
            </p:nvSpPr>
            <p:spPr bwMode="auto">
              <a:xfrm>
                <a:off x="3025576" y="546063"/>
                <a:ext cx="379388" cy="52385"/>
              </a:xfrm>
              <a:custGeom>
                <a:avLst/>
                <a:gdLst>
                  <a:gd name="T0" fmla="*/ 1360 w 1434"/>
                  <a:gd name="T1" fmla="*/ 0 h 200"/>
                  <a:gd name="T2" fmla="*/ 1375 w 1434"/>
                  <a:gd name="T3" fmla="*/ 3 h 200"/>
                  <a:gd name="T4" fmla="*/ 1388 w 1434"/>
                  <a:gd name="T5" fmla="*/ 6 h 200"/>
                  <a:gd name="T6" fmla="*/ 1401 w 1434"/>
                  <a:gd name="T7" fmla="*/ 13 h 200"/>
                  <a:gd name="T8" fmla="*/ 1412 w 1434"/>
                  <a:gd name="T9" fmla="*/ 22 h 200"/>
                  <a:gd name="T10" fmla="*/ 1421 w 1434"/>
                  <a:gd name="T11" fmla="*/ 33 h 200"/>
                  <a:gd name="T12" fmla="*/ 1428 w 1434"/>
                  <a:gd name="T13" fmla="*/ 46 h 200"/>
                  <a:gd name="T14" fmla="*/ 1433 w 1434"/>
                  <a:gd name="T15" fmla="*/ 60 h 200"/>
                  <a:gd name="T16" fmla="*/ 1434 w 1434"/>
                  <a:gd name="T17" fmla="*/ 75 h 200"/>
                  <a:gd name="T18" fmla="*/ 1434 w 1434"/>
                  <a:gd name="T19" fmla="*/ 134 h 200"/>
                  <a:gd name="T20" fmla="*/ 1430 w 1434"/>
                  <a:gd name="T21" fmla="*/ 147 h 200"/>
                  <a:gd name="T22" fmla="*/ 1425 w 1434"/>
                  <a:gd name="T23" fmla="*/ 161 h 200"/>
                  <a:gd name="T24" fmla="*/ 1417 w 1434"/>
                  <a:gd name="T25" fmla="*/ 172 h 200"/>
                  <a:gd name="T26" fmla="*/ 1407 w 1434"/>
                  <a:gd name="T27" fmla="*/ 183 h 200"/>
                  <a:gd name="T28" fmla="*/ 1395 w 1434"/>
                  <a:gd name="T29" fmla="*/ 191 h 200"/>
                  <a:gd name="T30" fmla="*/ 1381 w 1434"/>
                  <a:gd name="T31" fmla="*/ 196 h 200"/>
                  <a:gd name="T32" fmla="*/ 1367 w 1434"/>
                  <a:gd name="T33" fmla="*/ 200 h 200"/>
                  <a:gd name="T34" fmla="*/ 75 w 1434"/>
                  <a:gd name="T35" fmla="*/ 200 h 200"/>
                  <a:gd name="T36" fmla="*/ 59 w 1434"/>
                  <a:gd name="T37" fmla="*/ 199 h 200"/>
                  <a:gd name="T38" fmla="*/ 46 w 1434"/>
                  <a:gd name="T39" fmla="*/ 194 h 200"/>
                  <a:gd name="T40" fmla="*/ 33 w 1434"/>
                  <a:gd name="T41" fmla="*/ 187 h 200"/>
                  <a:gd name="T42" fmla="*/ 22 w 1434"/>
                  <a:gd name="T43" fmla="*/ 178 h 200"/>
                  <a:gd name="T44" fmla="*/ 13 w 1434"/>
                  <a:gd name="T45" fmla="*/ 167 h 200"/>
                  <a:gd name="T46" fmla="*/ 6 w 1434"/>
                  <a:gd name="T47" fmla="*/ 154 h 200"/>
                  <a:gd name="T48" fmla="*/ 2 w 1434"/>
                  <a:gd name="T49" fmla="*/ 140 h 200"/>
                  <a:gd name="T50" fmla="*/ 0 w 1434"/>
                  <a:gd name="T51" fmla="*/ 126 h 200"/>
                  <a:gd name="T52" fmla="*/ 1 w 1434"/>
                  <a:gd name="T53" fmla="*/ 68 h 200"/>
                  <a:gd name="T54" fmla="*/ 4 w 1434"/>
                  <a:gd name="T55" fmla="*/ 53 h 200"/>
                  <a:gd name="T56" fmla="*/ 9 w 1434"/>
                  <a:gd name="T57" fmla="*/ 39 h 200"/>
                  <a:gd name="T58" fmla="*/ 17 w 1434"/>
                  <a:gd name="T59" fmla="*/ 28 h 200"/>
                  <a:gd name="T60" fmla="*/ 28 w 1434"/>
                  <a:gd name="T61" fmla="*/ 17 h 200"/>
                  <a:gd name="T62" fmla="*/ 40 w 1434"/>
                  <a:gd name="T63" fmla="*/ 9 h 200"/>
                  <a:gd name="T64" fmla="*/ 53 w 1434"/>
                  <a:gd name="T65" fmla="*/ 4 h 200"/>
                  <a:gd name="T66" fmla="*/ 67 w 1434"/>
                  <a:gd name="T67" fmla="*/ 1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4" h="200">
                    <a:moveTo>
                      <a:pt x="75" y="0"/>
                    </a:moveTo>
                    <a:lnTo>
                      <a:pt x="1360" y="0"/>
                    </a:lnTo>
                    <a:lnTo>
                      <a:pt x="1367" y="1"/>
                    </a:lnTo>
                    <a:lnTo>
                      <a:pt x="1375" y="3"/>
                    </a:lnTo>
                    <a:lnTo>
                      <a:pt x="1381" y="4"/>
                    </a:lnTo>
                    <a:lnTo>
                      <a:pt x="1388" y="6"/>
                    </a:lnTo>
                    <a:lnTo>
                      <a:pt x="1395" y="9"/>
                    </a:lnTo>
                    <a:lnTo>
                      <a:pt x="1401" y="13"/>
                    </a:lnTo>
                    <a:lnTo>
                      <a:pt x="1407" y="17"/>
                    </a:lnTo>
                    <a:lnTo>
                      <a:pt x="1412" y="22"/>
                    </a:lnTo>
                    <a:lnTo>
                      <a:pt x="1417" y="28"/>
                    </a:lnTo>
                    <a:lnTo>
                      <a:pt x="1421" y="33"/>
                    </a:lnTo>
                    <a:lnTo>
                      <a:pt x="1425" y="39"/>
                    </a:lnTo>
                    <a:lnTo>
                      <a:pt x="1428" y="46"/>
                    </a:lnTo>
                    <a:lnTo>
                      <a:pt x="1430" y="53"/>
                    </a:lnTo>
                    <a:lnTo>
                      <a:pt x="1433" y="60"/>
                    </a:lnTo>
                    <a:lnTo>
                      <a:pt x="1434" y="68"/>
                    </a:lnTo>
                    <a:lnTo>
                      <a:pt x="1434" y="75"/>
                    </a:lnTo>
                    <a:lnTo>
                      <a:pt x="1434" y="126"/>
                    </a:lnTo>
                    <a:lnTo>
                      <a:pt x="1434" y="134"/>
                    </a:lnTo>
                    <a:lnTo>
                      <a:pt x="1433" y="140"/>
                    </a:lnTo>
                    <a:lnTo>
                      <a:pt x="1430" y="147"/>
                    </a:lnTo>
                    <a:lnTo>
                      <a:pt x="1428" y="154"/>
                    </a:lnTo>
                    <a:lnTo>
                      <a:pt x="1425" y="161"/>
                    </a:lnTo>
                    <a:lnTo>
                      <a:pt x="1421" y="167"/>
                    </a:lnTo>
                    <a:lnTo>
                      <a:pt x="1417" y="172"/>
                    </a:lnTo>
                    <a:lnTo>
                      <a:pt x="1412" y="178"/>
                    </a:lnTo>
                    <a:lnTo>
                      <a:pt x="1407" y="183"/>
                    </a:lnTo>
                    <a:lnTo>
                      <a:pt x="1401" y="187"/>
                    </a:lnTo>
                    <a:lnTo>
                      <a:pt x="1395" y="191"/>
                    </a:lnTo>
                    <a:lnTo>
                      <a:pt x="1388" y="194"/>
                    </a:lnTo>
                    <a:lnTo>
                      <a:pt x="1381" y="196"/>
                    </a:lnTo>
                    <a:lnTo>
                      <a:pt x="1375" y="199"/>
                    </a:lnTo>
                    <a:lnTo>
                      <a:pt x="1367" y="200"/>
                    </a:lnTo>
                    <a:lnTo>
                      <a:pt x="1360" y="200"/>
                    </a:lnTo>
                    <a:lnTo>
                      <a:pt x="75" y="200"/>
                    </a:lnTo>
                    <a:lnTo>
                      <a:pt x="67" y="200"/>
                    </a:lnTo>
                    <a:lnTo>
                      <a:pt x="59" y="199"/>
                    </a:lnTo>
                    <a:lnTo>
                      <a:pt x="53" y="196"/>
                    </a:lnTo>
                    <a:lnTo>
                      <a:pt x="46" y="194"/>
                    </a:lnTo>
                    <a:lnTo>
                      <a:pt x="40" y="191"/>
                    </a:lnTo>
                    <a:lnTo>
                      <a:pt x="33" y="187"/>
                    </a:lnTo>
                    <a:lnTo>
                      <a:pt x="28" y="183"/>
                    </a:lnTo>
                    <a:lnTo>
                      <a:pt x="22" y="178"/>
                    </a:lnTo>
                    <a:lnTo>
                      <a:pt x="17" y="172"/>
                    </a:lnTo>
                    <a:lnTo>
                      <a:pt x="13" y="167"/>
                    </a:lnTo>
                    <a:lnTo>
                      <a:pt x="9" y="161"/>
                    </a:lnTo>
                    <a:lnTo>
                      <a:pt x="6" y="154"/>
                    </a:lnTo>
                    <a:lnTo>
                      <a:pt x="4" y="147"/>
                    </a:lnTo>
                    <a:lnTo>
                      <a:pt x="2" y="140"/>
                    </a:lnTo>
                    <a:lnTo>
                      <a:pt x="1" y="134"/>
                    </a:lnTo>
                    <a:lnTo>
                      <a:pt x="0" y="126"/>
                    </a:lnTo>
                    <a:lnTo>
                      <a:pt x="0" y="75"/>
                    </a:lnTo>
                    <a:lnTo>
                      <a:pt x="1" y="68"/>
                    </a:lnTo>
                    <a:lnTo>
                      <a:pt x="2" y="60"/>
                    </a:lnTo>
                    <a:lnTo>
                      <a:pt x="4" y="53"/>
                    </a:lnTo>
                    <a:lnTo>
                      <a:pt x="6" y="46"/>
                    </a:lnTo>
                    <a:lnTo>
                      <a:pt x="9" y="39"/>
                    </a:lnTo>
                    <a:lnTo>
                      <a:pt x="13" y="33"/>
                    </a:lnTo>
                    <a:lnTo>
                      <a:pt x="17" y="28"/>
                    </a:lnTo>
                    <a:lnTo>
                      <a:pt x="22" y="22"/>
                    </a:lnTo>
                    <a:lnTo>
                      <a:pt x="28" y="17"/>
                    </a:lnTo>
                    <a:lnTo>
                      <a:pt x="33" y="13"/>
                    </a:lnTo>
                    <a:lnTo>
                      <a:pt x="40" y="9"/>
                    </a:lnTo>
                    <a:lnTo>
                      <a:pt x="46" y="6"/>
                    </a:lnTo>
                    <a:lnTo>
                      <a:pt x="53" y="4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close/>
                  </a:path>
                </a:pathLst>
              </a:custGeom>
              <a:pattFill prst="pct60">
                <a:fgClr>
                  <a:srgbClr val="595959"/>
                </a:fgClr>
                <a:bgClr>
                  <a:schemeClr val="tx1">
                    <a:lumMod val="85000"/>
                    <a:lumOff val="15000"/>
                  </a:schemeClr>
                </a:bgClr>
              </a:patt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4" name="Freeform 29"/>
              <p:cNvSpPr>
                <a:spLocks/>
              </p:cNvSpPr>
              <p:nvPr/>
            </p:nvSpPr>
            <p:spPr bwMode="auto">
              <a:xfrm>
                <a:off x="3173201" y="353990"/>
                <a:ext cx="92069" cy="90482"/>
              </a:xfrm>
              <a:custGeom>
                <a:avLst/>
                <a:gdLst>
                  <a:gd name="T0" fmla="*/ 189 w 345"/>
                  <a:gd name="T1" fmla="*/ 1 h 344"/>
                  <a:gd name="T2" fmla="*/ 224 w 345"/>
                  <a:gd name="T3" fmla="*/ 8 h 344"/>
                  <a:gd name="T4" fmla="*/ 254 w 345"/>
                  <a:gd name="T5" fmla="*/ 21 h 344"/>
                  <a:gd name="T6" fmla="*/ 282 w 345"/>
                  <a:gd name="T7" fmla="*/ 39 h 344"/>
                  <a:gd name="T8" fmla="*/ 305 w 345"/>
                  <a:gd name="T9" fmla="*/ 63 h 344"/>
                  <a:gd name="T10" fmla="*/ 324 w 345"/>
                  <a:gd name="T11" fmla="*/ 90 h 344"/>
                  <a:gd name="T12" fmla="*/ 337 w 345"/>
                  <a:gd name="T13" fmla="*/ 121 h 344"/>
                  <a:gd name="T14" fmla="*/ 343 w 345"/>
                  <a:gd name="T15" fmla="*/ 154 h 344"/>
                  <a:gd name="T16" fmla="*/ 343 w 345"/>
                  <a:gd name="T17" fmla="*/ 189 h 344"/>
                  <a:gd name="T18" fmla="*/ 337 w 345"/>
                  <a:gd name="T19" fmla="*/ 224 h 344"/>
                  <a:gd name="T20" fmla="*/ 324 w 345"/>
                  <a:gd name="T21" fmla="*/ 254 h 344"/>
                  <a:gd name="T22" fmla="*/ 305 w 345"/>
                  <a:gd name="T23" fmla="*/ 282 h 344"/>
                  <a:gd name="T24" fmla="*/ 282 w 345"/>
                  <a:gd name="T25" fmla="*/ 304 h 344"/>
                  <a:gd name="T26" fmla="*/ 254 w 345"/>
                  <a:gd name="T27" fmla="*/ 324 h 344"/>
                  <a:gd name="T28" fmla="*/ 224 w 345"/>
                  <a:gd name="T29" fmla="*/ 336 h 344"/>
                  <a:gd name="T30" fmla="*/ 189 w 345"/>
                  <a:gd name="T31" fmla="*/ 343 h 344"/>
                  <a:gd name="T32" fmla="*/ 155 w 345"/>
                  <a:gd name="T33" fmla="*/ 343 h 344"/>
                  <a:gd name="T34" fmla="*/ 121 w 345"/>
                  <a:gd name="T35" fmla="*/ 336 h 344"/>
                  <a:gd name="T36" fmla="*/ 90 w 345"/>
                  <a:gd name="T37" fmla="*/ 324 h 344"/>
                  <a:gd name="T38" fmla="*/ 63 w 345"/>
                  <a:gd name="T39" fmla="*/ 304 h 344"/>
                  <a:gd name="T40" fmla="*/ 39 w 345"/>
                  <a:gd name="T41" fmla="*/ 282 h 344"/>
                  <a:gd name="T42" fmla="*/ 21 w 345"/>
                  <a:gd name="T43" fmla="*/ 254 h 344"/>
                  <a:gd name="T44" fmla="*/ 8 w 345"/>
                  <a:gd name="T45" fmla="*/ 224 h 344"/>
                  <a:gd name="T46" fmla="*/ 1 w 345"/>
                  <a:gd name="T47" fmla="*/ 189 h 344"/>
                  <a:gd name="T48" fmla="*/ 1 w 345"/>
                  <a:gd name="T49" fmla="*/ 154 h 344"/>
                  <a:gd name="T50" fmla="*/ 8 w 345"/>
                  <a:gd name="T51" fmla="*/ 121 h 344"/>
                  <a:gd name="T52" fmla="*/ 21 w 345"/>
                  <a:gd name="T53" fmla="*/ 90 h 344"/>
                  <a:gd name="T54" fmla="*/ 39 w 345"/>
                  <a:gd name="T55" fmla="*/ 63 h 344"/>
                  <a:gd name="T56" fmla="*/ 63 w 345"/>
                  <a:gd name="T57" fmla="*/ 39 h 344"/>
                  <a:gd name="T58" fmla="*/ 90 w 345"/>
                  <a:gd name="T59" fmla="*/ 21 h 344"/>
                  <a:gd name="T60" fmla="*/ 121 w 345"/>
                  <a:gd name="T61" fmla="*/ 8 h 344"/>
                  <a:gd name="T62" fmla="*/ 155 w 345"/>
                  <a:gd name="T63" fmla="*/ 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5" h="344">
                    <a:moveTo>
                      <a:pt x="172" y="0"/>
                    </a:moveTo>
                    <a:lnTo>
                      <a:pt x="189" y="1"/>
                    </a:lnTo>
                    <a:lnTo>
                      <a:pt x="207" y="3"/>
                    </a:lnTo>
                    <a:lnTo>
                      <a:pt x="224" y="8"/>
                    </a:lnTo>
                    <a:lnTo>
                      <a:pt x="240" y="14"/>
                    </a:lnTo>
                    <a:lnTo>
                      <a:pt x="254" y="21"/>
                    </a:lnTo>
                    <a:lnTo>
                      <a:pt x="268" y="30"/>
                    </a:lnTo>
                    <a:lnTo>
                      <a:pt x="282" y="39"/>
                    </a:lnTo>
                    <a:lnTo>
                      <a:pt x="294" y="50"/>
                    </a:lnTo>
                    <a:lnTo>
                      <a:pt x="305" y="63"/>
                    </a:lnTo>
                    <a:lnTo>
                      <a:pt x="315" y="75"/>
                    </a:lnTo>
                    <a:lnTo>
                      <a:pt x="324" y="90"/>
                    </a:lnTo>
                    <a:lnTo>
                      <a:pt x="331" y="105"/>
                    </a:lnTo>
                    <a:lnTo>
                      <a:pt x="337" y="121"/>
                    </a:lnTo>
                    <a:lnTo>
                      <a:pt x="341" y="137"/>
                    </a:lnTo>
                    <a:lnTo>
                      <a:pt x="343" y="154"/>
                    </a:lnTo>
                    <a:lnTo>
                      <a:pt x="345" y="172"/>
                    </a:lnTo>
                    <a:lnTo>
                      <a:pt x="343" y="189"/>
                    </a:lnTo>
                    <a:lnTo>
                      <a:pt x="341" y="206"/>
                    </a:lnTo>
                    <a:lnTo>
                      <a:pt x="337" y="224"/>
                    </a:lnTo>
                    <a:lnTo>
                      <a:pt x="331" y="239"/>
                    </a:lnTo>
                    <a:lnTo>
                      <a:pt x="324" y="254"/>
                    </a:lnTo>
                    <a:lnTo>
                      <a:pt x="315" y="268"/>
                    </a:lnTo>
                    <a:lnTo>
                      <a:pt x="305" y="282"/>
                    </a:lnTo>
                    <a:lnTo>
                      <a:pt x="294" y="294"/>
                    </a:lnTo>
                    <a:lnTo>
                      <a:pt x="282" y="304"/>
                    </a:lnTo>
                    <a:lnTo>
                      <a:pt x="268" y="315"/>
                    </a:lnTo>
                    <a:lnTo>
                      <a:pt x="254" y="324"/>
                    </a:lnTo>
                    <a:lnTo>
                      <a:pt x="240" y="331"/>
                    </a:lnTo>
                    <a:lnTo>
                      <a:pt x="224" y="336"/>
                    </a:lnTo>
                    <a:lnTo>
                      <a:pt x="207" y="341"/>
                    </a:lnTo>
                    <a:lnTo>
                      <a:pt x="189" y="343"/>
                    </a:lnTo>
                    <a:lnTo>
                      <a:pt x="172" y="344"/>
                    </a:lnTo>
                    <a:lnTo>
                      <a:pt x="155" y="343"/>
                    </a:lnTo>
                    <a:lnTo>
                      <a:pt x="138" y="341"/>
                    </a:lnTo>
                    <a:lnTo>
                      <a:pt x="121" y="336"/>
                    </a:lnTo>
                    <a:lnTo>
                      <a:pt x="105" y="331"/>
                    </a:lnTo>
                    <a:lnTo>
                      <a:pt x="90" y="324"/>
                    </a:lnTo>
                    <a:lnTo>
                      <a:pt x="76" y="315"/>
                    </a:lnTo>
                    <a:lnTo>
                      <a:pt x="63" y="304"/>
                    </a:lnTo>
                    <a:lnTo>
                      <a:pt x="50" y="294"/>
                    </a:lnTo>
                    <a:lnTo>
                      <a:pt x="39" y="282"/>
                    </a:lnTo>
                    <a:lnTo>
                      <a:pt x="30" y="268"/>
                    </a:lnTo>
                    <a:lnTo>
                      <a:pt x="21" y="254"/>
                    </a:lnTo>
                    <a:lnTo>
                      <a:pt x="14" y="239"/>
                    </a:lnTo>
                    <a:lnTo>
                      <a:pt x="8" y="224"/>
                    </a:lnTo>
                    <a:lnTo>
                      <a:pt x="3" y="206"/>
                    </a:lnTo>
                    <a:lnTo>
                      <a:pt x="1" y="189"/>
                    </a:lnTo>
                    <a:lnTo>
                      <a:pt x="0" y="172"/>
                    </a:lnTo>
                    <a:lnTo>
                      <a:pt x="1" y="154"/>
                    </a:lnTo>
                    <a:lnTo>
                      <a:pt x="3" y="137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0"/>
                    </a:lnTo>
                    <a:lnTo>
                      <a:pt x="30" y="75"/>
                    </a:lnTo>
                    <a:lnTo>
                      <a:pt x="39" y="63"/>
                    </a:lnTo>
                    <a:lnTo>
                      <a:pt x="50" y="50"/>
                    </a:lnTo>
                    <a:lnTo>
                      <a:pt x="63" y="39"/>
                    </a:lnTo>
                    <a:lnTo>
                      <a:pt x="76" y="30"/>
                    </a:lnTo>
                    <a:lnTo>
                      <a:pt x="90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8" y="3"/>
                    </a:lnTo>
                    <a:lnTo>
                      <a:pt x="155" y="1"/>
                    </a:lnTo>
                    <a:lnTo>
                      <a:pt x="172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rgbClr val="404040"/>
                  </a:gs>
                  <a:gs pos="0">
                    <a:srgbClr val="00000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5" name="Freeform 30"/>
              <p:cNvSpPr>
                <a:spLocks/>
              </p:cNvSpPr>
              <p:nvPr/>
            </p:nvSpPr>
            <p:spPr bwMode="auto">
              <a:xfrm>
                <a:off x="3197034" y="376211"/>
                <a:ext cx="44447" cy="44447"/>
              </a:xfrm>
              <a:custGeom>
                <a:avLst/>
                <a:gdLst>
                  <a:gd name="T0" fmla="*/ 93 w 169"/>
                  <a:gd name="T1" fmla="*/ 0 h 169"/>
                  <a:gd name="T2" fmla="*/ 109 w 169"/>
                  <a:gd name="T3" fmla="*/ 3 h 169"/>
                  <a:gd name="T4" fmla="*/ 124 w 169"/>
                  <a:gd name="T5" fmla="*/ 10 h 169"/>
                  <a:gd name="T6" fmla="*/ 138 w 169"/>
                  <a:gd name="T7" fmla="*/ 19 h 169"/>
                  <a:gd name="T8" fmla="*/ 149 w 169"/>
                  <a:gd name="T9" fmla="*/ 31 h 169"/>
                  <a:gd name="T10" fmla="*/ 158 w 169"/>
                  <a:gd name="T11" fmla="*/ 43 h 169"/>
                  <a:gd name="T12" fmla="*/ 165 w 169"/>
                  <a:gd name="T13" fmla="*/ 59 h 169"/>
                  <a:gd name="T14" fmla="*/ 169 w 169"/>
                  <a:gd name="T15" fmla="*/ 75 h 169"/>
                  <a:gd name="T16" fmla="*/ 169 w 169"/>
                  <a:gd name="T17" fmla="*/ 92 h 169"/>
                  <a:gd name="T18" fmla="*/ 165 w 169"/>
                  <a:gd name="T19" fmla="*/ 109 h 169"/>
                  <a:gd name="T20" fmla="*/ 158 w 169"/>
                  <a:gd name="T21" fmla="*/ 124 h 169"/>
                  <a:gd name="T22" fmla="*/ 149 w 169"/>
                  <a:gd name="T23" fmla="*/ 138 h 169"/>
                  <a:gd name="T24" fmla="*/ 138 w 169"/>
                  <a:gd name="T25" fmla="*/ 149 h 169"/>
                  <a:gd name="T26" fmla="*/ 124 w 169"/>
                  <a:gd name="T27" fmla="*/ 158 h 169"/>
                  <a:gd name="T28" fmla="*/ 109 w 169"/>
                  <a:gd name="T29" fmla="*/ 165 h 169"/>
                  <a:gd name="T30" fmla="*/ 93 w 169"/>
                  <a:gd name="T31" fmla="*/ 169 h 169"/>
                  <a:gd name="T32" fmla="*/ 75 w 169"/>
                  <a:gd name="T33" fmla="*/ 169 h 169"/>
                  <a:gd name="T34" fmla="*/ 59 w 169"/>
                  <a:gd name="T35" fmla="*/ 165 h 169"/>
                  <a:gd name="T36" fmla="*/ 44 w 169"/>
                  <a:gd name="T37" fmla="*/ 158 h 169"/>
                  <a:gd name="T38" fmla="*/ 31 w 169"/>
                  <a:gd name="T39" fmla="*/ 149 h 169"/>
                  <a:gd name="T40" fmla="*/ 19 w 169"/>
                  <a:gd name="T41" fmla="*/ 138 h 169"/>
                  <a:gd name="T42" fmla="*/ 10 w 169"/>
                  <a:gd name="T43" fmla="*/ 124 h 169"/>
                  <a:gd name="T44" fmla="*/ 3 w 169"/>
                  <a:gd name="T45" fmla="*/ 109 h 169"/>
                  <a:gd name="T46" fmla="*/ 0 w 169"/>
                  <a:gd name="T47" fmla="*/ 92 h 169"/>
                  <a:gd name="T48" fmla="*/ 0 w 169"/>
                  <a:gd name="T49" fmla="*/ 75 h 169"/>
                  <a:gd name="T50" fmla="*/ 3 w 169"/>
                  <a:gd name="T51" fmla="*/ 59 h 169"/>
                  <a:gd name="T52" fmla="*/ 10 w 169"/>
                  <a:gd name="T53" fmla="*/ 43 h 169"/>
                  <a:gd name="T54" fmla="*/ 19 w 169"/>
                  <a:gd name="T55" fmla="*/ 31 h 169"/>
                  <a:gd name="T56" fmla="*/ 31 w 169"/>
                  <a:gd name="T57" fmla="*/ 19 h 169"/>
                  <a:gd name="T58" fmla="*/ 44 w 169"/>
                  <a:gd name="T59" fmla="*/ 10 h 169"/>
                  <a:gd name="T60" fmla="*/ 59 w 169"/>
                  <a:gd name="T61" fmla="*/ 3 h 169"/>
                  <a:gd name="T62" fmla="*/ 75 w 169"/>
                  <a:gd name="T63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69">
                    <a:moveTo>
                      <a:pt x="84" y="0"/>
                    </a:moveTo>
                    <a:lnTo>
                      <a:pt x="93" y="0"/>
                    </a:lnTo>
                    <a:lnTo>
                      <a:pt x="101" y="1"/>
                    </a:lnTo>
                    <a:lnTo>
                      <a:pt x="109" y="3"/>
                    </a:lnTo>
                    <a:lnTo>
                      <a:pt x="117" y="6"/>
                    </a:lnTo>
                    <a:lnTo>
                      <a:pt x="124" y="10"/>
                    </a:lnTo>
                    <a:lnTo>
                      <a:pt x="132" y="14"/>
                    </a:lnTo>
                    <a:lnTo>
                      <a:pt x="138" y="19"/>
                    </a:lnTo>
                    <a:lnTo>
                      <a:pt x="145" y="24"/>
                    </a:lnTo>
                    <a:lnTo>
                      <a:pt x="149" y="31"/>
                    </a:lnTo>
                    <a:lnTo>
                      <a:pt x="155" y="36"/>
                    </a:lnTo>
                    <a:lnTo>
                      <a:pt x="158" y="43"/>
                    </a:lnTo>
                    <a:lnTo>
                      <a:pt x="162" y="51"/>
                    </a:lnTo>
                    <a:lnTo>
                      <a:pt x="165" y="59"/>
                    </a:lnTo>
                    <a:lnTo>
                      <a:pt x="168" y="67"/>
                    </a:lnTo>
                    <a:lnTo>
                      <a:pt x="169" y="75"/>
                    </a:lnTo>
                    <a:lnTo>
                      <a:pt x="169" y="84"/>
                    </a:lnTo>
                    <a:lnTo>
                      <a:pt x="169" y="92"/>
                    </a:lnTo>
                    <a:lnTo>
                      <a:pt x="168" y="101"/>
                    </a:lnTo>
                    <a:lnTo>
                      <a:pt x="165" y="109"/>
                    </a:lnTo>
                    <a:lnTo>
                      <a:pt x="162" y="117"/>
                    </a:lnTo>
                    <a:lnTo>
                      <a:pt x="158" y="124"/>
                    </a:lnTo>
                    <a:lnTo>
                      <a:pt x="155" y="131"/>
                    </a:lnTo>
                    <a:lnTo>
                      <a:pt x="149" y="138"/>
                    </a:lnTo>
                    <a:lnTo>
                      <a:pt x="145" y="143"/>
                    </a:lnTo>
                    <a:lnTo>
                      <a:pt x="138" y="149"/>
                    </a:lnTo>
                    <a:lnTo>
                      <a:pt x="132" y="155"/>
                    </a:lnTo>
                    <a:lnTo>
                      <a:pt x="124" y="158"/>
                    </a:lnTo>
                    <a:lnTo>
                      <a:pt x="117" y="162"/>
                    </a:lnTo>
                    <a:lnTo>
                      <a:pt x="109" y="165"/>
                    </a:lnTo>
                    <a:lnTo>
                      <a:pt x="101" y="167"/>
                    </a:lnTo>
                    <a:lnTo>
                      <a:pt x="93" y="169"/>
                    </a:lnTo>
                    <a:lnTo>
                      <a:pt x="84" y="169"/>
                    </a:lnTo>
                    <a:lnTo>
                      <a:pt x="75" y="169"/>
                    </a:lnTo>
                    <a:lnTo>
                      <a:pt x="67" y="167"/>
                    </a:lnTo>
                    <a:lnTo>
                      <a:pt x="59" y="165"/>
                    </a:lnTo>
                    <a:lnTo>
                      <a:pt x="51" y="162"/>
                    </a:lnTo>
                    <a:lnTo>
                      <a:pt x="44" y="158"/>
                    </a:lnTo>
                    <a:lnTo>
                      <a:pt x="36" y="155"/>
                    </a:lnTo>
                    <a:lnTo>
                      <a:pt x="31" y="149"/>
                    </a:lnTo>
                    <a:lnTo>
                      <a:pt x="24" y="143"/>
                    </a:lnTo>
                    <a:lnTo>
                      <a:pt x="19" y="138"/>
                    </a:lnTo>
                    <a:lnTo>
                      <a:pt x="14" y="131"/>
                    </a:lnTo>
                    <a:lnTo>
                      <a:pt x="10" y="124"/>
                    </a:lnTo>
                    <a:lnTo>
                      <a:pt x="6" y="117"/>
                    </a:lnTo>
                    <a:lnTo>
                      <a:pt x="3" y="109"/>
                    </a:lnTo>
                    <a:lnTo>
                      <a:pt x="1" y="101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5"/>
                    </a:lnTo>
                    <a:lnTo>
                      <a:pt x="1" y="67"/>
                    </a:lnTo>
                    <a:lnTo>
                      <a:pt x="3" y="59"/>
                    </a:lnTo>
                    <a:lnTo>
                      <a:pt x="6" y="51"/>
                    </a:lnTo>
                    <a:lnTo>
                      <a:pt x="10" y="43"/>
                    </a:lnTo>
                    <a:lnTo>
                      <a:pt x="14" y="36"/>
                    </a:lnTo>
                    <a:lnTo>
                      <a:pt x="19" y="31"/>
                    </a:lnTo>
                    <a:lnTo>
                      <a:pt x="24" y="24"/>
                    </a:lnTo>
                    <a:lnTo>
                      <a:pt x="31" y="19"/>
                    </a:lnTo>
                    <a:lnTo>
                      <a:pt x="36" y="14"/>
                    </a:lnTo>
                    <a:lnTo>
                      <a:pt x="44" y="10"/>
                    </a:lnTo>
                    <a:lnTo>
                      <a:pt x="51" y="6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lnTo>
                      <a:pt x="8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/>
                  </a:gs>
                  <a:gs pos="74000">
                    <a:srgbClr val="00206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6" name="Freeform 31"/>
              <p:cNvSpPr>
                <a:spLocks/>
              </p:cNvSpPr>
              <p:nvPr/>
            </p:nvSpPr>
            <p:spPr bwMode="auto">
              <a:xfrm>
                <a:off x="3203377" y="393675"/>
                <a:ext cx="12699" cy="12699"/>
              </a:xfrm>
              <a:custGeom>
                <a:avLst/>
                <a:gdLst>
                  <a:gd name="T0" fmla="*/ 23 w 46"/>
                  <a:gd name="T1" fmla="*/ 0 h 47"/>
                  <a:gd name="T2" fmla="*/ 27 w 46"/>
                  <a:gd name="T3" fmla="*/ 1 h 47"/>
                  <a:gd name="T4" fmla="*/ 32 w 46"/>
                  <a:gd name="T5" fmla="*/ 2 h 47"/>
                  <a:gd name="T6" fmla="*/ 35 w 46"/>
                  <a:gd name="T7" fmla="*/ 5 h 47"/>
                  <a:gd name="T8" fmla="*/ 39 w 46"/>
                  <a:gd name="T9" fmla="*/ 7 h 47"/>
                  <a:gd name="T10" fmla="*/ 42 w 46"/>
                  <a:gd name="T11" fmla="*/ 10 h 47"/>
                  <a:gd name="T12" fmla="*/ 45 w 46"/>
                  <a:gd name="T13" fmla="*/ 15 h 47"/>
                  <a:gd name="T14" fmla="*/ 46 w 46"/>
                  <a:gd name="T15" fmla="*/ 18 h 47"/>
                  <a:gd name="T16" fmla="*/ 46 w 46"/>
                  <a:gd name="T17" fmla="*/ 24 h 47"/>
                  <a:gd name="T18" fmla="*/ 46 w 46"/>
                  <a:gd name="T19" fmla="*/ 28 h 47"/>
                  <a:gd name="T20" fmla="*/ 45 w 46"/>
                  <a:gd name="T21" fmla="*/ 32 h 47"/>
                  <a:gd name="T22" fmla="*/ 42 w 46"/>
                  <a:gd name="T23" fmla="*/ 36 h 47"/>
                  <a:gd name="T24" fmla="*/ 39 w 46"/>
                  <a:gd name="T25" fmla="*/ 40 h 47"/>
                  <a:gd name="T26" fmla="*/ 35 w 46"/>
                  <a:gd name="T27" fmla="*/ 42 h 47"/>
                  <a:gd name="T28" fmla="*/ 32 w 46"/>
                  <a:gd name="T29" fmla="*/ 44 h 47"/>
                  <a:gd name="T30" fmla="*/ 27 w 46"/>
                  <a:gd name="T31" fmla="*/ 46 h 47"/>
                  <a:gd name="T32" fmla="*/ 23 w 46"/>
                  <a:gd name="T33" fmla="*/ 47 h 47"/>
                  <a:gd name="T34" fmla="*/ 18 w 46"/>
                  <a:gd name="T35" fmla="*/ 46 h 47"/>
                  <a:gd name="T36" fmla="*/ 14 w 46"/>
                  <a:gd name="T37" fmla="*/ 44 h 47"/>
                  <a:gd name="T38" fmla="*/ 10 w 46"/>
                  <a:gd name="T39" fmla="*/ 42 h 47"/>
                  <a:gd name="T40" fmla="*/ 7 w 46"/>
                  <a:gd name="T41" fmla="*/ 40 h 47"/>
                  <a:gd name="T42" fmla="*/ 4 w 46"/>
                  <a:gd name="T43" fmla="*/ 36 h 47"/>
                  <a:gd name="T44" fmla="*/ 1 w 46"/>
                  <a:gd name="T45" fmla="*/ 32 h 47"/>
                  <a:gd name="T46" fmla="*/ 0 w 46"/>
                  <a:gd name="T47" fmla="*/ 28 h 47"/>
                  <a:gd name="T48" fmla="*/ 0 w 46"/>
                  <a:gd name="T49" fmla="*/ 24 h 47"/>
                  <a:gd name="T50" fmla="*/ 0 w 46"/>
                  <a:gd name="T51" fmla="*/ 18 h 47"/>
                  <a:gd name="T52" fmla="*/ 1 w 46"/>
                  <a:gd name="T53" fmla="*/ 15 h 47"/>
                  <a:gd name="T54" fmla="*/ 4 w 46"/>
                  <a:gd name="T55" fmla="*/ 10 h 47"/>
                  <a:gd name="T56" fmla="*/ 7 w 46"/>
                  <a:gd name="T57" fmla="*/ 7 h 47"/>
                  <a:gd name="T58" fmla="*/ 10 w 46"/>
                  <a:gd name="T59" fmla="*/ 5 h 47"/>
                  <a:gd name="T60" fmla="*/ 14 w 46"/>
                  <a:gd name="T61" fmla="*/ 2 h 47"/>
                  <a:gd name="T62" fmla="*/ 18 w 46"/>
                  <a:gd name="T63" fmla="*/ 1 h 47"/>
                  <a:gd name="T64" fmla="*/ 23 w 46"/>
                  <a:gd name="T6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47">
                    <a:moveTo>
                      <a:pt x="23" y="0"/>
                    </a:moveTo>
                    <a:lnTo>
                      <a:pt x="27" y="1"/>
                    </a:lnTo>
                    <a:lnTo>
                      <a:pt x="32" y="2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42" y="10"/>
                    </a:lnTo>
                    <a:lnTo>
                      <a:pt x="45" y="15"/>
                    </a:lnTo>
                    <a:lnTo>
                      <a:pt x="46" y="18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5" y="32"/>
                    </a:lnTo>
                    <a:lnTo>
                      <a:pt x="42" y="36"/>
                    </a:lnTo>
                    <a:lnTo>
                      <a:pt x="39" y="40"/>
                    </a:lnTo>
                    <a:lnTo>
                      <a:pt x="35" y="42"/>
                    </a:lnTo>
                    <a:lnTo>
                      <a:pt x="32" y="44"/>
                    </a:lnTo>
                    <a:lnTo>
                      <a:pt x="27" y="46"/>
                    </a:lnTo>
                    <a:lnTo>
                      <a:pt x="23" y="47"/>
                    </a:lnTo>
                    <a:lnTo>
                      <a:pt x="18" y="46"/>
                    </a:lnTo>
                    <a:lnTo>
                      <a:pt x="14" y="44"/>
                    </a:lnTo>
                    <a:lnTo>
                      <a:pt x="10" y="42"/>
                    </a:lnTo>
                    <a:lnTo>
                      <a:pt x="7" y="40"/>
                    </a:lnTo>
                    <a:lnTo>
                      <a:pt x="4" y="36"/>
                    </a:lnTo>
                    <a:lnTo>
                      <a:pt x="1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8" y="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  <p:sp>
            <p:nvSpPr>
              <p:cNvPr id="157" name="Freeform 32"/>
              <p:cNvSpPr>
                <a:spLocks/>
              </p:cNvSpPr>
              <p:nvPr/>
            </p:nvSpPr>
            <p:spPr bwMode="auto">
              <a:xfrm>
                <a:off x="3224213" y="387350"/>
                <a:ext cx="7938" cy="7938"/>
              </a:xfrm>
              <a:custGeom>
                <a:avLst/>
                <a:gdLst>
                  <a:gd name="T0" fmla="*/ 15 w 30"/>
                  <a:gd name="T1" fmla="*/ 0 h 31"/>
                  <a:gd name="T2" fmla="*/ 18 w 30"/>
                  <a:gd name="T3" fmla="*/ 0 h 31"/>
                  <a:gd name="T4" fmla="*/ 20 w 30"/>
                  <a:gd name="T5" fmla="*/ 1 h 31"/>
                  <a:gd name="T6" fmla="*/ 24 w 30"/>
                  <a:gd name="T7" fmla="*/ 2 h 31"/>
                  <a:gd name="T8" fmla="*/ 26 w 30"/>
                  <a:gd name="T9" fmla="*/ 4 h 31"/>
                  <a:gd name="T10" fmla="*/ 27 w 30"/>
                  <a:gd name="T11" fmla="*/ 7 h 31"/>
                  <a:gd name="T12" fmla="*/ 29 w 30"/>
                  <a:gd name="T13" fmla="*/ 9 h 31"/>
                  <a:gd name="T14" fmla="*/ 29 w 30"/>
                  <a:gd name="T15" fmla="*/ 11 h 31"/>
                  <a:gd name="T16" fmla="*/ 30 w 30"/>
                  <a:gd name="T17" fmla="*/ 15 h 31"/>
                  <a:gd name="T18" fmla="*/ 29 w 30"/>
                  <a:gd name="T19" fmla="*/ 18 h 31"/>
                  <a:gd name="T20" fmla="*/ 29 w 30"/>
                  <a:gd name="T21" fmla="*/ 20 h 31"/>
                  <a:gd name="T22" fmla="*/ 27 w 30"/>
                  <a:gd name="T23" fmla="*/ 24 h 31"/>
                  <a:gd name="T24" fmla="*/ 26 w 30"/>
                  <a:gd name="T25" fmla="*/ 26 h 31"/>
                  <a:gd name="T26" fmla="*/ 24 w 30"/>
                  <a:gd name="T27" fmla="*/ 27 h 31"/>
                  <a:gd name="T28" fmla="*/ 20 w 30"/>
                  <a:gd name="T29" fmla="*/ 28 h 31"/>
                  <a:gd name="T30" fmla="*/ 18 w 30"/>
                  <a:gd name="T31" fmla="*/ 30 h 31"/>
                  <a:gd name="T32" fmla="*/ 15 w 30"/>
                  <a:gd name="T33" fmla="*/ 31 h 31"/>
                  <a:gd name="T34" fmla="*/ 11 w 30"/>
                  <a:gd name="T35" fmla="*/ 30 h 31"/>
                  <a:gd name="T36" fmla="*/ 9 w 30"/>
                  <a:gd name="T37" fmla="*/ 28 h 31"/>
                  <a:gd name="T38" fmla="*/ 7 w 30"/>
                  <a:gd name="T39" fmla="*/ 27 h 31"/>
                  <a:gd name="T40" fmla="*/ 4 w 30"/>
                  <a:gd name="T41" fmla="*/ 26 h 31"/>
                  <a:gd name="T42" fmla="*/ 2 w 30"/>
                  <a:gd name="T43" fmla="*/ 24 h 31"/>
                  <a:gd name="T44" fmla="*/ 1 w 30"/>
                  <a:gd name="T45" fmla="*/ 20 h 31"/>
                  <a:gd name="T46" fmla="*/ 0 w 30"/>
                  <a:gd name="T47" fmla="*/ 18 h 31"/>
                  <a:gd name="T48" fmla="*/ 0 w 30"/>
                  <a:gd name="T49" fmla="*/ 15 h 31"/>
                  <a:gd name="T50" fmla="*/ 0 w 30"/>
                  <a:gd name="T51" fmla="*/ 11 h 31"/>
                  <a:gd name="T52" fmla="*/ 1 w 30"/>
                  <a:gd name="T53" fmla="*/ 9 h 31"/>
                  <a:gd name="T54" fmla="*/ 2 w 30"/>
                  <a:gd name="T55" fmla="*/ 7 h 31"/>
                  <a:gd name="T56" fmla="*/ 4 w 30"/>
                  <a:gd name="T57" fmla="*/ 4 h 31"/>
                  <a:gd name="T58" fmla="*/ 7 w 30"/>
                  <a:gd name="T59" fmla="*/ 2 h 31"/>
                  <a:gd name="T60" fmla="*/ 9 w 30"/>
                  <a:gd name="T61" fmla="*/ 1 h 31"/>
                  <a:gd name="T62" fmla="*/ 11 w 30"/>
                  <a:gd name="T63" fmla="*/ 0 h 31"/>
                  <a:gd name="T64" fmla="*/ 15 w 30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1">
                    <a:moveTo>
                      <a:pt x="15" y="0"/>
                    </a:moveTo>
                    <a:lnTo>
                      <a:pt x="18" y="0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7" y="7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4" y="27"/>
                    </a:lnTo>
                    <a:lnTo>
                      <a:pt x="20" y="28"/>
                    </a:lnTo>
                    <a:lnTo>
                      <a:pt x="18" y="30"/>
                    </a:lnTo>
                    <a:lnTo>
                      <a:pt x="15" y="31"/>
                    </a:lnTo>
                    <a:lnTo>
                      <a:pt x="11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dirty="0"/>
              </a:p>
            </p:txBody>
          </p:sp>
        </p:grpSp>
        <p:pic>
          <p:nvPicPr>
            <p:cNvPr id="158" name="Grafik 118"/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3601" y="4571788"/>
              <a:ext cx="192163" cy="156544"/>
            </a:xfrm>
            <a:prstGeom prst="rect">
              <a:avLst/>
            </a:prstGeom>
          </p:spPr>
        </p:pic>
        <p:pic>
          <p:nvPicPr>
            <p:cNvPr id="159" name="Grafik 140"/>
            <p:cNvPicPr>
              <a:picLocks noChangeAspect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06148" y="5370606"/>
              <a:ext cx="415875" cy="138205"/>
            </a:xfrm>
            <a:prstGeom prst="rect">
              <a:avLst/>
            </a:prstGeom>
          </p:spPr>
        </p:pic>
        <p:pic>
          <p:nvPicPr>
            <p:cNvPr id="160" name="Grafik 141"/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19211" y="4571788"/>
              <a:ext cx="192163" cy="156544"/>
            </a:xfrm>
            <a:prstGeom prst="rect">
              <a:avLst/>
            </a:prstGeom>
          </p:spPr>
        </p:pic>
        <p:pic>
          <p:nvPicPr>
            <p:cNvPr id="161" name="Grafik 142"/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24821" y="4571788"/>
              <a:ext cx="192163" cy="156544"/>
            </a:xfrm>
            <a:prstGeom prst="rect">
              <a:avLst/>
            </a:prstGeom>
          </p:spPr>
        </p:pic>
        <p:pic>
          <p:nvPicPr>
            <p:cNvPr id="162" name="Grafik 152"/>
            <p:cNvPicPr>
              <a:picLocks noChangeAspect="1"/>
            </p:cNvPicPr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985936" y="4760764"/>
              <a:ext cx="270866" cy="256142"/>
            </a:xfrm>
            <a:prstGeom prst="rect">
              <a:avLst/>
            </a:prstGeom>
          </p:spPr>
        </p:pic>
        <p:pic>
          <p:nvPicPr>
            <p:cNvPr id="163" name="Grafik 12"/>
            <p:cNvPicPr>
              <a:picLocks noChangeAspect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12888" y="5039507"/>
              <a:ext cx="620006" cy="317603"/>
            </a:xfrm>
            <a:prstGeom prst="rect">
              <a:avLst/>
            </a:prstGeom>
          </p:spPr>
        </p:pic>
      </p:grpSp>
      <p:cxnSp>
        <p:nvCxnSpPr>
          <p:cNvPr id="164" name="Straight Connector 14"/>
          <p:cNvCxnSpPr/>
          <p:nvPr>
            <p:custDataLst>
              <p:tags r:id="rId6"/>
            </p:custDataLst>
          </p:nvPr>
        </p:nvCxnSpPr>
        <p:spPr>
          <a:xfrm flipH="1">
            <a:off x="3801586" y="2636063"/>
            <a:ext cx="12671" cy="3040581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Rectangle 19"/>
          <p:cNvSpPr/>
          <p:nvPr/>
        </p:nvSpPr>
        <p:spPr>
          <a:xfrm>
            <a:off x="275818" y="1525970"/>
            <a:ext cx="7076877" cy="354339"/>
          </a:xfrm>
          <a:prstGeom prst="rect">
            <a:avLst/>
          </a:prstGeom>
          <a:solidFill>
            <a:schemeClr val="bg1">
              <a:alpha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20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sch Office Sans"/>
              <a:ea typeface="+mn-ea"/>
              <a:cs typeface="+mn-cs"/>
            </a:endParaRPr>
          </a:p>
        </p:txBody>
      </p:sp>
      <p:sp>
        <p:nvSpPr>
          <p:cNvPr id="168" name="Rectangle 19"/>
          <p:cNvSpPr/>
          <p:nvPr/>
        </p:nvSpPr>
        <p:spPr>
          <a:xfrm>
            <a:off x="7500732" y="991085"/>
            <a:ext cx="3230118" cy="365275"/>
          </a:xfrm>
          <a:prstGeom prst="rect">
            <a:avLst/>
          </a:prstGeom>
          <a:solidFill>
            <a:srgbClr val="0070C0">
              <a:alpha val="72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rPr>
              <a:t>Benefício</a:t>
            </a:r>
          </a:p>
        </p:txBody>
      </p:sp>
      <p:pic>
        <p:nvPicPr>
          <p:cNvPr id="173" name="Picture 172"/>
          <p:cNvPicPr>
            <a:picLocks noChangeAspect="1"/>
          </p:cNvPicPr>
          <p:nvPr/>
        </p:nvPicPr>
        <p:blipFill>
          <a:blip r:embed="rId31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backgroundRemoval t="0" b="100000" l="0" r="100000">
                        <a14:foregroundMark x1="23737" y1="55000" x2="23737" y2="55000"/>
                        <a14:foregroundMark x1="24242" y1="32500" x2="24242" y2="32500"/>
                        <a14:foregroundMark x1="26263" y1="85000" x2="26263" y2="85000"/>
                        <a14:foregroundMark x1="33333" y1="47500" x2="33333" y2="47500"/>
                        <a14:foregroundMark x1="44444" y1="65000" x2="44444" y2="65000"/>
                        <a14:foregroundMark x1="55051" y1="72500" x2="55051" y2="72500"/>
                        <a14:foregroundMark x1="63636" y1="55000" x2="63636" y2="55000"/>
                        <a14:foregroundMark x1="77778" y1="60000" x2="77778" y2="60000"/>
                        <a14:foregroundMark x1="76768" y1="30000" x2="76768" y2="30000"/>
                        <a14:foregroundMark x1="82828" y1="82500" x2="82828" y2="82500"/>
                        <a14:foregroundMark x1="90909" y1="60000" x2="90909" y2="60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39509" y="1579339"/>
            <a:ext cx="1207113" cy="243861"/>
          </a:xfrm>
          <a:prstGeom prst="rect">
            <a:avLst/>
          </a:prstGeom>
        </p:spPr>
      </p:pic>
      <p:sp>
        <p:nvSpPr>
          <p:cNvPr id="180" name="Espaço Reservado para Conteúdo 10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500732" y="1525970"/>
            <a:ext cx="3312627" cy="3490824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51460" indent="-251460" algn="l" defTabSz="822716" rtl="0" eaLnBrk="1" latinLnBrk="0" hangingPunct="1">
              <a:lnSpc>
                <a:spcPct val="107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8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1pPr>
            <a:lvl2pPr marL="508000" indent="-27432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2pPr>
            <a:lvl3pPr marL="730250" indent="-204470" algn="l" defTabSz="822716" rtl="0" eaLnBrk="1" latinLnBrk="0" hangingPunct="1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3pPr>
            <a:lvl4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4pPr>
            <a:lvl5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5pPr>
            <a:lvl6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6pPr>
            <a:lvl7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7pPr>
            <a:lvl8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8pPr>
            <a:lvl9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 baseline="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9pPr>
          </a:lstStyle>
          <a:p>
            <a:pPr marL="0" indent="0" defTabSz="914400" fontAlgn="auto">
              <a:spcAft>
                <a:spcPts val="0"/>
              </a:spcAft>
              <a:buClr>
                <a:srgbClr val="288C3F"/>
              </a:buClr>
              <a:buSzTx/>
              <a:buNone/>
            </a:pPr>
            <a:r>
              <a:rPr lang="pt-BR" sz="1500" b="1" kern="0" dirty="0" smtClean="0">
                <a:solidFill>
                  <a:srgbClr val="000000"/>
                </a:solidFill>
              </a:rPr>
              <a:t>Economia de recurso</a:t>
            </a:r>
          </a:p>
          <a:p>
            <a:pPr marL="456971" lvl="1" fontAlgn="auto">
              <a:lnSpc>
                <a:spcPct val="107000"/>
              </a:lnSpc>
              <a:spcAft>
                <a:spcPts val="0"/>
              </a:spcAft>
              <a:buClr>
                <a:srgbClr val="288C3F"/>
              </a:buClr>
            </a:pPr>
            <a:r>
              <a:rPr lang="pt-BR" sz="1400" kern="0" dirty="0" smtClean="0">
                <a:solidFill>
                  <a:srgbClr val="000000"/>
                </a:solidFill>
              </a:rPr>
              <a:t>Economia no custo de insumo baseado numa configuração otimizada do maquinário</a:t>
            </a:r>
          </a:p>
          <a:p>
            <a:pPr marL="456971" lvl="1" fontAlgn="auto">
              <a:lnSpc>
                <a:spcPct val="107000"/>
              </a:lnSpc>
              <a:spcAft>
                <a:spcPts val="0"/>
              </a:spcAft>
              <a:buClr>
                <a:srgbClr val="288C3F"/>
              </a:buClr>
            </a:pPr>
            <a:r>
              <a:rPr lang="pt-BR" sz="1400" kern="0" dirty="0" smtClean="0">
                <a:solidFill>
                  <a:srgbClr val="000000"/>
                </a:solidFill>
              </a:rPr>
              <a:t>NEVONEX é compatível com máquinas ISOBUS (ou não) novas e usadas</a:t>
            </a:r>
          </a:p>
          <a:p>
            <a:pPr marL="0" indent="0" defTabSz="914400" fontAlgn="auto">
              <a:spcAft>
                <a:spcPts val="0"/>
              </a:spcAft>
              <a:buClr>
                <a:srgbClr val="288C3F"/>
              </a:buClr>
              <a:buSzTx/>
              <a:buNone/>
            </a:pPr>
            <a:r>
              <a:rPr lang="pt-BR" sz="1500" b="1" kern="0" dirty="0" smtClean="0">
                <a:solidFill>
                  <a:srgbClr val="000000"/>
                </a:solidFill>
              </a:rPr>
              <a:t>Economia de tempo</a:t>
            </a:r>
          </a:p>
          <a:p>
            <a:pPr lvl="1" fontAlgn="auto">
              <a:lnSpc>
                <a:spcPct val="107000"/>
              </a:lnSpc>
              <a:spcAft>
                <a:spcPts val="0"/>
              </a:spcAft>
              <a:buClr>
                <a:srgbClr val="288C3F"/>
              </a:buClr>
            </a:pPr>
            <a:r>
              <a:rPr lang="pt-BR" sz="1400" kern="0" dirty="0" smtClean="0">
                <a:solidFill>
                  <a:srgbClr val="000000"/>
                </a:solidFill>
              </a:rPr>
              <a:t>Os dados são transferidos diretamente para a máquina/implemento, eliminando erros de digitação ou de outras fontes</a:t>
            </a:r>
          </a:p>
          <a:p>
            <a:pPr lvl="1" fontAlgn="auto">
              <a:lnSpc>
                <a:spcPct val="107000"/>
              </a:lnSpc>
              <a:spcAft>
                <a:spcPts val="0"/>
              </a:spcAft>
              <a:buClr>
                <a:srgbClr val="288C3F"/>
              </a:buClr>
            </a:pPr>
            <a:r>
              <a:rPr lang="pt-BR" sz="1400" kern="0" dirty="0" smtClean="0">
                <a:solidFill>
                  <a:srgbClr val="000000"/>
                </a:solidFill>
              </a:rPr>
              <a:t>Suporte de primeiro nível é feito pelo NEVONEX</a:t>
            </a:r>
          </a:p>
          <a:p>
            <a:pPr algn="just" fontAlgn="auto">
              <a:spcAft>
                <a:spcPts val="0"/>
              </a:spcAft>
              <a:buClr>
                <a:srgbClr val="009C85"/>
              </a:buClr>
              <a:defRPr/>
            </a:pPr>
            <a:endParaRPr lang="pt-BR" sz="1400" b="1" dirty="0" smtClean="0"/>
          </a:p>
          <a:p>
            <a:pPr marL="251460" marR="0" lvl="0" indent="-251460" algn="just" defTabSz="822716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>
                <a:srgbClr val="009C85"/>
              </a:buClr>
              <a:buSzPct val="100000"/>
              <a:buFont typeface="Wingdings 3" panose="05040102010807070707" pitchFamily="18" charset="2"/>
              <a:buChar char=""/>
              <a:tabLst/>
              <a:defRPr/>
            </a:pPr>
            <a:endParaRPr kumimoji="0" lang="pt-BR" sz="1400" b="1" i="0" u="none" strike="noStrike" kern="120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51460" marR="0" lvl="0" indent="-251460" algn="just" defTabSz="822716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Pct val="100000"/>
              <a:buFont typeface="Wingdings 3" panose="05040102010807070707" pitchFamily="18" charset="2"/>
              <a:buChar char=""/>
              <a:tabLst/>
              <a:defRPr/>
            </a:pPr>
            <a:endParaRPr kumimoji="0" lang="pt-BR" sz="1400" b="1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51460" marR="0" lvl="0" indent="-251460" algn="just" defTabSz="822716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Pct val="100000"/>
              <a:buFont typeface="Wingdings 3" panose="05040102010807070707" pitchFamily="18" charset="2"/>
              <a:buChar char=""/>
              <a:tabLst/>
              <a:defRPr/>
            </a:pPr>
            <a:endParaRPr kumimoji="0" lang="pt-BR" sz="14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51460" marR="0" lvl="0" indent="-251460" algn="just" defTabSz="822716" rtl="0" eaLnBrk="1" fontAlgn="auto" latinLnBrk="0" hangingPunct="1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buClrTx/>
              <a:buSzPct val="100000"/>
              <a:buFont typeface="Wingdings 3" panose="05040102010807070707" pitchFamily="18" charset="2"/>
              <a:buChar char=""/>
              <a:tabLst/>
              <a:defRPr/>
            </a:pPr>
            <a:endParaRPr kumimoji="0" lang="pt-BR" sz="12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2" name="CaixaDeTexto 91"/>
          <p:cNvSpPr txBox="1"/>
          <p:nvPr/>
        </p:nvSpPr>
        <p:spPr>
          <a:xfrm>
            <a:off x="10038489" y="5410061"/>
            <a:ext cx="770005" cy="2778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ct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90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wered</a:t>
            </a:r>
            <a:r>
              <a:rPr kumimoji="0" lang="pt-BR" sz="9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pt-BR" sz="90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y</a:t>
            </a:r>
            <a:endParaRPr kumimoji="0" lang="pt-BR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5" name="Título 1"/>
          <p:cNvSpPr txBox="1">
            <a:spLocks/>
          </p:cNvSpPr>
          <p:nvPr/>
        </p:nvSpPr>
        <p:spPr>
          <a:xfrm>
            <a:off x="236915" y="258523"/>
            <a:ext cx="8741682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sz="3600" cap="small" dirty="0">
                <a:solidFill>
                  <a:schemeClr val="accent4"/>
                </a:solidFill>
              </a:rPr>
              <a:t>BOSCH Agro 4.0 | NEVONEX</a:t>
            </a:r>
          </a:p>
        </p:txBody>
      </p:sp>
      <p:sp>
        <p:nvSpPr>
          <p:cNvPr id="166" name="Título 1"/>
          <p:cNvSpPr txBox="1">
            <a:spLocks/>
          </p:cNvSpPr>
          <p:nvPr/>
        </p:nvSpPr>
        <p:spPr>
          <a:xfrm>
            <a:off x="258255" y="782823"/>
            <a:ext cx="5199116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Imagine se… </a:t>
            </a:r>
            <a:endParaRPr kumimoji="0" lang="pt-BR" sz="2800" b="0" i="0" u="none" strike="noStrike" kern="1200" cap="small" spc="0" normalizeH="0" baseline="0" noProof="0" dirty="0">
              <a:ln>
                <a:noFill/>
              </a:ln>
              <a:solidFill>
                <a:srgbClr val="1399A0"/>
              </a:solidFill>
              <a:effectLst/>
              <a:uLnTx/>
              <a:uFillTx/>
              <a:latin typeface="Bosch Office Sans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523938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Slide do think-cell" r:id="rId7" imgW="351" imgH="351" progId="TCLayout.ActiveDocument.1">
                  <p:embed/>
                </p:oleObj>
              </mc:Choice>
              <mc:Fallback>
                <p:oleObj name="Slide do think-cell" r:id="rId7" imgW="351" imgH="351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kumimoji="0" lang="pt-BR" sz="360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grpSp>
        <p:nvGrpSpPr>
          <p:cNvPr id="30" name="Agrupar 29"/>
          <p:cNvGrpSpPr/>
          <p:nvPr/>
        </p:nvGrpSpPr>
        <p:grpSpPr>
          <a:xfrm>
            <a:off x="-1213" y="482"/>
            <a:ext cx="10840721" cy="6170613"/>
            <a:chOff x="-1" y="0"/>
            <a:chExt cx="10840721" cy="6170613"/>
          </a:xfrm>
        </p:grpSpPr>
        <p:pic>
          <p:nvPicPr>
            <p:cNvPr id="31" name="Imagem 30"/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301"/>
            <a:stretch/>
          </p:blipFill>
          <p:spPr>
            <a:xfrm>
              <a:off x="0" y="99"/>
              <a:ext cx="10826945" cy="6170414"/>
            </a:xfrm>
            <a:prstGeom prst="rect">
              <a:avLst/>
            </a:prstGeom>
          </p:spPr>
        </p:pic>
        <p:sp>
          <p:nvSpPr>
            <p:cNvPr id="32" name="Retângulo 31"/>
            <p:cNvSpPr/>
            <p:nvPr/>
          </p:nvSpPr>
          <p:spPr>
            <a:xfrm>
              <a:off x="-1" y="0"/>
              <a:ext cx="10840721" cy="6170613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indent="0" algn="ctr" defTabSz="914400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sch Office Sans"/>
                <a:ea typeface="+mn-ea"/>
                <a:cs typeface="+mn-cs"/>
              </a:endParaRPr>
            </a:p>
          </p:txBody>
        </p:sp>
      </p:grpSp>
      <p:pic>
        <p:nvPicPr>
          <p:cNvPr id="5" name="Grafik 4"/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5980" y="5464810"/>
            <a:ext cx="1094740" cy="57531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2" name="CaixaDeTexto 91"/>
          <p:cNvSpPr txBox="1"/>
          <p:nvPr/>
        </p:nvSpPr>
        <p:spPr>
          <a:xfrm>
            <a:off x="10038489" y="5410061"/>
            <a:ext cx="770005" cy="27781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R="0" algn="ctr" defTabSz="914400" eaLnBrk="1" fontAlgn="auto" latinLnBrk="0" hangingPunct="1">
              <a:lnSpc>
                <a:spcPts val="23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90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wered</a:t>
            </a:r>
            <a:r>
              <a:rPr kumimoji="0" lang="pt-BR" sz="90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</a:t>
            </a:r>
            <a:r>
              <a:rPr kumimoji="0" lang="pt-BR" sz="900" i="0" u="none" strike="noStrike" kern="0" cap="none" spc="0" normalizeH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by</a:t>
            </a:r>
            <a:endParaRPr kumimoji="0" lang="pt-BR" sz="9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65" name="Título 1"/>
          <p:cNvSpPr txBox="1">
            <a:spLocks/>
          </p:cNvSpPr>
          <p:nvPr/>
        </p:nvSpPr>
        <p:spPr>
          <a:xfrm>
            <a:off x="236915" y="258523"/>
            <a:ext cx="8741682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pt-BR" sz="3600" cap="small" dirty="0">
                <a:solidFill>
                  <a:schemeClr val="accent4"/>
                </a:solidFill>
              </a:rPr>
              <a:t>BOSCH Agro 4.0 | NEVONEX</a:t>
            </a:r>
          </a:p>
        </p:txBody>
      </p:sp>
      <p:sp>
        <p:nvSpPr>
          <p:cNvPr id="166" name="Título 1"/>
          <p:cNvSpPr txBox="1">
            <a:spLocks/>
          </p:cNvSpPr>
          <p:nvPr/>
        </p:nvSpPr>
        <p:spPr>
          <a:xfrm>
            <a:off x="258255" y="782823"/>
            <a:ext cx="5199116" cy="512872"/>
          </a:xfrm>
          <a:prstGeom prst="rect">
            <a:avLst/>
          </a:prstGeom>
          <a:ln w="0">
            <a:noFill/>
          </a:ln>
          <a:effectLst/>
        </p:spPr>
        <p:txBody>
          <a:bodyPr vert="horz" lIns="0" tIns="0" rIns="0" bIns="0" rtlCol="0" anchor="t" anchorCtr="0">
            <a:normAutofit/>
          </a:bodyPr>
          <a:lstStyle>
            <a:lvl1pPr algn="l" defTabSz="9143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500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3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1399A0"/>
                </a:solidFill>
                <a:effectLst/>
                <a:uLnTx/>
                <a:uFillTx/>
                <a:latin typeface="Bosch Office Sans"/>
                <a:ea typeface="+mj-ea"/>
                <a:cs typeface="+mj-cs"/>
              </a:rPr>
              <a:t>Parceiros</a:t>
            </a:r>
            <a:endParaRPr kumimoji="0" lang="pt-BR" sz="2800" b="0" i="0" u="none" strike="noStrike" kern="1200" cap="small" spc="0" normalizeH="0" baseline="0" noProof="0" dirty="0">
              <a:ln>
                <a:noFill/>
              </a:ln>
              <a:solidFill>
                <a:srgbClr val="1399A0"/>
              </a:solidFill>
              <a:effectLst/>
              <a:uLnTx/>
              <a:uFillTx/>
              <a:latin typeface="Bosch Office Sans"/>
              <a:ea typeface="+mj-ea"/>
              <a:cs typeface="+mj-cs"/>
            </a:endParaRPr>
          </a:p>
        </p:txBody>
      </p:sp>
      <p:sp>
        <p:nvSpPr>
          <p:cNvPr id="88" name="Content Placeholder 4"/>
          <p:cNvSpPr txBox="1">
            <a:spLocks/>
          </p:cNvSpPr>
          <p:nvPr/>
        </p:nvSpPr>
        <p:spPr>
          <a:xfrm>
            <a:off x="258762" y="1296000"/>
            <a:ext cx="10023756" cy="3563233"/>
          </a:xfrm>
          <a:prstGeom prst="rect">
            <a:avLst/>
          </a:prstGeom>
        </p:spPr>
        <p:txBody>
          <a:bodyPr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endParaRPr lang="en-GB" dirty="0" smtClean="0"/>
          </a:p>
          <a:p>
            <a:pPr fontAlgn="auto">
              <a:spcAft>
                <a:spcPts val="0"/>
              </a:spcAft>
            </a:pPr>
            <a:endParaRPr lang="en-GB" dirty="0" smtClean="0"/>
          </a:p>
          <a:p>
            <a:pPr marL="0" indent="0" fontAlgn="auto">
              <a:spcAft>
                <a:spcPts val="0"/>
              </a:spcAft>
              <a:buFont typeface="Wingdings 3" panose="05040102010807070707" pitchFamily="18" charset="2"/>
              <a:buNone/>
            </a:pPr>
            <a:endParaRPr lang="en-GB" dirty="0" smtClean="0"/>
          </a:p>
          <a:p>
            <a:pPr fontAlgn="auto">
              <a:spcAft>
                <a:spcPts val="0"/>
              </a:spcAft>
            </a:pPr>
            <a:endParaRPr lang="en-GB" sz="2000" dirty="0" smtClean="0"/>
          </a:p>
          <a:p>
            <a:pPr marL="0" indent="0" fontAlgn="auto">
              <a:spcAft>
                <a:spcPts val="0"/>
              </a:spcAft>
              <a:buFont typeface="Wingdings 3" panose="05040102010807070707" pitchFamily="18" charset="2"/>
              <a:buNone/>
            </a:pPr>
            <a:r>
              <a:rPr lang="en-GB" b="1" dirty="0" smtClean="0"/>
              <a:t> </a:t>
            </a:r>
          </a:p>
          <a:p>
            <a:pPr fontAlgn="auto">
              <a:spcAft>
                <a:spcPts val="0"/>
              </a:spcAft>
            </a:pPr>
            <a:endParaRPr lang="en-GB" sz="1000" dirty="0" smtClean="0"/>
          </a:p>
        </p:txBody>
      </p:sp>
      <p:sp>
        <p:nvSpPr>
          <p:cNvPr id="3" name="Retângulo 2"/>
          <p:cNvSpPr/>
          <p:nvPr/>
        </p:nvSpPr>
        <p:spPr>
          <a:xfrm>
            <a:off x="236914" y="2824178"/>
            <a:ext cx="98976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AU" sz="3600" b="1" cap="small" dirty="0" smtClean="0">
                <a:solidFill>
                  <a:srgbClr val="1399A0"/>
                </a:solidFill>
                <a:latin typeface="Bosch Office Sans"/>
                <a:ea typeface="+mj-ea"/>
                <a:cs typeface="+mj-cs"/>
                <a:hlinkClick r:id="rId11"/>
              </a:rPr>
              <a:t>www.nevonex.com</a:t>
            </a:r>
            <a:endParaRPr lang="en-AU" sz="2400" dirty="0"/>
          </a:p>
        </p:txBody>
      </p:sp>
    </p:spTree>
    <p:extLst>
      <p:ext uri="{BB962C8B-B14F-4D97-AF65-F5344CB8AC3E}">
        <p14:creationId xmlns:p14="http://schemas.microsoft.com/office/powerpoint/2010/main" val="520653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G1_D2_169.PNG" val="image1.png"/>
  <p:tag name="RIGHT_D2.PNG" val="image3.png"/>
  <p:tag name="BG2_D2_169.PNG" val="image4.png"/>
  <p:tag name="SWITCH_BG1_D2_169.JPG" val="image5.png"/>
  <p:tag name="BOTTOM_D2_169.PNG" val="image6.png"/>
  <p:tag name="LOGO2_D2.PNG" val="image7.png"/>
  <p:tag name="BG3_D2_169.PNG" val="image9.png"/>
  <p:tag name="SWITCH_BG2_D2_169.JPG" val="image8.png"/>
  <p:tag name="LOGO1_D2.PNG" val="image2.png"/>
  <p:tag name="MLTEMPLATEVERSION" val="1.0"/>
  <p:tag name="SAXMLTEMPLATE" val="presentation_169"/>
  <p:tag name="SAXMLCOMPANYNAME" val="bosch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SETCLASSNAME" val="FontSet1"/>
  <p:tag name="COLORSETCLASSNAME" val="ColorSet1"/>
  <p:tag name="STYLENAME" val="Bodystyle"/>
  <p:tag name="MLI" val="1"/>
  <p:tag name="SHAPESETGROUPCLASSNAME" val="ShapeSetGroup1"/>
  <p:tag name="SHAPESETCLASSNAME" val="Object"/>
  <p:tag name="COLORSETGROUPCLASSNAME" val="ColorSetGroup1"/>
  <p:tag name="FONTSETGROUPCLASSNAME" val="FontSetGroup1"/>
  <p:tag name="SHAPECLASSNAME" val="ObjectFull"/>
  <p:tag name="SHAPECLASSPROTECTIONTYPE" val="0"/>
  <p:tag name="COLORS" val="-2;-2;-2;-2;-3;-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SETCLASSNAME" val="FontSet1"/>
  <p:tag name="COLORSETCLASSNAME" val="ColorSet1"/>
  <p:tag name="STYLENAME" val="Bodystyle"/>
  <p:tag name="MLI" val="1"/>
  <p:tag name="SHAPESETGROUPCLASSNAME" val="ShapeSetGroup1"/>
  <p:tag name="SHAPESETCLASSNAME" val="Object"/>
  <p:tag name="COLORSETGROUPCLASSNAME" val="ColorSetGroup1"/>
  <p:tag name="FONTSETGROUPCLASSNAME" val="FontSetGroup1"/>
  <p:tag name="SHAPECLASSNAME" val="ObjectFull"/>
  <p:tag name="SHAPECLASSPROTECTIONTYPE" val="0"/>
  <p:tag name="COLORS" val="-1;-1;-2;-2;-3;-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8cCqTr5.rpBaZkHT6vu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LogoOnSlides"/>
  <p:tag name="SHAPECLASSFILE" val="BoschLogo2016.jpg"/>
  <p:tag name="SHAPECLASSPROTECTIONTYPE" val="1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8cCqTr5.rpBaZkHT6vu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LogoOnSlides"/>
  <p:tag name="SHAPECLASSFILE" val="BoschLogo2016.jpg"/>
  <p:tag name="SHAPECLASSPROTECTIONTYPE" val="1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SETCLASSNAME" val="FontSet1"/>
  <p:tag name="COLORSETCLASSNAME" val="ColorSet1"/>
  <p:tag name="STYLENAME" val="Bodystyle"/>
  <p:tag name="MLI" val="1"/>
  <p:tag name="SHAPESETGROUPCLASSNAME" val="ShapeSetGroup1"/>
  <p:tag name="SHAPESETCLASSNAME" val="Object"/>
  <p:tag name="COLORSETGROUPCLASSNAME" val="ColorSetGroup1"/>
  <p:tag name="FONTSETGROUPCLASSNAME" val="FontSetGroup1"/>
  <p:tag name="SHAPECLASSNAME" val="ObjectFull"/>
  <p:tag name="SHAPECLASSPROTECTIONTYPE" val="0"/>
  <p:tag name="COLORS" val="-2;-2;-2;-2;-3;-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8cCqTr5.rpBaZkHT6vu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LogoOnSlides"/>
  <p:tag name="SHAPECLASSFILE" val="BoschLogo2016.jpg"/>
  <p:tag name="SHAPECLASSPROTECTIONTYPE" val="1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9Yqgh6zUa7SgsftTTGv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LogoOnSlides"/>
  <p:tag name="SHAPECLASSFILE" val="BoschLogo2016.jpg"/>
  <p:tag name="SHAPECLASSPROTECTIONTYPE" val="1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LogoOnSlides"/>
  <p:tag name="SHAPECLASSFILE" val="BoschLogo2016.jpg"/>
  <p:tag name="SHAPECLASSPROTECTIONTYPE" val="1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A.fS_Bz6NcviLRh85Pg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.p4A5DOkGDmnSf.4bjQ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Slide"/>
  <p:tag name="COLORSETGROUPCLASSNAME" val="ColorSetGroup4"/>
  <p:tag name="FONTSETGROUPCLASSNAME" val="FontSetGroup1"/>
  <p:tag name="SHAPECLASSFILE" val="BoschLogo2016.emf"/>
  <p:tag name="MLI" val="1"/>
  <p:tag name="SHAPECLASSNAME" val="LogoOnSlides"/>
  <p:tag name="SHAPECLASSPROTECTIONTYPE" val="1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Slide"/>
  <p:tag name="COLORSETGROUPCLASSNAME" val="ColorSetGroup4"/>
  <p:tag name="FONTSETGROUPCLASSNAME" val="FontSetGroup1"/>
  <p:tag name="SHAPECLASSFILE" val="Bosch-Supergraphic-Bottom-16-9.png"/>
  <p:tag name="MLI" val="1"/>
  <p:tag name="SHAPECLASSNAME" val="ColorBarOnSlides"/>
  <p:tag name="SHAPECLASSPROTECTIONTYPE" val="1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Disguised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TitleSlide"/>
  <p:tag name="FONTSETGROUPCLASSNAME" val="FontSetGroup1"/>
  <p:tag name="SHAPECLASSNAME" val="HiddenSubtitle"/>
  <p:tag name="SHAPECLASSPROTECTIONTYPE" val="0"/>
  <p:tag name="COLORSETGROUPCLASSNAME" val="ColorSetGroup4"/>
  <p:tag name="ML_SENDTOBACK" val=" 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80"/>
  <p:tag name="FONTSETCLASSNAME" val="FontSet1"/>
  <p:tag name="COLORS" val="-2;-2;-2;-2;White;-2"/>
  <p:tag name="COLORSETCLASSNAME" val="ColorSet1"/>
  <p:tag name="MLI" val="1"/>
  <p:tag name="SHAPESETGROUPCLASSNAME" val="ShapeSetGroup1"/>
  <p:tag name="SHAPESETCLASSNAME" val="TitleSlide"/>
  <p:tag name="FONTSETGROUPCLASSNAME" val="FontSetGroup1"/>
  <p:tag name="SHAPECLASSNAME" val="TitleOnTitleSlides"/>
  <p:tag name="COLORSETGROUPCLASSNAME" val="ColorSetGroup4"/>
  <p:tag name="SHAPECLASSPROTECTIONTYPE" val="3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Fa1J7NDZIUGguxpMJ15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Slide"/>
  <p:tag name="COLORSETGROUPCLASSNAME" val="ColorSetGroup5"/>
  <p:tag name="FONTSETGROUPCLASSNAME" val="FontSetGroup1"/>
  <p:tag name="SHAPECLASSFILE" val="BoschLogo2016.emf"/>
  <p:tag name="MLI" val="1"/>
  <p:tag name="SHAPECLASSNAME" val="LogoOnSlides"/>
  <p:tag name="SHAPECLASSPROTECTIONTYPE" val="1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Slide"/>
  <p:tag name="COLORSETGROUPCLASSNAME" val="ColorSetGroup5"/>
  <p:tag name="FONTSETGROUPCLASSNAME" val="FontSetGroup1"/>
  <p:tag name="SHAPECLASSFILE" val="Bosch-Supergraphic-Bottom-16-9.png"/>
  <p:tag name="MLI" val="1"/>
  <p:tag name="SHAPECLASSNAME" val="ColorBarOnSlides"/>
  <p:tag name="SHAPECLASSPROTECTIONTYPE" val="1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Disguised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TitleSlide"/>
  <p:tag name="FONTSETGROUPCLASSNAME" val="FontSetGroup1"/>
  <p:tag name="SHAPECLASSNAME" val="HiddenSubtitle"/>
  <p:tag name="SHAPECLASSPROTECTIONTYPE" val="0"/>
  <p:tag name="COLORSETGROUPCLASSNAME" val="ColorSetGroup5"/>
  <p:tag name="ML_SENDTOBACK" val=" 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80"/>
  <p:tag name="FONTSETCLASSNAME" val="FontSet1"/>
  <p:tag name="COLORS" val="-2;-2;-2;-2;White;-2"/>
  <p:tag name="COLORSETCLASSNAME" val="ColorSet1"/>
  <p:tag name="MLI" val="1"/>
  <p:tag name="SHAPESETGROUPCLASSNAME" val="ShapeSetGroup1"/>
  <p:tag name="SHAPESETCLASSNAME" val="TitleSlide"/>
  <p:tag name="FONTSETGROUPCLASSNAME" val="FontSetGroup1"/>
  <p:tag name="SHAPECLASSNAME" val="TitleOnTitleSlides"/>
  <p:tag name="SHAPECLASSPROTECTIONTYPE" val="0"/>
  <p:tag name="COLORSETGROUPCLASSNAME" val="ColorSetGroup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wE91H88VgTwVgOpt0HJ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LogoOnSlides"/>
  <p:tag name="SHAPECLASSFILE" val="BoschLogo2016.jpg"/>
  <p:tag name="SHAPECLASSPROTECTIONTYPE" val="1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wE91H88VgTwVgOpt0HJ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LogoOnSlides"/>
  <p:tag name="SHAPECLASSFILE" val="BoschLogo2016.jpg"/>
  <p:tag name="SHAPECLASSPROTECTIONTYPE" val="1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wE91H88VgTwVgOpt0HJ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TYLENAME" val="Bodystyle"/>
  <p:tag name="COLORSETGROUPCLASSNAME" val="ColorSetGroup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TYLENAME" val="Bodystyle"/>
  <p:tag name="COLORSETGROUPCLASSNAME" val="ColorSetGroup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TYLENAME" val="Bodystyle"/>
  <p:tag name="COLORSETGROUPCLASSNAME" val="ColorSetGroup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LogoOnSlides"/>
  <p:tag name="SHAPECLASSFILE" val="BoschLogo2016.jpg"/>
  <p:tag name="SHAPECLASSPROTECTIONTYPE" val="1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TYLENAME" val="Bodystyle"/>
  <p:tag name="COLORSETGROUPCLASSNAME" val="ColorSetGroup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TYLENAME" val="Bodystyle"/>
  <p:tag name="COLORSETGROUPCLASSNAME" val="ColorSetGroup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TYLENAME" val="Bodystyle"/>
  <p:tag name="COLORSETGROUPCLASSNAME" val="ColorSetGroup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TYLENAME" val="Bodystyle"/>
  <p:tag name="COLORSETGROUPCLASSNAME" val="ColorSetGroup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STYLENAME" val="Bodystyle"/>
  <p:tag name="COLORSETGROUPCLASSNAME" val="ColorSetGroup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9Yqgh6zUa7SgsftTTGv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LogoOnSlides"/>
  <p:tag name="SHAPECLASSFILE" val="BoschLogo2016.jpg"/>
  <p:tag name="SHAPECLASSPROTECTIONTYPE" val="1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8cCqTr5.rpBaZkHT6vu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LogoOnSlides"/>
  <p:tag name="SHAPECLASSFILE" val="BoschLogo2016.jpg"/>
  <p:tag name="SHAPECLASSPROTECTIONTYPE" val="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FYpja6xiTYoNsC.ufvj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1"/>
  <p:tag name="SHAPESETCLASSNAME" val="TitleSupergraphic1"/>
  <p:tag name="COLORSETGROUPCLASSNAME" val="ColorSetGroup5"/>
  <p:tag name="FONTSETGROUPCLASSNAME" val="FontSetGroup1"/>
  <p:tag name="SHAPECLASSNAME" val="LogoOnSlides"/>
  <p:tag name="SHAPECLASSFILE" val="BoschLogo2016.jpg"/>
  <p:tag name="SHAPECLASSPROTECTIONTYPE" val="1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heme/theme1.xml><?xml version="1.0" encoding="utf-8"?>
<a:theme xmlns:a="http://schemas.openxmlformats.org/drawingml/2006/main" name="Bosch NG">
  <a:themeElements>
    <a:clrScheme name="Bosch_Fuchsia">
      <a:dk1>
        <a:srgbClr val="000000"/>
      </a:dk1>
      <a:lt1>
        <a:srgbClr val="FFFFFF"/>
      </a:lt1>
      <a:dk2>
        <a:srgbClr val="424C58"/>
      </a:dk2>
      <a:lt2>
        <a:srgbClr val="B2B3B5"/>
      </a:lt2>
      <a:accent1>
        <a:srgbClr val="A80163"/>
      </a:accent1>
      <a:accent2>
        <a:srgbClr val="D067AD"/>
      </a:accent2>
      <a:accent3>
        <a:srgbClr val="B2B3B5"/>
      </a:accent3>
      <a:accent4>
        <a:srgbClr val="424C58"/>
      </a:accent4>
      <a:accent5>
        <a:srgbClr val="3F136C"/>
      </a:accent5>
      <a:accent6>
        <a:srgbClr val="967CB1"/>
      </a:accent6>
      <a:hlink>
        <a:srgbClr val="738CB4"/>
      </a:hlink>
      <a:folHlink>
        <a:srgbClr val="B0BBD0"/>
      </a:folHlink>
    </a:clrScheme>
    <a:fontScheme name="Bosch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defTabSz="914400" eaLnBrk="1" fontAlgn="auto" latinLnBrk="0" hangingPunct="1">
          <a:lnSpc>
            <a:spcPts val="2300"/>
          </a:lnSpc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1.pptx" id="{6D85BA78-7D2F-4CC1-B852-648408ADA362}" vid="{9DE09E84-564A-4D2B-9055-A5F85BDDC286}"/>
    </a:ext>
  </a:extLst>
</a:theme>
</file>

<file path=ppt/theme/theme2.xml><?xml version="1.0" encoding="utf-8"?>
<a:theme xmlns:a="http://schemas.openxmlformats.org/drawingml/2006/main" name="Bosch">
  <a:themeElements>
    <a:clrScheme name="Custom 1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A80163"/>
      </a:accent1>
      <a:accent2>
        <a:srgbClr val="3F136C"/>
      </a:accent2>
      <a:accent3>
        <a:srgbClr val="08427E"/>
      </a:accent3>
      <a:accent4>
        <a:srgbClr val="0E78C5"/>
      </a:accent4>
      <a:accent5>
        <a:srgbClr val="1399A0"/>
      </a:accent5>
      <a:accent6>
        <a:srgbClr val="67B419"/>
      </a:accent6>
      <a:hlink>
        <a:srgbClr val="738CB4"/>
      </a:hlink>
      <a:folHlink>
        <a:srgbClr val="B0BBD0"/>
      </a:folHlink>
    </a:clrScheme>
    <a:fontScheme name="Custom 1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defTabSz="914400" eaLnBrk="1" fontAlgn="auto" latinLnBrk="0" hangingPunct="1">
          <a:lnSpc>
            <a:spcPts val="2300"/>
          </a:lnSpc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Bosch2016.potx" id="{9C79B100-3E8C-49C0-8475-54E7D673F8CF}" vid="{0EBFA600-AC06-4417-8FA0-E8FF3BF23FE1}"/>
    </a:ext>
  </a:extLst>
</a:theme>
</file>

<file path=ppt/theme/theme3.xml><?xml version="1.0" encoding="utf-8"?>
<a:theme xmlns:a="http://schemas.openxmlformats.org/drawingml/2006/main" name="1_Bosch">
  <a:themeElements>
    <a:clrScheme name="Custom 1">
      <a:dk1>
        <a:sysClr val="windowText" lastClr="000000"/>
      </a:dk1>
      <a:lt1>
        <a:sysClr val="window" lastClr="FFFFFF"/>
      </a:lt1>
      <a:dk2>
        <a:srgbClr val="424C58"/>
      </a:dk2>
      <a:lt2>
        <a:srgbClr val="B2B3B5"/>
      </a:lt2>
      <a:accent1>
        <a:srgbClr val="A80163"/>
      </a:accent1>
      <a:accent2>
        <a:srgbClr val="3F136C"/>
      </a:accent2>
      <a:accent3>
        <a:srgbClr val="08427E"/>
      </a:accent3>
      <a:accent4>
        <a:srgbClr val="0E78C5"/>
      </a:accent4>
      <a:accent5>
        <a:srgbClr val="1399A0"/>
      </a:accent5>
      <a:accent6>
        <a:srgbClr val="67B419"/>
      </a:accent6>
      <a:hlink>
        <a:srgbClr val="738CB4"/>
      </a:hlink>
      <a:folHlink>
        <a:srgbClr val="B0BBD0"/>
      </a:folHlink>
    </a:clrScheme>
    <a:fontScheme name="Custom 1">
      <a:majorFont>
        <a:latin typeface="Bosch Office Sans"/>
        <a:ea typeface=""/>
        <a:cs typeface=""/>
      </a:majorFont>
      <a:minorFont>
        <a:latin typeface="Bosch Office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 cap="flat" cmpd="sng" algn="ctr">
          <a:solidFill>
            <a:srgbClr val="3F136C"/>
          </a:solidFill>
          <a:prstDash val="solid"/>
        </a:ln>
        <a:effectLst/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Bosch Office Sans"/>
            <a:ea typeface="+mn-ea"/>
            <a:cs typeface="+mn-cs"/>
          </a:defRPr>
        </a:defPPr>
      </a:lstStyle>
    </a:spDef>
    <a:txDef>
      <a:spPr>
        <a:noFill/>
      </a:spPr>
      <a:bodyPr wrap="square" lIns="0" tIns="0" rIns="0" bIns="0" rtlCol="0">
        <a:noAutofit/>
      </a:bodyPr>
      <a:lstStyle>
        <a:defPPr marR="0" defTabSz="914400" eaLnBrk="1" fontAlgn="auto" latinLnBrk="0" hangingPunct="1">
          <a:lnSpc>
            <a:spcPts val="2300"/>
          </a:lnSpc>
          <a:spcBef>
            <a:spcPts val="50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Bosch2016.potx" id="{9C79B100-3E8C-49C0-8475-54E7D673F8CF}" vid="{0EBFA600-AC06-4417-8FA0-E8FF3BF23FE1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Bosch Light Gree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67B419"/>
    </a:accent1>
    <a:accent2>
      <a:srgbClr val="AEDB7D"/>
    </a:accent2>
    <a:accent3>
      <a:srgbClr val="B2B3B5"/>
    </a:accent3>
    <a:accent4>
      <a:srgbClr val="424C58"/>
    </a:accent4>
    <a:accent5>
      <a:srgbClr val="1399A0"/>
    </a:accent5>
    <a:accent6>
      <a:srgbClr val="6FC9CC"/>
    </a:accent6>
    <a:hlink>
      <a:srgbClr val="738CB4"/>
    </a:hlink>
    <a:folHlink>
      <a:srgbClr val="B0BBD0"/>
    </a:folHlink>
  </a:clrScheme>
</a:themeOverride>
</file>

<file path=ppt/theme/themeOverride2.xml><?xml version="1.0" encoding="utf-8"?>
<a:themeOverride xmlns:a="http://schemas.openxmlformats.org/drawingml/2006/main">
  <a:clrScheme name="Bosch Light Gree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67B419"/>
    </a:accent1>
    <a:accent2>
      <a:srgbClr val="AEDB7D"/>
    </a:accent2>
    <a:accent3>
      <a:srgbClr val="B2B3B5"/>
    </a:accent3>
    <a:accent4>
      <a:srgbClr val="424C58"/>
    </a:accent4>
    <a:accent5>
      <a:srgbClr val="1399A0"/>
    </a:accent5>
    <a:accent6>
      <a:srgbClr val="6FC9CC"/>
    </a:accent6>
    <a:hlink>
      <a:srgbClr val="738CB4"/>
    </a:hlink>
    <a:folHlink>
      <a:srgbClr val="B0BBD0"/>
    </a:folHlink>
  </a:clrScheme>
</a:themeOverride>
</file>

<file path=ppt/theme/themeOverride3.xml><?xml version="1.0" encoding="utf-8"?>
<a:themeOverride xmlns:a="http://schemas.openxmlformats.org/drawingml/2006/main">
  <a:clrScheme name="Bosch Light Gree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67B419"/>
    </a:accent1>
    <a:accent2>
      <a:srgbClr val="AEDB7D"/>
    </a:accent2>
    <a:accent3>
      <a:srgbClr val="B2B3B5"/>
    </a:accent3>
    <a:accent4>
      <a:srgbClr val="424C58"/>
    </a:accent4>
    <a:accent5>
      <a:srgbClr val="1399A0"/>
    </a:accent5>
    <a:accent6>
      <a:srgbClr val="6FC9CC"/>
    </a:accent6>
    <a:hlink>
      <a:srgbClr val="738CB4"/>
    </a:hlink>
    <a:folHlink>
      <a:srgbClr val="B0BBD0"/>
    </a:folHlink>
  </a:clrScheme>
</a:themeOverride>
</file>

<file path=ppt/theme/themeOverride4.xml><?xml version="1.0" encoding="utf-8"?>
<a:themeOverride xmlns:a="http://schemas.openxmlformats.org/drawingml/2006/main">
  <a:clrScheme name="Bosch Light Gree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67B419"/>
    </a:accent1>
    <a:accent2>
      <a:srgbClr val="AEDB7D"/>
    </a:accent2>
    <a:accent3>
      <a:srgbClr val="B2B3B5"/>
    </a:accent3>
    <a:accent4>
      <a:srgbClr val="424C58"/>
    </a:accent4>
    <a:accent5>
      <a:srgbClr val="1399A0"/>
    </a:accent5>
    <a:accent6>
      <a:srgbClr val="6FC9CC"/>
    </a:accent6>
    <a:hlink>
      <a:srgbClr val="738CB4"/>
    </a:hlink>
    <a:folHlink>
      <a:srgbClr val="B0BBD0"/>
    </a:folHlink>
  </a:clrScheme>
</a:themeOverride>
</file>

<file path=ppt/theme/themeOverride5.xml><?xml version="1.0" encoding="utf-8"?>
<a:themeOverride xmlns:a="http://schemas.openxmlformats.org/drawingml/2006/main">
  <a:clrScheme name="Bosch Light Gree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67B419"/>
    </a:accent1>
    <a:accent2>
      <a:srgbClr val="AEDB7D"/>
    </a:accent2>
    <a:accent3>
      <a:srgbClr val="B2B3B5"/>
    </a:accent3>
    <a:accent4>
      <a:srgbClr val="424C58"/>
    </a:accent4>
    <a:accent5>
      <a:srgbClr val="1399A0"/>
    </a:accent5>
    <a:accent6>
      <a:srgbClr val="6FC9CC"/>
    </a:accent6>
    <a:hlink>
      <a:srgbClr val="738CB4"/>
    </a:hlink>
    <a:folHlink>
      <a:srgbClr val="B0BBD0"/>
    </a:folHlink>
  </a:clrScheme>
</a:themeOverride>
</file>

<file path=ppt/theme/themeOverride6.xml><?xml version="1.0" encoding="utf-8"?>
<a:themeOverride xmlns:a="http://schemas.openxmlformats.org/drawingml/2006/main">
  <a:clrScheme name="Bosch Light Green">
    <a:dk1>
      <a:sysClr val="windowText" lastClr="000000"/>
    </a:dk1>
    <a:lt1>
      <a:sysClr val="window" lastClr="FFFFFF"/>
    </a:lt1>
    <a:dk2>
      <a:srgbClr val="424C58"/>
    </a:dk2>
    <a:lt2>
      <a:srgbClr val="B2B3B5"/>
    </a:lt2>
    <a:accent1>
      <a:srgbClr val="67B419"/>
    </a:accent1>
    <a:accent2>
      <a:srgbClr val="AEDB7D"/>
    </a:accent2>
    <a:accent3>
      <a:srgbClr val="B2B3B5"/>
    </a:accent3>
    <a:accent4>
      <a:srgbClr val="424C58"/>
    </a:accent4>
    <a:accent5>
      <a:srgbClr val="1399A0"/>
    </a:accent5>
    <a:accent6>
      <a:srgbClr val="6FC9CC"/>
    </a:accent6>
    <a:hlink>
      <a:srgbClr val="738CB4"/>
    </a:hlink>
    <a:folHlink>
      <a:srgbClr val="B0BBD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sax_ColorSelect>
  <Line>
    <Color val="D70012"/>
    <Color val="EA6876"/>
    <Color val="a80163"/>
    <Color val="D067AD"/>
    <Color val="3f136c"/>
    <Color val="967CB1"/>
    <Color val="08427e"/>
    <Color val="6D9ABC"/>
    <Color val="0e78c5"/>
    <Color val="6FB9E2"/>
    <Color val="1399a0"/>
    <Color val="6FC9CC"/>
    <Color val="67b419"/>
    <Color val="AEDB7D"/>
    <Color val="0a5139"/>
    <Color val="6EA293"/>
    <Color val="999FA6"/>
    <Color val="D7D7D7"/>
    <Color val="000000"/>
    <Color val="FFFFFF"/>
  </Line>
</sax_ColorSelect>
</file>

<file path=customXml/item2.xml><?xml version="1.0" encoding="utf-8"?>
<saxML>
  <saxMLTemplate>presentation_169</saxMLTemplate>
  <Variablen>
    <Variable>
      <Name>attachmentremark</Name>
      <OrgInhalt/>
      <Wert/>
      <Platzhalter>False</Platzhalter>
      <DocDatenDialog>True</DocDatenDialog>
      <Label>Attachment</Label>
      <FrageVar>False</FrageVar>
      <Prefix/>
      <Suffix/>
      <WegfallVar/>
      <MussFeld>False</MussFeld>
      <InDokument>True</InDokument>
      <Sektion>Rectangle7</Sektion>
      <Reihenfolge>0</Reihenfolge>
    </Variable>
    <Variable>
      <Name>departmentshort</Name>
      <OrgInhalt>SO/OPM71-BR</OrgInhalt>
      <Wert>Commercial Vehicles and Off-Road</Wert>
      <Platzhalter>False</Platzhalter>
      <DocDatenDialog>True</DocDatenDialog>
      <Label>Authoring</Label>
      <FrageVar>False</FrageVar>
      <Prefix/>
      <Suffix/>
      <WegfallVar/>
      <MussFeld>False</MussFeld>
      <Trenner>
        <VariableVor>confidentiality</VariableVor>
        <VariableVor>businessunit</VariableVor>
        <Zwischen> | </Zwischen>
        <VariableNach>departmentshort</VariableNach>
      </Trenner>
      <InDokument>True</InDokument>
      <Sektion>Bosch_footer_1</Sektion>
      <Reihenfolge/>
    </Variable>
    <Variable>
      <Name>confidentiality</Name>
      <OrgInhalt/>
      <Wert/>
      <Platzhalter>False</Platzhalter>
      <DocDatenDialog>True</DocDatenDialog>
      <Label>Notation of confidentiality</Label>
      <FrageVar>False</FrageVar>
      <Prefix/>
      <Suffix/>
      <WegfallVar/>
      <ComboBox>
        <Option>Internal</Option>
        <Option>Confidential</Option>
        <Option>Strictly confidential</Option>
        <Option/>
      </ComboBox>
      <MussFeld>False</MussFeld>
      <InDokument>True</InDokument>
      <Sektion>Bosch_footer_1</Sektion>
      <Reihenfolge>0</Reihenfolge>
    </Variable>
    <Variable>
      <Name>copyright</Name>
      <OrgInhalt>© Robert Bosch Ltda 2019. Reserves all rights even in the event of industrial property rights. We reserve all rights of disposal such as copying and passing on to third parties</OrgInhalt>
      <Wert>© Robert Bosch Ltda 2019. Reserves all rights even in the event of industrial property rights. We reserve all rights of disposal such as copying and passing on to third parties</Wert>
      <Platzhalter>False</Platzhalter>
      <DocDatenDialog>False</DocDatenDialog>
      <Label>$tr_copyright$</Label>
      <FrageVar>False</FrageVar>
      <Prefix/>
      <Suffix/>
      <WegfallVar/>
      <MussFeld>False</MussFeld>
      <Trenner>
        <VariableVor>repositoryremark</VariableVor>
        <Zwischen>&lt;br&gt;</Zwischen>
        <VariableNach>copyright</VariableNach>
      </Trenner>
      <InDokument>True</InDokument>
      <Sektion>Bosch_footer_2</Sektion>
      <Reihenfolge/>
    </Variable>
    <Variable>
      <Name>dateformat</Name>
      <OrgInhalt>2019-06-08</OrgInhalt>
      <Wert>2019-06-12</Wert>
      <Platzhalter>False</Platzhalter>
      <DocDatenDialog>True</DocDatenDialog>
      <Label>Date</Label>
      <FrageVar>False</FrageVar>
      <Prefix/>
      <Suffix/>
      <WegfallVar/>
      <MussFeld>False</MussFeld>
      <Trenner>
        <VariableVor>departmentshort</VariableVor>
        <VariableVor>confidentiality</VariableVor>
        <VariableVor>businessunit</VariableVor>
        <Zwischen> | </Zwischen>
        <VariableNach>dateformat</VariableNach>
      </Trenner>
      <InDokument>True</InDokument>
      <Sektion>Bosch_footer_1</Sektion>
      <Reihenfolge>0</Reihenfolge>
    </Variable>
    <Variable>
      <Name>businessunit</Name>
      <OrgInhalt/>
      <Wert/>
      <Platzhalter>False</Platzhalter>
      <DocDatenDialog>False</DocDatenDialog>
      <Label>$tr_businessunit$</Label>
      <FrageVar>False</FrageVar>
      <Prefix/>
      <Suffix/>
      <WegfallVar/>
      <MussFeld>False</MussFeld>
      <Trenner>
        <VariableVor>confidentiality</VariableVor>
        <Zwischen> | </Zwischen>
        <VariableNach>businessunit</VariableNach>
      </Trenner>
      <InDokument>True</InDokument>
      <Sektion>Bosch_footer_1</Sektion>
      <Reihenfolge>0</Reihenfolge>
    </Variable>
    <Variable>
      <Name>repositoryremark</Name>
      <OrgInhalt/>
      <Wert/>
      <Platzhalter>False</Platzhalter>
      <DocDatenDialog>True</DocDatenDialog>
      <Label>Filing note</Label>
      <FrageVar>False</FrageVar>
      <Prefix/>
      <Suffix/>
      <WegfallVar/>
      <MussFeld>False</MussFeld>
      <InDokument>True</InDokument>
      <Sektion>Bosch_footer_2</Sektion>
      <Reihenfolge>0</Reihenfolge>
    </Variable>
  </Variablen>
</saxML>
</file>

<file path=customXml/itemProps1.xml><?xml version="1.0" encoding="utf-8"?>
<ds:datastoreItem xmlns:ds="http://schemas.openxmlformats.org/officeDocument/2006/customXml" ds:itemID="{304CF217-3C90-4AA0-B541-CE45F9BD305E}">
  <ds:schemaRefs/>
</ds:datastoreItem>
</file>

<file path=customXml/itemProps2.xml><?xml version="1.0" encoding="utf-8"?>
<ds:datastoreItem xmlns:ds="http://schemas.openxmlformats.org/officeDocument/2006/customXml" ds:itemID="{E5F83F74-FB42-4D70-8273-EA73765286F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tion_173</Template>
  <TotalTime>0</TotalTime>
  <Words>477</Words>
  <Application>Microsoft Office PowerPoint</Application>
  <PresentationFormat>Personalizar</PresentationFormat>
  <Paragraphs>147</Paragraphs>
  <Slides>11</Slides>
  <Notes>8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3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1</vt:i4>
      </vt:variant>
    </vt:vector>
  </HeadingPairs>
  <TitlesOfParts>
    <vt:vector size="19" baseType="lpstr">
      <vt:lpstr>Bosch Office Sans</vt:lpstr>
      <vt:lpstr>Calibri</vt:lpstr>
      <vt:lpstr>Ink Free</vt:lpstr>
      <vt:lpstr>Wingdings 3</vt:lpstr>
      <vt:lpstr>Bosch NG</vt:lpstr>
      <vt:lpstr>Bosch</vt:lpstr>
      <vt:lpstr>1_Bosch</vt:lpstr>
      <vt:lpstr>Slide do think-cell</vt:lpstr>
      <vt:lpstr>Bosch Agro 4.0  nevonex        28.09.2020</vt:lpstr>
      <vt:lpstr>BOSCH Agro 4.0 | NEVONEX</vt:lpstr>
      <vt:lpstr>Apresentação do PowerPoint</vt:lpstr>
      <vt:lpstr>Apresentação do PowerPoint</vt:lpstr>
      <vt:lpstr>BOSCH Agro 4.0 | NEVONEX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Thank You!</vt:lpstr>
    </vt:vector>
  </TitlesOfParts>
  <Company>BOSCH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otive &amp; Machinery  Feature Store Platform</dc:title>
  <dc:creator>Jerke Daniele (CtP/ETS)</dc:creator>
  <cp:lastModifiedBy>Martins Eduardo (CVO/RBR-LA)</cp:lastModifiedBy>
  <cp:revision>199</cp:revision>
  <dcterms:created xsi:type="dcterms:W3CDTF">2019-06-08T09:39:55Z</dcterms:created>
  <dcterms:modified xsi:type="dcterms:W3CDTF">2020-09-28T14:5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ttachmentremark">
    <vt:lpwstr>$attachmentremark$</vt:lpwstr>
  </property>
  <property fmtid="{D5CDD505-2E9C-101B-9397-08002B2CF9AE}" pid="3" name="confidentiality">
    <vt:lpwstr>$confidentiality$</vt:lpwstr>
  </property>
  <property fmtid="{D5CDD505-2E9C-101B-9397-08002B2CF9AE}" pid="4" name="copyright">
    <vt:lpwstr>$copyright$</vt:lpwstr>
  </property>
  <property fmtid="{D5CDD505-2E9C-101B-9397-08002B2CF9AE}" pid="5" name="dateformat">
    <vt:lpwstr>$dateformat$</vt:lpwstr>
  </property>
  <property fmtid="{D5CDD505-2E9C-101B-9397-08002B2CF9AE}" pid="6" name="businessunit">
    <vt:lpwstr>$businessunit$</vt:lpwstr>
  </property>
  <property fmtid="{D5CDD505-2E9C-101B-9397-08002B2CF9AE}" pid="7" name="repositoryremark">
    <vt:lpwstr>$repositoryremark$</vt:lpwstr>
  </property>
</Properties>
</file>